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2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4"/>
    <p:sldMasterId id="2147483742" r:id="rId5"/>
    <p:sldMasterId id="2147483774" r:id="rId6"/>
  </p:sldMasterIdLst>
  <p:notesMasterIdLst>
    <p:notesMasterId r:id="rId30"/>
  </p:notesMasterIdLst>
  <p:sldIdLst>
    <p:sldId id="665" r:id="rId7"/>
    <p:sldId id="666" r:id="rId8"/>
    <p:sldId id="312" r:id="rId9"/>
    <p:sldId id="319" r:id="rId10"/>
    <p:sldId id="320" r:id="rId11"/>
    <p:sldId id="321" r:id="rId12"/>
    <p:sldId id="661" r:id="rId13"/>
    <p:sldId id="318" r:id="rId14"/>
    <p:sldId id="316" r:id="rId15"/>
    <p:sldId id="653" r:id="rId16"/>
    <p:sldId id="655" r:id="rId17"/>
    <p:sldId id="313" r:id="rId18"/>
    <p:sldId id="656" r:id="rId19"/>
    <p:sldId id="654" r:id="rId20"/>
    <p:sldId id="317" r:id="rId21"/>
    <p:sldId id="315" r:id="rId22"/>
    <p:sldId id="664" r:id="rId23"/>
    <p:sldId id="658" r:id="rId24"/>
    <p:sldId id="659" r:id="rId25"/>
    <p:sldId id="660" r:id="rId26"/>
    <p:sldId id="283" r:id="rId27"/>
    <p:sldId id="306" r:id="rId28"/>
    <p:sldId id="287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 userDrawn="1">
          <p15:clr>
            <a:srgbClr val="A4A3A4"/>
          </p15:clr>
        </p15:guide>
        <p15:guide id="2" pos="3976" userDrawn="1">
          <p15:clr>
            <a:srgbClr val="A4A3A4"/>
          </p15:clr>
        </p15:guide>
        <p15:guide id="3" orient="horz" pos="1049" userDrawn="1">
          <p15:clr>
            <a:srgbClr val="A4A3A4"/>
          </p15:clr>
        </p15:guide>
        <p15:guide id="4" orient="horz" pos="247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D9F9362-47F9-7A35-CC29-1E248DD8105A}" name="Lars Osterwalder" initials="LO" userId="117fd962c09ce19a" providerId="Windows Live"/>
  <p188:author id="{16CE8271-2219-8322-0E22-566BE01A6250}" name="Mia Chung" initials="MC" userId="Mia Chung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AFA6"/>
    <a:srgbClr val="00AFFF"/>
    <a:srgbClr val="9D63E3"/>
    <a:srgbClr val="0102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3791"/>
    <p:restoredTop sz="79098" autoAdjust="0"/>
  </p:normalViewPr>
  <p:slideViewPr>
    <p:cSldViewPr snapToGrid="0">
      <p:cViewPr varScale="1">
        <p:scale>
          <a:sx n="69" d="100"/>
          <a:sy n="69" d="100"/>
        </p:scale>
        <p:origin x="754" y="58"/>
      </p:cViewPr>
      <p:guideLst>
        <p:guide orient="horz" pos="731"/>
        <p:guide pos="3976"/>
        <p:guide orient="horz" pos="1049"/>
        <p:guide orient="horz" pos="24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627"/>
    </p:cViewPr>
  </p:sorterViewPr>
  <p:notesViewPr>
    <p:cSldViewPr snapToGrid="0">
      <p:cViewPr varScale="1">
        <p:scale>
          <a:sx n="93" d="100"/>
          <a:sy n="93" d="100"/>
        </p:scale>
        <p:origin x="3616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notesMaster" Target="notesMasters/notesMaster1.xml"/><Relationship Id="rId35" Type="http://schemas.microsoft.com/office/2018/10/relationships/authors" Target="authors.xml"/><Relationship Id="rId8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ircwash-my.sharepoint.com/personal/osterwalder_ircwash_org/Documents/IRC%20WASH%20-%20Lars/06_HWT%20Chapter/02_HWT%20Section/191025_HWTS_Figure_Sally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770598166098709E-3"/>
          <c:y val="0.12526399623637435"/>
          <c:w val="0.54334872469812467"/>
          <c:h val="0.84981896676714508"/>
        </c:manualLayout>
      </c:layout>
      <c:pieChart>
        <c:varyColors val="1"/>
        <c:ser>
          <c:idx val="0"/>
          <c:order val="0"/>
          <c:tx>
            <c:strRef>
              <c:f>'Global HWT'!$C$4</c:f>
              <c:strCache>
                <c:ptCount val="1"/>
                <c:pt idx="0">
                  <c:v>Global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B5-47B7-AABF-7D9ED0830589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B5-47B7-AABF-7D9ED0830589}"/>
              </c:ext>
            </c:extLst>
          </c:dPt>
          <c:dPt>
            <c:idx val="2"/>
            <c:bubble3D val="0"/>
            <c:spPr>
              <a:solidFill>
                <a:srgbClr val="9D63E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7B5-47B7-AABF-7D9ED0830589}"/>
              </c:ext>
            </c:extLst>
          </c:dPt>
          <c:dPt>
            <c:idx val="3"/>
            <c:bubble3D val="0"/>
            <c:spPr>
              <a:solidFill>
                <a:srgbClr val="00AFF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7B5-47B7-AABF-7D9ED083058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7B5-47B7-AABF-7D9ED0830589}"/>
              </c:ext>
            </c:extLst>
          </c:dPt>
          <c:dLbls>
            <c:dLbl>
              <c:idx val="0"/>
              <c:layout>
                <c:manualLayout>
                  <c:x val="-0.22008492882810565"/>
                  <c:y val="-8.175087677674663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Quicksand"/>
                      <a:ea typeface="+mn-ea"/>
                      <a:cs typeface="+mn-cs"/>
                    </a:defRPr>
                  </a:pPr>
                  <a:endParaRPr lang="en-NL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7B5-47B7-AABF-7D9ED0830589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Quicksand"/>
                      <a:ea typeface="+mn-ea"/>
                      <a:cs typeface="+mn-cs"/>
                    </a:defRPr>
                  </a:pPr>
                  <a:endParaRPr lang="en-NL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57B5-47B7-AABF-7D9ED0830589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Quicksand"/>
                      <a:ea typeface="+mn-ea"/>
                      <a:cs typeface="+mn-cs"/>
                    </a:defRPr>
                  </a:pPr>
                  <a:endParaRPr lang="en-NL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57B5-47B7-AABF-7D9ED0830589}"/>
                </c:ext>
              </c:extLst>
            </c:dLbl>
            <c:dLbl>
              <c:idx val="3"/>
              <c:layout>
                <c:manualLayout>
                  <c:x val="9.5656167979002622E-3"/>
                  <c:y val="3.493729950422863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Quicksand"/>
                      <a:ea typeface="+mn-ea"/>
                      <a:cs typeface="+mn-cs"/>
                    </a:defRPr>
                  </a:pPr>
                  <a:endParaRPr lang="en-NL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7B5-47B7-AABF-7D9ED0830589}"/>
                </c:ext>
              </c:extLst>
            </c:dLbl>
            <c:dLbl>
              <c:idx val="4"/>
              <c:layout>
                <c:manualLayout>
                  <c:x val="4.365594925634296E-2"/>
                  <c:y val="-4.690507436570429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Quicksand"/>
                      <a:ea typeface="+mn-ea"/>
                      <a:cs typeface="+mn-cs"/>
                    </a:defRPr>
                  </a:pPr>
                  <a:endParaRPr lang="en-NL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7B5-47B7-AABF-7D9ED08305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Quicksand"/>
                    <a:ea typeface="+mn-ea"/>
                    <a:cs typeface="+mn-cs"/>
                  </a:defRPr>
                </a:pPr>
                <a:endParaRPr lang="en-NL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lobal HWT'!$B$16:$B$20</c:f>
              <c:strCache>
                <c:ptCount val="5"/>
                <c:pt idx="0">
                  <c:v>No adequate treatment</c:v>
                </c:pt>
                <c:pt idx="1">
                  <c:v>Boiling</c:v>
                </c:pt>
                <c:pt idx="2">
                  <c:v>Chemical disinfection</c:v>
                </c:pt>
                <c:pt idx="3">
                  <c:v>Household water filters</c:v>
                </c:pt>
                <c:pt idx="4">
                  <c:v>Solar disinfection</c:v>
                </c:pt>
              </c:strCache>
            </c:strRef>
          </c:cat>
          <c:val>
            <c:numRef>
              <c:f>'Global HWT'!$C$16:$C$20</c:f>
              <c:numCache>
                <c:formatCode>0.0%</c:formatCode>
                <c:ptCount val="5"/>
                <c:pt idx="0">
                  <c:v>0.69099999999999995</c:v>
                </c:pt>
                <c:pt idx="1">
                  <c:v>0.21</c:v>
                </c:pt>
                <c:pt idx="2">
                  <c:v>5.3999999999999999E-2</c:v>
                </c:pt>
                <c:pt idx="3">
                  <c:v>4.2999999999999997E-2</c:v>
                </c:pt>
                <c:pt idx="4">
                  <c:v>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7B5-47B7-AABF-7D9ED08305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 rtl="0"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Quicksand" pitchFamily="2" charset="0"/>
                <a:ea typeface="+mn-ea"/>
                <a:cs typeface="+mn-cs"/>
              </a:defRPr>
            </a:pPr>
            <a:endParaRPr lang="en-NL"/>
          </a:p>
        </c:txPr>
      </c:legendEntry>
      <c:layout>
        <c:manualLayout>
          <c:xMode val="edge"/>
          <c:yMode val="edge"/>
          <c:x val="0.57701573478168067"/>
          <c:y val="0.11649141270811726"/>
          <c:w val="0.41143255731488509"/>
          <c:h val="0.67134204888454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Quicksand" pitchFamily="2" charset="0"/>
              <a:ea typeface="+mn-ea"/>
              <a:cs typeface="+mn-cs"/>
            </a:defRPr>
          </a:pPr>
          <a:endParaRPr lang="en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N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6CD4AF-3119-4B5F-91BE-A2CFC67F13E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79A1CD-FE2B-4A0F-BA0A-5FE82C9BA49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70088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79A1CD-FE2B-4A0F-BA0A-5FE82C9BA49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02242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27211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39684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s per the Gold Standard methodology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83579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2232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 default of 4 L/pers/day can be used for water consumption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80288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07439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01052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effectLst/>
                <a:latin typeface="Segoe UI" panose="020B0502040204020203" pitchFamily="34" charset="0"/>
              </a:rPr>
              <a:t>Retroactive registration: project documentation must be submitted for review within a year of project start date.</a:t>
            </a:r>
          </a:p>
          <a:p>
            <a:r>
              <a:rPr lang="en-US" sz="1800" dirty="0">
                <a:effectLst/>
                <a:latin typeface="Segoe UI" panose="020B0502040204020203" pitchFamily="34" charset="0"/>
              </a:rPr>
              <a:t>Additionality: under GS, micro-scale and projects in LDC, LLDC, SIDS automatically deemed additional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82376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64877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17378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dirty="0"/>
              <a:t>White paper “</a:t>
            </a:r>
            <a:r>
              <a:rPr lang="en-US" sz="1800" b="1" i="0" u="none" strike="noStrike" baseline="0" dirty="0">
                <a:solidFill>
                  <a:srgbClr val="FFFFFF"/>
                </a:solidFill>
                <a:latin typeface="AvenirNext-DemiBold"/>
              </a:rPr>
              <a:t>MAPPING WATER’S CARBON FOOTPRINT” </a:t>
            </a:r>
            <a:r>
              <a:rPr lang="en-US" sz="1800" b="0" i="0" u="none" strike="noStrike" baseline="0" dirty="0">
                <a:solidFill>
                  <a:srgbClr val="FFFFFF"/>
                </a:solidFill>
                <a:latin typeface="AvenirNext-DemiBold"/>
              </a:rPr>
              <a:t>by Global Water Intelligence. Total of 323 MtCO2-eq per year from water supply. Switching from fossil fuel to renewables energy sources has significant potential to reduce global greenhouse gas emissions. However, contribution to these emissions from low-income countries is low. If you are supporting the solar schemes to replace diesel-powered boreholes, that could work for carbon credits. However, it only gets interesting if you save 10 million liter of diesel per year (which is about 500 individual schemes). [Diesel consumption: 50 L/day/scheme, 2.7 kg CO2-eq/L]</a:t>
            </a:r>
            <a:endParaRPr lang="en-CH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85407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97606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dirty="0"/>
              <a:t>The commonly used emission reduction pathway for carbon projects is based on boiling drinking water for making it safe for consumption. Therefore, we will focus on this in today’s session.</a:t>
            </a:r>
            <a:endParaRPr lang="en-CH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91720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60938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2570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00378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creenshot from South Pole website.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29081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bout 800 community projects registered. Mainly for fuel-efficient cookstoves but also including about 100 safe water projects. 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16622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79A1CD-FE2B-4A0F-BA0A-5FE82C9BA49B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9496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5602DFDE-91C8-1198-84C9-6B47DF32E1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54"/>
            <a:ext cx="12191999" cy="68599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650ED17-E3D9-4121-6A80-931E191258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0558" y="1589518"/>
            <a:ext cx="6950801" cy="1655762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tx1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450364-A7A7-5137-B495-A7AC34AB67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67888" y="3602038"/>
            <a:ext cx="7034432" cy="112784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2"/>
                </a:solidFill>
                <a:latin typeface="Quicksand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016D5-6D8A-ABCA-3F32-19AB5ECD7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06931" y="334197"/>
            <a:ext cx="6975069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26" name="Picture 25" descr="Logo&#10;&#10;Description automatically generated with low confidence">
            <a:extLst>
              <a:ext uri="{FF2B5EF4-FFF2-40B4-BE49-F238E27FC236}">
                <a16:creationId xmlns:a16="http://schemas.microsoft.com/office/drawing/2014/main" id="{E1FC5BD7-8732-ADEF-9F81-3F0DADD8D5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3115" y="5178055"/>
            <a:ext cx="2299500" cy="1509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6168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16" name="object 9">
            <a:extLst>
              <a:ext uri="{FF2B5EF4-FFF2-40B4-BE49-F238E27FC236}">
                <a16:creationId xmlns:a16="http://schemas.microsoft.com/office/drawing/2014/main" id="{74EB452A-3F34-E4BC-36A1-B9E06407DD9D}"/>
              </a:ext>
            </a:extLst>
          </p:cNvPr>
          <p:cNvSpPr/>
          <p:nvPr/>
        </p:nvSpPr>
        <p:spPr>
          <a:xfrm rot="10800000">
            <a:off x="8177366" y="3758779"/>
            <a:ext cx="3694477" cy="4834083"/>
          </a:xfrm>
          <a:custGeom>
            <a:avLst/>
            <a:gdLst/>
            <a:ahLst/>
            <a:cxnLst/>
            <a:rect l="l" t="t" r="r" b="b"/>
            <a:pathLst>
              <a:path w="3693795" h="4721860">
                <a:moveTo>
                  <a:pt x="985329" y="60604"/>
                </a:moveTo>
                <a:lnTo>
                  <a:pt x="977315" y="10096"/>
                </a:lnTo>
                <a:lnTo>
                  <a:pt x="972172" y="0"/>
                </a:lnTo>
                <a:lnTo>
                  <a:pt x="684009" y="0"/>
                </a:lnTo>
                <a:lnTo>
                  <a:pt x="678865" y="10096"/>
                </a:lnTo>
                <a:lnTo>
                  <a:pt x="670852" y="60604"/>
                </a:lnTo>
                <a:lnTo>
                  <a:pt x="678865" y="111112"/>
                </a:lnTo>
                <a:lnTo>
                  <a:pt x="701192" y="154978"/>
                </a:lnTo>
                <a:lnTo>
                  <a:pt x="735228" y="189572"/>
                </a:lnTo>
                <a:lnTo>
                  <a:pt x="778395" y="212255"/>
                </a:lnTo>
                <a:lnTo>
                  <a:pt x="828090" y="220395"/>
                </a:lnTo>
                <a:lnTo>
                  <a:pt x="877785" y="212255"/>
                </a:lnTo>
                <a:lnTo>
                  <a:pt x="920953" y="189572"/>
                </a:lnTo>
                <a:lnTo>
                  <a:pt x="954989" y="154978"/>
                </a:lnTo>
                <a:lnTo>
                  <a:pt x="977315" y="111112"/>
                </a:lnTo>
                <a:lnTo>
                  <a:pt x="985329" y="60604"/>
                </a:lnTo>
                <a:close/>
              </a:path>
              <a:path w="3693795" h="4721860">
                <a:moveTo>
                  <a:pt x="1194587" y="628446"/>
                </a:moveTo>
                <a:lnTo>
                  <a:pt x="1189532" y="583895"/>
                </a:lnTo>
                <a:lnTo>
                  <a:pt x="1175143" y="543001"/>
                </a:lnTo>
                <a:lnTo>
                  <a:pt x="1152575" y="506920"/>
                </a:lnTo>
                <a:lnTo>
                  <a:pt x="1122972" y="476821"/>
                </a:lnTo>
                <a:lnTo>
                  <a:pt x="1087462" y="453885"/>
                </a:lnTo>
                <a:lnTo>
                  <a:pt x="1047229" y="439267"/>
                </a:lnTo>
                <a:lnTo>
                  <a:pt x="1003388" y="434136"/>
                </a:lnTo>
                <a:lnTo>
                  <a:pt x="959548" y="439267"/>
                </a:lnTo>
                <a:lnTo>
                  <a:pt x="919302" y="453885"/>
                </a:lnTo>
                <a:lnTo>
                  <a:pt x="883805" y="476821"/>
                </a:lnTo>
                <a:lnTo>
                  <a:pt x="854189" y="506920"/>
                </a:lnTo>
                <a:lnTo>
                  <a:pt x="831621" y="543001"/>
                </a:lnTo>
                <a:lnTo>
                  <a:pt x="817232" y="583895"/>
                </a:lnTo>
                <a:lnTo>
                  <a:pt x="812190" y="628446"/>
                </a:lnTo>
                <a:lnTo>
                  <a:pt x="817232" y="672998"/>
                </a:lnTo>
                <a:lnTo>
                  <a:pt x="831621" y="713905"/>
                </a:lnTo>
                <a:lnTo>
                  <a:pt x="854189" y="749973"/>
                </a:lnTo>
                <a:lnTo>
                  <a:pt x="883805" y="780072"/>
                </a:lnTo>
                <a:lnTo>
                  <a:pt x="919302" y="803008"/>
                </a:lnTo>
                <a:lnTo>
                  <a:pt x="959548" y="817626"/>
                </a:lnTo>
                <a:lnTo>
                  <a:pt x="1003388" y="822756"/>
                </a:lnTo>
                <a:lnTo>
                  <a:pt x="1047229" y="817626"/>
                </a:lnTo>
                <a:lnTo>
                  <a:pt x="1087462" y="803008"/>
                </a:lnTo>
                <a:lnTo>
                  <a:pt x="1122972" y="780072"/>
                </a:lnTo>
                <a:lnTo>
                  <a:pt x="1152575" y="749973"/>
                </a:lnTo>
                <a:lnTo>
                  <a:pt x="1175143" y="713905"/>
                </a:lnTo>
                <a:lnTo>
                  <a:pt x="1189532" y="672998"/>
                </a:lnTo>
                <a:lnTo>
                  <a:pt x="1194587" y="628446"/>
                </a:lnTo>
                <a:close/>
              </a:path>
              <a:path w="3693795" h="4721860">
                <a:moveTo>
                  <a:pt x="2110397" y="2736418"/>
                </a:moveTo>
                <a:lnTo>
                  <a:pt x="2105355" y="2691866"/>
                </a:lnTo>
                <a:lnTo>
                  <a:pt x="2090966" y="2650960"/>
                </a:lnTo>
                <a:lnTo>
                  <a:pt x="2068398" y="2614892"/>
                </a:lnTo>
                <a:lnTo>
                  <a:pt x="2038781" y="2584793"/>
                </a:lnTo>
                <a:lnTo>
                  <a:pt x="2003285" y="2561856"/>
                </a:lnTo>
                <a:lnTo>
                  <a:pt x="1963039" y="2547239"/>
                </a:lnTo>
                <a:lnTo>
                  <a:pt x="1919198" y="2542108"/>
                </a:lnTo>
                <a:lnTo>
                  <a:pt x="1875358" y="2547239"/>
                </a:lnTo>
                <a:lnTo>
                  <a:pt x="1835111" y="2561856"/>
                </a:lnTo>
                <a:lnTo>
                  <a:pt x="1799615" y="2584793"/>
                </a:lnTo>
                <a:lnTo>
                  <a:pt x="1770011" y="2614892"/>
                </a:lnTo>
                <a:lnTo>
                  <a:pt x="1747431" y="2650960"/>
                </a:lnTo>
                <a:lnTo>
                  <a:pt x="1733054" y="2691866"/>
                </a:lnTo>
                <a:lnTo>
                  <a:pt x="1728000" y="2736418"/>
                </a:lnTo>
                <a:lnTo>
                  <a:pt x="1733054" y="2780969"/>
                </a:lnTo>
                <a:lnTo>
                  <a:pt x="1747431" y="2821863"/>
                </a:lnTo>
                <a:lnTo>
                  <a:pt x="1770011" y="2857944"/>
                </a:lnTo>
                <a:lnTo>
                  <a:pt x="1799615" y="2888043"/>
                </a:lnTo>
                <a:lnTo>
                  <a:pt x="1835111" y="2910979"/>
                </a:lnTo>
                <a:lnTo>
                  <a:pt x="1875358" y="2925597"/>
                </a:lnTo>
                <a:lnTo>
                  <a:pt x="1919198" y="2930728"/>
                </a:lnTo>
                <a:lnTo>
                  <a:pt x="1963039" y="2925597"/>
                </a:lnTo>
                <a:lnTo>
                  <a:pt x="2003285" y="2910979"/>
                </a:lnTo>
                <a:lnTo>
                  <a:pt x="2038781" y="2888043"/>
                </a:lnTo>
                <a:lnTo>
                  <a:pt x="2068398" y="2857944"/>
                </a:lnTo>
                <a:lnTo>
                  <a:pt x="2090966" y="2821863"/>
                </a:lnTo>
                <a:lnTo>
                  <a:pt x="2105355" y="2780969"/>
                </a:lnTo>
                <a:lnTo>
                  <a:pt x="2110397" y="2736418"/>
                </a:lnTo>
                <a:close/>
              </a:path>
              <a:path w="3693795" h="4721860">
                <a:moveTo>
                  <a:pt x="2315591" y="3313163"/>
                </a:moveTo>
                <a:lnTo>
                  <a:pt x="2310536" y="3268611"/>
                </a:lnTo>
                <a:lnTo>
                  <a:pt x="2296160" y="3227717"/>
                </a:lnTo>
                <a:lnTo>
                  <a:pt x="2273592" y="3191637"/>
                </a:lnTo>
                <a:lnTo>
                  <a:pt x="2243975" y="3161538"/>
                </a:lnTo>
                <a:lnTo>
                  <a:pt x="2208479" y="3138601"/>
                </a:lnTo>
                <a:lnTo>
                  <a:pt x="2168233" y="3123984"/>
                </a:lnTo>
                <a:lnTo>
                  <a:pt x="2124392" y="3118853"/>
                </a:lnTo>
                <a:lnTo>
                  <a:pt x="2080552" y="3123984"/>
                </a:lnTo>
                <a:lnTo>
                  <a:pt x="2040305" y="3138601"/>
                </a:lnTo>
                <a:lnTo>
                  <a:pt x="2004809" y="3161538"/>
                </a:lnTo>
                <a:lnTo>
                  <a:pt x="1975192" y="3191637"/>
                </a:lnTo>
                <a:lnTo>
                  <a:pt x="1952625" y="3227717"/>
                </a:lnTo>
                <a:lnTo>
                  <a:pt x="1938235" y="3268611"/>
                </a:lnTo>
                <a:lnTo>
                  <a:pt x="1933194" y="3313163"/>
                </a:lnTo>
                <a:lnTo>
                  <a:pt x="1938235" y="3357715"/>
                </a:lnTo>
                <a:lnTo>
                  <a:pt x="1952625" y="3398621"/>
                </a:lnTo>
                <a:lnTo>
                  <a:pt x="1975192" y="3434689"/>
                </a:lnTo>
                <a:lnTo>
                  <a:pt x="2004809" y="3464788"/>
                </a:lnTo>
                <a:lnTo>
                  <a:pt x="2040305" y="3487724"/>
                </a:lnTo>
                <a:lnTo>
                  <a:pt x="2080552" y="3502342"/>
                </a:lnTo>
                <a:lnTo>
                  <a:pt x="2124392" y="3507473"/>
                </a:lnTo>
                <a:lnTo>
                  <a:pt x="2168233" y="3502342"/>
                </a:lnTo>
                <a:lnTo>
                  <a:pt x="2208479" y="3487724"/>
                </a:lnTo>
                <a:lnTo>
                  <a:pt x="2243975" y="3464788"/>
                </a:lnTo>
                <a:lnTo>
                  <a:pt x="2273592" y="3434689"/>
                </a:lnTo>
                <a:lnTo>
                  <a:pt x="2296160" y="3398621"/>
                </a:lnTo>
                <a:lnTo>
                  <a:pt x="2310536" y="3357715"/>
                </a:lnTo>
                <a:lnTo>
                  <a:pt x="2315591" y="3313163"/>
                </a:lnTo>
                <a:close/>
              </a:path>
              <a:path w="3693795" h="4721860">
                <a:moveTo>
                  <a:pt x="2551633" y="1956752"/>
                </a:moveTo>
                <a:lnTo>
                  <a:pt x="2547645" y="1911578"/>
                </a:lnTo>
                <a:lnTo>
                  <a:pt x="2536164" y="1869046"/>
                </a:lnTo>
                <a:lnTo>
                  <a:pt x="2517864" y="1829892"/>
                </a:lnTo>
                <a:lnTo>
                  <a:pt x="2493467" y="1794814"/>
                </a:lnTo>
                <a:lnTo>
                  <a:pt x="2463660" y="1764525"/>
                </a:lnTo>
                <a:lnTo>
                  <a:pt x="2429141" y="1739722"/>
                </a:lnTo>
                <a:lnTo>
                  <a:pt x="2390610" y="1721129"/>
                </a:lnTo>
                <a:lnTo>
                  <a:pt x="2348776" y="1709458"/>
                </a:lnTo>
                <a:lnTo>
                  <a:pt x="2304313" y="1705406"/>
                </a:lnTo>
                <a:lnTo>
                  <a:pt x="2259863" y="1709458"/>
                </a:lnTo>
                <a:lnTo>
                  <a:pt x="2218017" y="1721129"/>
                </a:lnTo>
                <a:lnTo>
                  <a:pt x="2179485" y="1739722"/>
                </a:lnTo>
                <a:lnTo>
                  <a:pt x="2144966" y="1764525"/>
                </a:lnTo>
                <a:lnTo>
                  <a:pt x="2115159" y="1794814"/>
                </a:lnTo>
                <a:lnTo>
                  <a:pt x="2090762" y="1829892"/>
                </a:lnTo>
                <a:lnTo>
                  <a:pt x="2072474" y="1869046"/>
                </a:lnTo>
                <a:lnTo>
                  <a:pt x="2060981" y="1911578"/>
                </a:lnTo>
                <a:lnTo>
                  <a:pt x="2056993" y="1956752"/>
                </a:lnTo>
                <a:lnTo>
                  <a:pt x="2060981" y="2001926"/>
                </a:lnTo>
                <a:lnTo>
                  <a:pt x="2072474" y="2044458"/>
                </a:lnTo>
                <a:lnTo>
                  <a:pt x="2090762" y="2083612"/>
                </a:lnTo>
                <a:lnTo>
                  <a:pt x="2115159" y="2118690"/>
                </a:lnTo>
                <a:lnTo>
                  <a:pt x="2144966" y="2148979"/>
                </a:lnTo>
                <a:lnTo>
                  <a:pt x="2179485" y="2173782"/>
                </a:lnTo>
                <a:lnTo>
                  <a:pt x="2218017" y="2192375"/>
                </a:lnTo>
                <a:lnTo>
                  <a:pt x="2259863" y="2204047"/>
                </a:lnTo>
                <a:lnTo>
                  <a:pt x="2304313" y="2208098"/>
                </a:lnTo>
                <a:lnTo>
                  <a:pt x="2348776" y="2204047"/>
                </a:lnTo>
                <a:lnTo>
                  <a:pt x="2390610" y="2192375"/>
                </a:lnTo>
                <a:lnTo>
                  <a:pt x="2429141" y="2173782"/>
                </a:lnTo>
                <a:lnTo>
                  <a:pt x="2463660" y="2148979"/>
                </a:lnTo>
                <a:lnTo>
                  <a:pt x="2493467" y="2118690"/>
                </a:lnTo>
                <a:lnTo>
                  <a:pt x="2517864" y="2083612"/>
                </a:lnTo>
                <a:lnTo>
                  <a:pt x="2536164" y="2044458"/>
                </a:lnTo>
                <a:lnTo>
                  <a:pt x="2547645" y="2001926"/>
                </a:lnTo>
                <a:lnTo>
                  <a:pt x="2551633" y="1956752"/>
                </a:lnTo>
                <a:close/>
              </a:path>
              <a:path w="3693795" h="4721860">
                <a:moveTo>
                  <a:pt x="2845346" y="10020"/>
                </a:moveTo>
                <a:lnTo>
                  <a:pt x="1323581" y="10020"/>
                </a:lnTo>
                <a:lnTo>
                  <a:pt x="1314577" y="48120"/>
                </a:lnTo>
                <a:lnTo>
                  <a:pt x="1324521" y="98920"/>
                </a:lnTo>
                <a:lnTo>
                  <a:pt x="1351661" y="137020"/>
                </a:lnTo>
                <a:lnTo>
                  <a:pt x="1391920" y="162420"/>
                </a:lnTo>
                <a:lnTo>
                  <a:pt x="1441234" y="175120"/>
                </a:lnTo>
                <a:lnTo>
                  <a:pt x="2424163" y="175120"/>
                </a:lnTo>
                <a:lnTo>
                  <a:pt x="2406192" y="225920"/>
                </a:lnTo>
                <a:lnTo>
                  <a:pt x="2386253" y="264020"/>
                </a:lnTo>
                <a:lnTo>
                  <a:pt x="2364435" y="314820"/>
                </a:lnTo>
                <a:lnTo>
                  <a:pt x="2340800" y="365620"/>
                </a:lnTo>
                <a:lnTo>
                  <a:pt x="2315400" y="403720"/>
                </a:lnTo>
                <a:lnTo>
                  <a:pt x="2288298" y="454520"/>
                </a:lnTo>
                <a:lnTo>
                  <a:pt x="2259584" y="492620"/>
                </a:lnTo>
                <a:lnTo>
                  <a:pt x="1496834" y="492620"/>
                </a:lnTo>
                <a:lnTo>
                  <a:pt x="1447520" y="505320"/>
                </a:lnTo>
                <a:lnTo>
                  <a:pt x="1407261" y="530720"/>
                </a:lnTo>
                <a:lnTo>
                  <a:pt x="1380121" y="581520"/>
                </a:lnTo>
                <a:lnTo>
                  <a:pt x="1370177" y="619620"/>
                </a:lnTo>
                <a:lnTo>
                  <a:pt x="1380121" y="670420"/>
                </a:lnTo>
                <a:lnTo>
                  <a:pt x="1407261" y="721220"/>
                </a:lnTo>
                <a:lnTo>
                  <a:pt x="1447520" y="746620"/>
                </a:lnTo>
                <a:lnTo>
                  <a:pt x="2074989" y="746620"/>
                </a:lnTo>
                <a:lnTo>
                  <a:pt x="2044115" y="784720"/>
                </a:lnTo>
                <a:lnTo>
                  <a:pt x="2012492" y="822820"/>
                </a:lnTo>
                <a:lnTo>
                  <a:pt x="1980171" y="860920"/>
                </a:lnTo>
                <a:lnTo>
                  <a:pt x="1947189" y="899020"/>
                </a:lnTo>
                <a:lnTo>
                  <a:pt x="1913585" y="937120"/>
                </a:lnTo>
                <a:lnTo>
                  <a:pt x="1879396" y="975220"/>
                </a:lnTo>
                <a:lnTo>
                  <a:pt x="1844662" y="1013320"/>
                </a:lnTo>
                <a:lnTo>
                  <a:pt x="1809432" y="1051420"/>
                </a:lnTo>
                <a:lnTo>
                  <a:pt x="1773732" y="1089520"/>
                </a:lnTo>
                <a:lnTo>
                  <a:pt x="1737614" y="1127620"/>
                </a:lnTo>
                <a:lnTo>
                  <a:pt x="1701114" y="1165720"/>
                </a:lnTo>
                <a:lnTo>
                  <a:pt x="1627111" y="1241920"/>
                </a:lnTo>
                <a:lnTo>
                  <a:pt x="1589697" y="1267320"/>
                </a:lnTo>
                <a:lnTo>
                  <a:pt x="1400073" y="1457820"/>
                </a:lnTo>
                <a:lnTo>
                  <a:pt x="1361909" y="1483220"/>
                </a:lnTo>
                <a:lnTo>
                  <a:pt x="1247686" y="1597520"/>
                </a:lnTo>
                <a:lnTo>
                  <a:pt x="1128903" y="1699120"/>
                </a:lnTo>
                <a:lnTo>
                  <a:pt x="1085837" y="1749920"/>
                </a:lnTo>
                <a:lnTo>
                  <a:pt x="958227" y="1864220"/>
                </a:lnTo>
                <a:lnTo>
                  <a:pt x="874915" y="1940420"/>
                </a:lnTo>
                <a:lnTo>
                  <a:pt x="833920" y="1978520"/>
                </a:lnTo>
                <a:lnTo>
                  <a:pt x="793445" y="2016620"/>
                </a:lnTo>
                <a:lnTo>
                  <a:pt x="753503" y="2054720"/>
                </a:lnTo>
                <a:lnTo>
                  <a:pt x="714159" y="2092820"/>
                </a:lnTo>
                <a:lnTo>
                  <a:pt x="675462" y="2130920"/>
                </a:lnTo>
                <a:lnTo>
                  <a:pt x="637451" y="2169020"/>
                </a:lnTo>
                <a:lnTo>
                  <a:pt x="600176" y="2207120"/>
                </a:lnTo>
                <a:lnTo>
                  <a:pt x="563664" y="2245220"/>
                </a:lnTo>
                <a:lnTo>
                  <a:pt x="527977" y="2283320"/>
                </a:lnTo>
                <a:lnTo>
                  <a:pt x="493166" y="2321420"/>
                </a:lnTo>
                <a:lnTo>
                  <a:pt x="459270" y="2359520"/>
                </a:lnTo>
                <a:lnTo>
                  <a:pt x="426326" y="2397620"/>
                </a:lnTo>
                <a:lnTo>
                  <a:pt x="394373" y="2435720"/>
                </a:lnTo>
                <a:lnTo>
                  <a:pt x="363486" y="2473820"/>
                </a:lnTo>
                <a:lnTo>
                  <a:pt x="333692" y="2511920"/>
                </a:lnTo>
                <a:lnTo>
                  <a:pt x="305028" y="2550020"/>
                </a:lnTo>
                <a:lnTo>
                  <a:pt x="277558" y="2588120"/>
                </a:lnTo>
                <a:lnTo>
                  <a:pt x="251320" y="2626220"/>
                </a:lnTo>
                <a:lnTo>
                  <a:pt x="226352" y="2664320"/>
                </a:lnTo>
                <a:lnTo>
                  <a:pt x="202704" y="2702420"/>
                </a:lnTo>
                <a:lnTo>
                  <a:pt x="180428" y="2740520"/>
                </a:lnTo>
                <a:lnTo>
                  <a:pt x="159562" y="2778620"/>
                </a:lnTo>
                <a:lnTo>
                  <a:pt x="140144" y="2816720"/>
                </a:lnTo>
                <a:lnTo>
                  <a:pt x="122237" y="2854820"/>
                </a:lnTo>
                <a:lnTo>
                  <a:pt x="105879" y="2892920"/>
                </a:lnTo>
                <a:lnTo>
                  <a:pt x="91122" y="2931020"/>
                </a:lnTo>
                <a:lnTo>
                  <a:pt x="77990" y="2956420"/>
                </a:lnTo>
                <a:lnTo>
                  <a:pt x="56781" y="3032620"/>
                </a:lnTo>
                <a:lnTo>
                  <a:pt x="39179" y="3096120"/>
                </a:lnTo>
                <a:lnTo>
                  <a:pt x="25031" y="3159620"/>
                </a:lnTo>
                <a:lnTo>
                  <a:pt x="14198" y="3235820"/>
                </a:lnTo>
                <a:lnTo>
                  <a:pt x="6502" y="3299320"/>
                </a:lnTo>
                <a:lnTo>
                  <a:pt x="1828" y="3362820"/>
                </a:lnTo>
                <a:lnTo>
                  <a:pt x="0" y="3426320"/>
                </a:lnTo>
                <a:lnTo>
                  <a:pt x="863" y="3489820"/>
                </a:lnTo>
                <a:lnTo>
                  <a:pt x="4305" y="3540620"/>
                </a:lnTo>
                <a:lnTo>
                  <a:pt x="10134" y="3604120"/>
                </a:lnTo>
                <a:lnTo>
                  <a:pt x="18224" y="3667620"/>
                </a:lnTo>
                <a:lnTo>
                  <a:pt x="28422" y="3718420"/>
                </a:lnTo>
                <a:lnTo>
                  <a:pt x="40576" y="3781920"/>
                </a:lnTo>
                <a:lnTo>
                  <a:pt x="54521" y="3832720"/>
                </a:lnTo>
                <a:lnTo>
                  <a:pt x="70142" y="3883520"/>
                </a:lnTo>
                <a:lnTo>
                  <a:pt x="87249" y="3934320"/>
                </a:lnTo>
                <a:lnTo>
                  <a:pt x="105727" y="3985120"/>
                </a:lnTo>
                <a:lnTo>
                  <a:pt x="125399" y="4035920"/>
                </a:lnTo>
                <a:lnTo>
                  <a:pt x="146138" y="4086720"/>
                </a:lnTo>
                <a:lnTo>
                  <a:pt x="167767" y="4124820"/>
                </a:lnTo>
                <a:lnTo>
                  <a:pt x="190169" y="4175620"/>
                </a:lnTo>
                <a:lnTo>
                  <a:pt x="213169" y="4213720"/>
                </a:lnTo>
                <a:lnTo>
                  <a:pt x="236613" y="4251820"/>
                </a:lnTo>
                <a:lnTo>
                  <a:pt x="260375" y="4302620"/>
                </a:lnTo>
                <a:lnTo>
                  <a:pt x="284302" y="4340720"/>
                </a:lnTo>
                <a:lnTo>
                  <a:pt x="308216" y="4366120"/>
                </a:lnTo>
                <a:lnTo>
                  <a:pt x="332003" y="4404220"/>
                </a:lnTo>
                <a:lnTo>
                  <a:pt x="355485" y="4442320"/>
                </a:lnTo>
                <a:lnTo>
                  <a:pt x="378536" y="4467720"/>
                </a:lnTo>
                <a:lnTo>
                  <a:pt x="400977" y="4493120"/>
                </a:lnTo>
                <a:lnTo>
                  <a:pt x="422681" y="4518520"/>
                </a:lnTo>
                <a:lnTo>
                  <a:pt x="443496" y="4543920"/>
                </a:lnTo>
                <a:lnTo>
                  <a:pt x="463270" y="4569320"/>
                </a:lnTo>
                <a:lnTo>
                  <a:pt x="481838" y="4594720"/>
                </a:lnTo>
                <a:lnTo>
                  <a:pt x="499071" y="4607420"/>
                </a:lnTo>
                <a:lnTo>
                  <a:pt x="514807" y="4632820"/>
                </a:lnTo>
                <a:lnTo>
                  <a:pt x="528904" y="4645520"/>
                </a:lnTo>
                <a:lnTo>
                  <a:pt x="541210" y="4658220"/>
                </a:lnTo>
                <a:lnTo>
                  <a:pt x="551573" y="4658220"/>
                </a:lnTo>
                <a:lnTo>
                  <a:pt x="559841" y="4670920"/>
                </a:lnTo>
                <a:lnTo>
                  <a:pt x="565861" y="4683620"/>
                </a:lnTo>
                <a:lnTo>
                  <a:pt x="569493" y="4683620"/>
                </a:lnTo>
                <a:lnTo>
                  <a:pt x="597319" y="4696320"/>
                </a:lnTo>
                <a:lnTo>
                  <a:pt x="627621" y="4721720"/>
                </a:lnTo>
                <a:lnTo>
                  <a:pt x="729513" y="4721720"/>
                </a:lnTo>
                <a:lnTo>
                  <a:pt x="765454" y="4709020"/>
                </a:lnTo>
                <a:lnTo>
                  <a:pt x="828370" y="4670920"/>
                </a:lnTo>
                <a:lnTo>
                  <a:pt x="856284" y="4632820"/>
                </a:lnTo>
                <a:lnTo>
                  <a:pt x="872045" y="4582020"/>
                </a:lnTo>
                <a:lnTo>
                  <a:pt x="875779" y="4531220"/>
                </a:lnTo>
                <a:lnTo>
                  <a:pt x="867625" y="4493120"/>
                </a:lnTo>
                <a:lnTo>
                  <a:pt x="847686" y="4442320"/>
                </a:lnTo>
                <a:lnTo>
                  <a:pt x="816102" y="4404220"/>
                </a:lnTo>
                <a:lnTo>
                  <a:pt x="807847" y="4404220"/>
                </a:lnTo>
                <a:lnTo>
                  <a:pt x="791743" y="4378820"/>
                </a:lnTo>
                <a:lnTo>
                  <a:pt x="768921" y="4366120"/>
                </a:lnTo>
                <a:lnTo>
                  <a:pt x="740473" y="4328020"/>
                </a:lnTo>
                <a:lnTo>
                  <a:pt x="707555" y="4289920"/>
                </a:lnTo>
                <a:lnTo>
                  <a:pt x="671258" y="4251820"/>
                </a:lnTo>
                <a:lnTo>
                  <a:pt x="632701" y="4201020"/>
                </a:lnTo>
                <a:lnTo>
                  <a:pt x="553326" y="4074020"/>
                </a:lnTo>
                <a:lnTo>
                  <a:pt x="514731" y="3997820"/>
                </a:lnTo>
                <a:lnTo>
                  <a:pt x="1159827" y="3997820"/>
                </a:lnTo>
                <a:lnTo>
                  <a:pt x="1200086" y="3959720"/>
                </a:lnTo>
                <a:lnTo>
                  <a:pt x="1227226" y="3921620"/>
                </a:lnTo>
                <a:lnTo>
                  <a:pt x="1237170" y="3870820"/>
                </a:lnTo>
                <a:lnTo>
                  <a:pt x="1227226" y="3820020"/>
                </a:lnTo>
                <a:lnTo>
                  <a:pt x="1200086" y="3781920"/>
                </a:lnTo>
                <a:lnTo>
                  <a:pt x="1159827" y="3756520"/>
                </a:lnTo>
                <a:lnTo>
                  <a:pt x="1110513" y="3743820"/>
                </a:lnTo>
                <a:lnTo>
                  <a:pt x="413499" y="3743820"/>
                </a:lnTo>
                <a:lnTo>
                  <a:pt x="401281" y="3705720"/>
                </a:lnTo>
                <a:lnTo>
                  <a:pt x="390766" y="3654920"/>
                </a:lnTo>
                <a:lnTo>
                  <a:pt x="382104" y="3604120"/>
                </a:lnTo>
                <a:lnTo>
                  <a:pt x="375450" y="3553320"/>
                </a:lnTo>
                <a:lnTo>
                  <a:pt x="370941" y="3502520"/>
                </a:lnTo>
                <a:lnTo>
                  <a:pt x="368731" y="3451720"/>
                </a:lnTo>
                <a:lnTo>
                  <a:pt x="1493862" y="3451720"/>
                </a:lnTo>
                <a:lnTo>
                  <a:pt x="1543177" y="3439020"/>
                </a:lnTo>
                <a:lnTo>
                  <a:pt x="1583436" y="3413620"/>
                </a:lnTo>
                <a:lnTo>
                  <a:pt x="1610575" y="3375520"/>
                </a:lnTo>
                <a:lnTo>
                  <a:pt x="1620520" y="3324720"/>
                </a:lnTo>
                <a:lnTo>
                  <a:pt x="1610575" y="3273920"/>
                </a:lnTo>
                <a:lnTo>
                  <a:pt x="1583436" y="3235820"/>
                </a:lnTo>
                <a:lnTo>
                  <a:pt x="1543177" y="3210420"/>
                </a:lnTo>
                <a:lnTo>
                  <a:pt x="1493862" y="3197720"/>
                </a:lnTo>
                <a:lnTo>
                  <a:pt x="393382" y="3197720"/>
                </a:lnTo>
                <a:lnTo>
                  <a:pt x="400278" y="3172320"/>
                </a:lnTo>
                <a:lnTo>
                  <a:pt x="408038" y="3134220"/>
                </a:lnTo>
                <a:lnTo>
                  <a:pt x="416763" y="3108820"/>
                </a:lnTo>
                <a:lnTo>
                  <a:pt x="426529" y="3083420"/>
                </a:lnTo>
                <a:lnTo>
                  <a:pt x="441350" y="3032620"/>
                </a:lnTo>
                <a:lnTo>
                  <a:pt x="459257" y="2994520"/>
                </a:lnTo>
                <a:lnTo>
                  <a:pt x="480085" y="2956420"/>
                </a:lnTo>
                <a:lnTo>
                  <a:pt x="503656" y="2918320"/>
                </a:lnTo>
                <a:lnTo>
                  <a:pt x="529818" y="2867520"/>
                </a:lnTo>
                <a:lnTo>
                  <a:pt x="1442580" y="2867520"/>
                </a:lnTo>
                <a:lnTo>
                  <a:pt x="1482839" y="2829420"/>
                </a:lnTo>
                <a:lnTo>
                  <a:pt x="1509979" y="2791320"/>
                </a:lnTo>
                <a:lnTo>
                  <a:pt x="1519923" y="2740520"/>
                </a:lnTo>
                <a:lnTo>
                  <a:pt x="1509979" y="2702420"/>
                </a:lnTo>
                <a:lnTo>
                  <a:pt x="1482839" y="2651620"/>
                </a:lnTo>
                <a:lnTo>
                  <a:pt x="1442580" y="2626220"/>
                </a:lnTo>
                <a:lnTo>
                  <a:pt x="1393266" y="2613520"/>
                </a:lnTo>
                <a:lnTo>
                  <a:pt x="723988" y="2613520"/>
                </a:lnTo>
                <a:lnTo>
                  <a:pt x="754214" y="2588120"/>
                </a:lnTo>
                <a:lnTo>
                  <a:pt x="785418" y="2550020"/>
                </a:lnTo>
                <a:lnTo>
                  <a:pt x="817549" y="2511920"/>
                </a:lnTo>
                <a:lnTo>
                  <a:pt x="850595" y="2486520"/>
                </a:lnTo>
                <a:lnTo>
                  <a:pt x="884466" y="2448420"/>
                </a:lnTo>
                <a:lnTo>
                  <a:pt x="919149" y="2410320"/>
                </a:lnTo>
                <a:lnTo>
                  <a:pt x="954570" y="2372220"/>
                </a:lnTo>
                <a:lnTo>
                  <a:pt x="990701" y="2334120"/>
                </a:lnTo>
                <a:lnTo>
                  <a:pt x="1027493" y="2308720"/>
                </a:lnTo>
                <a:lnTo>
                  <a:pt x="1064895" y="2270620"/>
                </a:lnTo>
                <a:lnTo>
                  <a:pt x="1102842" y="2232520"/>
                </a:lnTo>
                <a:lnTo>
                  <a:pt x="1141323" y="2194420"/>
                </a:lnTo>
                <a:lnTo>
                  <a:pt x="1180261" y="2156320"/>
                </a:lnTo>
                <a:lnTo>
                  <a:pt x="1259370" y="2080120"/>
                </a:lnTo>
                <a:lnTo>
                  <a:pt x="1339773" y="2003920"/>
                </a:lnTo>
                <a:lnTo>
                  <a:pt x="1380350" y="1978520"/>
                </a:lnTo>
                <a:lnTo>
                  <a:pt x="1460766" y="1902320"/>
                </a:lnTo>
                <a:lnTo>
                  <a:pt x="1737309" y="1635620"/>
                </a:lnTo>
                <a:lnTo>
                  <a:pt x="1776310" y="1597520"/>
                </a:lnTo>
                <a:lnTo>
                  <a:pt x="1815109" y="1572120"/>
                </a:lnTo>
                <a:lnTo>
                  <a:pt x="1891931" y="1495920"/>
                </a:lnTo>
                <a:lnTo>
                  <a:pt x="1967534" y="1419720"/>
                </a:lnTo>
                <a:lnTo>
                  <a:pt x="2004809" y="1381620"/>
                </a:lnTo>
                <a:lnTo>
                  <a:pt x="2041690" y="1343520"/>
                </a:lnTo>
                <a:lnTo>
                  <a:pt x="2078139" y="1305420"/>
                </a:lnTo>
                <a:lnTo>
                  <a:pt x="2114143" y="1267320"/>
                </a:lnTo>
                <a:lnTo>
                  <a:pt x="2149665" y="1229220"/>
                </a:lnTo>
                <a:lnTo>
                  <a:pt x="2184679" y="1191120"/>
                </a:lnTo>
                <a:lnTo>
                  <a:pt x="2219147" y="1153020"/>
                </a:lnTo>
                <a:lnTo>
                  <a:pt x="2253030" y="1114920"/>
                </a:lnTo>
                <a:lnTo>
                  <a:pt x="2286330" y="1076820"/>
                </a:lnTo>
                <a:lnTo>
                  <a:pt x="2318982" y="1038720"/>
                </a:lnTo>
                <a:lnTo>
                  <a:pt x="2350986" y="1000620"/>
                </a:lnTo>
                <a:lnTo>
                  <a:pt x="2382291" y="962520"/>
                </a:lnTo>
                <a:lnTo>
                  <a:pt x="2412873" y="924420"/>
                </a:lnTo>
                <a:lnTo>
                  <a:pt x="2442705" y="886320"/>
                </a:lnTo>
                <a:lnTo>
                  <a:pt x="2471763" y="848220"/>
                </a:lnTo>
                <a:lnTo>
                  <a:pt x="2499995" y="797420"/>
                </a:lnTo>
                <a:lnTo>
                  <a:pt x="2527401" y="759320"/>
                </a:lnTo>
                <a:lnTo>
                  <a:pt x="2553932" y="721220"/>
                </a:lnTo>
                <a:lnTo>
                  <a:pt x="2579560" y="683120"/>
                </a:lnTo>
                <a:lnTo>
                  <a:pt x="2604262" y="645020"/>
                </a:lnTo>
                <a:lnTo>
                  <a:pt x="2627998" y="606920"/>
                </a:lnTo>
                <a:lnTo>
                  <a:pt x="2650744" y="568820"/>
                </a:lnTo>
                <a:lnTo>
                  <a:pt x="2672473" y="518020"/>
                </a:lnTo>
                <a:lnTo>
                  <a:pt x="2693162" y="479920"/>
                </a:lnTo>
                <a:lnTo>
                  <a:pt x="2712758" y="441820"/>
                </a:lnTo>
                <a:lnTo>
                  <a:pt x="2731249" y="403720"/>
                </a:lnTo>
                <a:lnTo>
                  <a:pt x="2748610" y="365620"/>
                </a:lnTo>
                <a:lnTo>
                  <a:pt x="2764790" y="314820"/>
                </a:lnTo>
                <a:lnTo>
                  <a:pt x="2779776" y="276720"/>
                </a:lnTo>
                <a:lnTo>
                  <a:pt x="2793530" y="238620"/>
                </a:lnTo>
                <a:lnTo>
                  <a:pt x="2806039" y="187820"/>
                </a:lnTo>
                <a:lnTo>
                  <a:pt x="2817241" y="149720"/>
                </a:lnTo>
                <a:lnTo>
                  <a:pt x="2827134" y="111620"/>
                </a:lnTo>
                <a:lnTo>
                  <a:pt x="2835681" y="73520"/>
                </a:lnTo>
                <a:lnTo>
                  <a:pt x="2842857" y="22720"/>
                </a:lnTo>
                <a:lnTo>
                  <a:pt x="2845346" y="10020"/>
                </a:lnTo>
                <a:close/>
              </a:path>
              <a:path w="3693795" h="4721860">
                <a:moveTo>
                  <a:pt x="3506774" y="1344333"/>
                </a:moveTo>
                <a:lnTo>
                  <a:pt x="3503396" y="1297622"/>
                </a:lnTo>
                <a:lnTo>
                  <a:pt x="3493605" y="1253045"/>
                </a:lnTo>
                <a:lnTo>
                  <a:pt x="3477857" y="1211084"/>
                </a:lnTo>
                <a:lnTo>
                  <a:pt x="3456660" y="1172222"/>
                </a:lnTo>
                <a:lnTo>
                  <a:pt x="3430473" y="1136954"/>
                </a:lnTo>
                <a:lnTo>
                  <a:pt x="3399790" y="1105776"/>
                </a:lnTo>
                <a:lnTo>
                  <a:pt x="3365093" y="1079169"/>
                </a:lnTo>
                <a:lnTo>
                  <a:pt x="3326854" y="1057630"/>
                </a:lnTo>
                <a:lnTo>
                  <a:pt x="3285566" y="1041628"/>
                </a:lnTo>
                <a:lnTo>
                  <a:pt x="3241700" y="1031671"/>
                </a:lnTo>
                <a:lnTo>
                  <a:pt x="3195739" y="1028242"/>
                </a:lnTo>
                <a:lnTo>
                  <a:pt x="3149777" y="1031671"/>
                </a:lnTo>
                <a:lnTo>
                  <a:pt x="3105899" y="1041628"/>
                </a:lnTo>
                <a:lnTo>
                  <a:pt x="3064611" y="1057630"/>
                </a:lnTo>
                <a:lnTo>
                  <a:pt x="3026372" y="1079169"/>
                </a:lnTo>
                <a:lnTo>
                  <a:pt x="2991675" y="1105776"/>
                </a:lnTo>
                <a:lnTo>
                  <a:pt x="2960992" y="1136954"/>
                </a:lnTo>
                <a:lnTo>
                  <a:pt x="2934805" y="1172222"/>
                </a:lnTo>
                <a:lnTo>
                  <a:pt x="2913608" y="1211084"/>
                </a:lnTo>
                <a:lnTo>
                  <a:pt x="2897873" y="1253045"/>
                </a:lnTo>
                <a:lnTo>
                  <a:pt x="2888069" y="1297622"/>
                </a:lnTo>
                <a:lnTo>
                  <a:pt x="2884703" y="1344333"/>
                </a:lnTo>
                <a:lnTo>
                  <a:pt x="2888069" y="1391043"/>
                </a:lnTo>
                <a:lnTo>
                  <a:pt x="2897873" y="1435633"/>
                </a:lnTo>
                <a:lnTo>
                  <a:pt x="2913608" y="1477594"/>
                </a:lnTo>
                <a:lnTo>
                  <a:pt x="2934805" y="1516456"/>
                </a:lnTo>
                <a:lnTo>
                  <a:pt x="2960992" y="1551711"/>
                </a:lnTo>
                <a:lnTo>
                  <a:pt x="2991675" y="1582902"/>
                </a:lnTo>
                <a:lnTo>
                  <a:pt x="3026372" y="1609509"/>
                </a:lnTo>
                <a:lnTo>
                  <a:pt x="3064611" y="1631048"/>
                </a:lnTo>
                <a:lnTo>
                  <a:pt x="3105899" y="1647050"/>
                </a:lnTo>
                <a:lnTo>
                  <a:pt x="3149777" y="1657007"/>
                </a:lnTo>
                <a:lnTo>
                  <a:pt x="3195739" y="1660423"/>
                </a:lnTo>
                <a:lnTo>
                  <a:pt x="3241700" y="1657007"/>
                </a:lnTo>
                <a:lnTo>
                  <a:pt x="3285566" y="1647050"/>
                </a:lnTo>
                <a:lnTo>
                  <a:pt x="3326854" y="1631048"/>
                </a:lnTo>
                <a:lnTo>
                  <a:pt x="3365093" y="1609509"/>
                </a:lnTo>
                <a:lnTo>
                  <a:pt x="3399790" y="1582902"/>
                </a:lnTo>
                <a:lnTo>
                  <a:pt x="3430473" y="1551711"/>
                </a:lnTo>
                <a:lnTo>
                  <a:pt x="3456660" y="1516456"/>
                </a:lnTo>
                <a:lnTo>
                  <a:pt x="3477857" y="1477594"/>
                </a:lnTo>
                <a:lnTo>
                  <a:pt x="3493605" y="1435633"/>
                </a:lnTo>
                <a:lnTo>
                  <a:pt x="3503396" y="1391043"/>
                </a:lnTo>
                <a:lnTo>
                  <a:pt x="3506774" y="1344333"/>
                </a:lnTo>
                <a:close/>
              </a:path>
              <a:path w="3693795" h="4721860">
                <a:moveTo>
                  <a:pt x="3508527" y="2550566"/>
                </a:moveTo>
                <a:lnTo>
                  <a:pt x="3505873" y="2503855"/>
                </a:lnTo>
                <a:lnTo>
                  <a:pt x="3498113" y="2458732"/>
                </a:lnTo>
                <a:lnTo>
                  <a:pt x="3485540" y="2415476"/>
                </a:lnTo>
                <a:lnTo>
                  <a:pt x="3468459" y="2374417"/>
                </a:lnTo>
                <a:lnTo>
                  <a:pt x="3447161" y="2335834"/>
                </a:lnTo>
                <a:lnTo>
                  <a:pt x="3421938" y="2300046"/>
                </a:lnTo>
                <a:lnTo>
                  <a:pt x="3393084" y="2267331"/>
                </a:lnTo>
                <a:lnTo>
                  <a:pt x="3360890" y="2238006"/>
                </a:lnTo>
                <a:lnTo>
                  <a:pt x="3325672" y="2212378"/>
                </a:lnTo>
                <a:lnTo>
                  <a:pt x="3287712" y="2190724"/>
                </a:lnTo>
                <a:lnTo>
                  <a:pt x="3247301" y="2173363"/>
                </a:lnTo>
                <a:lnTo>
                  <a:pt x="3204756" y="2160587"/>
                </a:lnTo>
                <a:lnTo>
                  <a:pt x="3160344" y="2152713"/>
                </a:lnTo>
                <a:lnTo>
                  <a:pt x="3114383" y="2150008"/>
                </a:lnTo>
                <a:lnTo>
                  <a:pt x="3068409" y="2152713"/>
                </a:lnTo>
                <a:lnTo>
                  <a:pt x="3024009" y="2160587"/>
                </a:lnTo>
                <a:lnTo>
                  <a:pt x="2981452" y="2173363"/>
                </a:lnTo>
                <a:lnTo>
                  <a:pt x="2941040" y="2190724"/>
                </a:lnTo>
                <a:lnTo>
                  <a:pt x="2903080" y="2212378"/>
                </a:lnTo>
                <a:lnTo>
                  <a:pt x="2867863" y="2238006"/>
                </a:lnTo>
                <a:lnTo>
                  <a:pt x="2835681" y="2267331"/>
                </a:lnTo>
                <a:lnTo>
                  <a:pt x="2806827" y="2300046"/>
                </a:lnTo>
                <a:lnTo>
                  <a:pt x="2781604" y="2335834"/>
                </a:lnTo>
                <a:lnTo>
                  <a:pt x="2760294" y="2374417"/>
                </a:lnTo>
                <a:lnTo>
                  <a:pt x="2743212" y="2415476"/>
                </a:lnTo>
                <a:lnTo>
                  <a:pt x="2730639" y="2458732"/>
                </a:lnTo>
                <a:lnTo>
                  <a:pt x="2722880" y="2503855"/>
                </a:lnTo>
                <a:lnTo>
                  <a:pt x="2720238" y="2550566"/>
                </a:lnTo>
                <a:lnTo>
                  <a:pt x="2722880" y="2597289"/>
                </a:lnTo>
                <a:lnTo>
                  <a:pt x="2730639" y="2642412"/>
                </a:lnTo>
                <a:lnTo>
                  <a:pt x="2743212" y="2685669"/>
                </a:lnTo>
                <a:lnTo>
                  <a:pt x="2760294" y="2726728"/>
                </a:lnTo>
                <a:lnTo>
                  <a:pt x="2781604" y="2765310"/>
                </a:lnTo>
                <a:lnTo>
                  <a:pt x="2806827" y="2801099"/>
                </a:lnTo>
                <a:lnTo>
                  <a:pt x="2835681" y="2833814"/>
                </a:lnTo>
                <a:lnTo>
                  <a:pt x="2867863" y="2863126"/>
                </a:lnTo>
                <a:lnTo>
                  <a:pt x="2903080" y="2888767"/>
                </a:lnTo>
                <a:lnTo>
                  <a:pt x="2941040" y="2910421"/>
                </a:lnTo>
                <a:lnTo>
                  <a:pt x="2981452" y="2927781"/>
                </a:lnTo>
                <a:lnTo>
                  <a:pt x="3024009" y="2940545"/>
                </a:lnTo>
                <a:lnTo>
                  <a:pt x="3068409" y="2948432"/>
                </a:lnTo>
                <a:lnTo>
                  <a:pt x="3114383" y="2951124"/>
                </a:lnTo>
                <a:lnTo>
                  <a:pt x="3160344" y="2948432"/>
                </a:lnTo>
                <a:lnTo>
                  <a:pt x="3204756" y="2940545"/>
                </a:lnTo>
                <a:lnTo>
                  <a:pt x="3247301" y="2927781"/>
                </a:lnTo>
                <a:lnTo>
                  <a:pt x="3287712" y="2910421"/>
                </a:lnTo>
                <a:lnTo>
                  <a:pt x="3325672" y="2888767"/>
                </a:lnTo>
                <a:lnTo>
                  <a:pt x="3360890" y="2863126"/>
                </a:lnTo>
                <a:lnTo>
                  <a:pt x="3393084" y="2833814"/>
                </a:lnTo>
                <a:lnTo>
                  <a:pt x="3421938" y="2801099"/>
                </a:lnTo>
                <a:lnTo>
                  <a:pt x="3447161" y="2765310"/>
                </a:lnTo>
                <a:lnTo>
                  <a:pt x="3468459" y="2726728"/>
                </a:lnTo>
                <a:lnTo>
                  <a:pt x="3485540" y="2685669"/>
                </a:lnTo>
                <a:lnTo>
                  <a:pt x="3498113" y="2642412"/>
                </a:lnTo>
                <a:lnTo>
                  <a:pt x="3505873" y="2597289"/>
                </a:lnTo>
                <a:lnTo>
                  <a:pt x="3508527" y="2550566"/>
                </a:lnTo>
                <a:close/>
              </a:path>
              <a:path w="3693795" h="4721860">
                <a:moveTo>
                  <a:pt x="3693350" y="317944"/>
                </a:moveTo>
                <a:lnTo>
                  <a:pt x="3689007" y="268770"/>
                </a:lnTo>
                <a:lnTo>
                  <a:pt x="3676510" y="222491"/>
                </a:lnTo>
                <a:lnTo>
                  <a:pt x="3656596" y="179870"/>
                </a:lnTo>
                <a:lnTo>
                  <a:pt x="3630041" y="141693"/>
                </a:lnTo>
                <a:lnTo>
                  <a:pt x="3597592" y="108724"/>
                </a:lnTo>
                <a:lnTo>
                  <a:pt x="3560026" y="81737"/>
                </a:lnTo>
                <a:lnTo>
                  <a:pt x="3518090" y="61506"/>
                </a:lnTo>
                <a:lnTo>
                  <a:pt x="3472548" y="48793"/>
                </a:lnTo>
                <a:lnTo>
                  <a:pt x="3424161" y="44386"/>
                </a:lnTo>
                <a:lnTo>
                  <a:pt x="3375774" y="48793"/>
                </a:lnTo>
                <a:lnTo>
                  <a:pt x="3330232" y="61506"/>
                </a:lnTo>
                <a:lnTo>
                  <a:pt x="3288296" y="81737"/>
                </a:lnTo>
                <a:lnTo>
                  <a:pt x="3250730" y="108724"/>
                </a:lnTo>
                <a:lnTo>
                  <a:pt x="3218281" y="141693"/>
                </a:lnTo>
                <a:lnTo>
                  <a:pt x="3191726" y="179870"/>
                </a:lnTo>
                <a:lnTo>
                  <a:pt x="3171812" y="222491"/>
                </a:lnTo>
                <a:lnTo>
                  <a:pt x="3159315" y="268770"/>
                </a:lnTo>
                <a:lnTo>
                  <a:pt x="3154972" y="317944"/>
                </a:lnTo>
                <a:lnTo>
                  <a:pt x="3159315" y="367118"/>
                </a:lnTo>
                <a:lnTo>
                  <a:pt x="3171812" y="413397"/>
                </a:lnTo>
                <a:lnTo>
                  <a:pt x="3191726" y="456018"/>
                </a:lnTo>
                <a:lnTo>
                  <a:pt x="3218281" y="494207"/>
                </a:lnTo>
                <a:lnTo>
                  <a:pt x="3250730" y="527177"/>
                </a:lnTo>
                <a:lnTo>
                  <a:pt x="3288296" y="554164"/>
                </a:lnTo>
                <a:lnTo>
                  <a:pt x="3330232" y="574395"/>
                </a:lnTo>
                <a:lnTo>
                  <a:pt x="3375774" y="587108"/>
                </a:lnTo>
                <a:lnTo>
                  <a:pt x="3424161" y="591515"/>
                </a:lnTo>
                <a:lnTo>
                  <a:pt x="3472548" y="587108"/>
                </a:lnTo>
                <a:lnTo>
                  <a:pt x="3518090" y="574395"/>
                </a:lnTo>
                <a:lnTo>
                  <a:pt x="3560026" y="554164"/>
                </a:lnTo>
                <a:lnTo>
                  <a:pt x="3597592" y="527177"/>
                </a:lnTo>
                <a:lnTo>
                  <a:pt x="3630041" y="494207"/>
                </a:lnTo>
                <a:lnTo>
                  <a:pt x="3656596" y="456018"/>
                </a:lnTo>
                <a:lnTo>
                  <a:pt x="3676510" y="413397"/>
                </a:lnTo>
                <a:lnTo>
                  <a:pt x="3689007" y="367118"/>
                </a:lnTo>
                <a:lnTo>
                  <a:pt x="3693350" y="317944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0">
            <a:extLst>
              <a:ext uri="{FF2B5EF4-FFF2-40B4-BE49-F238E27FC236}">
                <a16:creationId xmlns:a16="http://schemas.microsoft.com/office/drawing/2014/main" id="{2691EC91-92A9-2DFD-4EDA-F8644AAFDF47}"/>
              </a:ext>
            </a:extLst>
          </p:cNvPr>
          <p:cNvSpPr/>
          <p:nvPr/>
        </p:nvSpPr>
        <p:spPr>
          <a:xfrm rot="10800000">
            <a:off x="7677415" y="6480079"/>
            <a:ext cx="765566" cy="796245"/>
          </a:xfrm>
          <a:custGeom>
            <a:avLst/>
            <a:gdLst/>
            <a:ahLst/>
            <a:cxnLst/>
            <a:rect l="l" t="t" r="r" b="b"/>
            <a:pathLst>
              <a:path w="788035" h="800735">
                <a:moveTo>
                  <a:pt x="393953" y="0"/>
                </a:moveTo>
                <a:lnTo>
                  <a:pt x="348010" y="2693"/>
                </a:lnTo>
                <a:lnTo>
                  <a:pt x="303623" y="10573"/>
                </a:lnTo>
                <a:lnTo>
                  <a:pt x="261088" y="23340"/>
                </a:lnTo>
                <a:lnTo>
                  <a:pt x="220702" y="40693"/>
                </a:lnTo>
                <a:lnTo>
                  <a:pt x="182759" y="62331"/>
                </a:lnTo>
                <a:lnTo>
                  <a:pt x="147555" y="87955"/>
                </a:lnTo>
                <a:lnTo>
                  <a:pt x="115385" y="117263"/>
                </a:lnTo>
                <a:lnTo>
                  <a:pt x="86546" y="149956"/>
                </a:lnTo>
                <a:lnTo>
                  <a:pt x="61333" y="185733"/>
                </a:lnTo>
                <a:lnTo>
                  <a:pt x="40041" y="224294"/>
                </a:lnTo>
                <a:lnTo>
                  <a:pt x="22966" y="265338"/>
                </a:lnTo>
                <a:lnTo>
                  <a:pt x="10404" y="308566"/>
                </a:lnTo>
                <a:lnTo>
                  <a:pt x="2650" y="353675"/>
                </a:lnTo>
                <a:lnTo>
                  <a:pt x="0" y="400367"/>
                </a:lnTo>
                <a:lnTo>
                  <a:pt x="2650" y="447056"/>
                </a:lnTo>
                <a:lnTo>
                  <a:pt x="10404" y="492164"/>
                </a:lnTo>
                <a:lnTo>
                  <a:pt x="22966" y="535389"/>
                </a:lnTo>
                <a:lnTo>
                  <a:pt x="40041" y="576432"/>
                </a:lnTo>
                <a:lnTo>
                  <a:pt x="61333" y="614991"/>
                </a:lnTo>
                <a:lnTo>
                  <a:pt x="86546" y="650767"/>
                </a:lnTo>
                <a:lnTo>
                  <a:pt x="115385" y="683460"/>
                </a:lnTo>
                <a:lnTo>
                  <a:pt x="147555" y="712767"/>
                </a:lnTo>
                <a:lnTo>
                  <a:pt x="182759" y="738391"/>
                </a:lnTo>
                <a:lnTo>
                  <a:pt x="220702" y="760029"/>
                </a:lnTo>
                <a:lnTo>
                  <a:pt x="261088" y="777381"/>
                </a:lnTo>
                <a:lnTo>
                  <a:pt x="303623" y="790148"/>
                </a:lnTo>
                <a:lnTo>
                  <a:pt x="348010" y="798028"/>
                </a:lnTo>
                <a:lnTo>
                  <a:pt x="393953" y="800722"/>
                </a:lnTo>
                <a:lnTo>
                  <a:pt x="439897" y="798028"/>
                </a:lnTo>
                <a:lnTo>
                  <a:pt x="484284" y="790148"/>
                </a:lnTo>
                <a:lnTo>
                  <a:pt x="526819" y="777381"/>
                </a:lnTo>
                <a:lnTo>
                  <a:pt x="567205" y="760029"/>
                </a:lnTo>
                <a:lnTo>
                  <a:pt x="605148" y="738391"/>
                </a:lnTo>
                <a:lnTo>
                  <a:pt x="640352" y="712767"/>
                </a:lnTo>
                <a:lnTo>
                  <a:pt x="672522" y="683460"/>
                </a:lnTo>
                <a:lnTo>
                  <a:pt x="701361" y="650767"/>
                </a:lnTo>
                <a:lnTo>
                  <a:pt x="726574" y="614991"/>
                </a:lnTo>
                <a:lnTo>
                  <a:pt x="747866" y="576432"/>
                </a:lnTo>
                <a:lnTo>
                  <a:pt x="764941" y="535389"/>
                </a:lnTo>
                <a:lnTo>
                  <a:pt x="777503" y="492164"/>
                </a:lnTo>
                <a:lnTo>
                  <a:pt x="785257" y="447056"/>
                </a:lnTo>
                <a:lnTo>
                  <a:pt x="787907" y="400367"/>
                </a:lnTo>
                <a:lnTo>
                  <a:pt x="785257" y="353675"/>
                </a:lnTo>
                <a:lnTo>
                  <a:pt x="777503" y="308566"/>
                </a:lnTo>
                <a:lnTo>
                  <a:pt x="764941" y="265338"/>
                </a:lnTo>
                <a:lnTo>
                  <a:pt x="747866" y="224294"/>
                </a:lnTo>
                <a:lnTo>
                  <a:pt x="726574" y="185733"/>
                </a:lnTo>
                <a:lnTo>
                  <a:pt x="701361" y="149956"/>
                </a:lnTo>
                <a:lnTo>
                  <a:pt x="672522" y="117263"/>
                </a:lnTo>
                <a:lnTo>
                  <a:pt x="640352" y="87955"/>
                </a:lnTo>
                <a:lnTo>
                  <a:pt x="605148" y="62331"/>
                </a:lnTo>
                <a:lnTo>
                  <a:pt x="567205" y="40693"/>
                </a:lnTo>
                <a:lnTo>
                  <a:pt x="526819" y="23340"/>
                </a:lnTo>
                <a:lnTo>
                  <a:pt x="484284" y="10573"/>
                </a:lnTo>
                <a:lnTo>
                  <a:pt x="439897" y="2693"/>
                </a:lnTo>
                <a:lnTo>
                  <a:pt x="39395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12">
            <a:extLst>
              <a:ext uri="{FF2B5EF4-FFF2-40B4-BE49-F238E27FC236}">
                <a16:creationId xmlns:a16="http://schemas.microsoft.com/office/drawing/2014/main" id="{4849155B-A9DE-EE8A-9AF8-81425A554348}"/>
              </a:ext>
            </a:extLst>
          </p:cNvPr>
          <p:cNvSpPr/>
          <p:nvPr/>
        </p:nvSpPr>
        <p:spPr>
          <a:xfrm rot="10800000">
            <a:off x="11530830" y="6395080"/>
            <a:ext cx="638498" cy="334033"/>
          </a:xfrm>
          <a:custGeom>
            <a:avLst/>
            <a:gdLst/>
            <a:ahLst/>
            <a:cxnLst/>
            <a:rect l="l" t="t" r="r" b="b"/>
            <a:pathLst>
              <a:path w="440055" h="253364">
                <a:moveTo>
                  <a:pt x="312827" y="0"/>
                </a:moveTo>
                <a:lnTo>
                  <a:pt x="0" y="0"/>
                </a:lnTo>
                <a:lnTo>
                  <a:pt x="0" y="253365"/>
                </a:lnTo>
                <a:lnTo>
                  <a:pt x="312827" y="253365"/>
                </a:lnTo>
                <a:lnTo>
                  <a:pt x="362132" y="243409"/>
                </a:lnTo>
                <a:lnTo>
                  <a:pt x="402400" y="216260"/>
                </a:lnTo>
                <a:lnTo>
                  <a:pt x="429552" y="175992"/>
                </a:lnTo>
                <a:lnTo>
                  <a:pt x="439510" y="126682"/>
                </a:lnTo>
                <a:lnTo>
                  <a:pt x="429552" y="77372"/>
                </a:lnTo>
                <a:lnTo>
                  <a:pt x="402400" y="37104"/>
                </a:lnTo>
                <a:lnTo>
                  <a:pt x="362132" y="9955"/>
                </a:lnTo>
                <a:lnTo>
                  <a:pt x="312827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2042757" y="1766139"/>
            <a:ext cx="9282430" cy="3337640"/>
          </a:xfrm>
        </p:spPr>
        <p:txBody>
          <a:bodyPr>
            <a:norm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46162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E177F1D-8B04-881D-29E5-088E64B385E9}"/>
              </a:ext>
            </a:extLst>
          </p:cNvPr>
          <p:cNvGrpSpPr/>
          <p:nvPr userDrawn="1"/>
        </p:nvGrpSpPr>
        <p:grpSpPr>
          <a:xfrm>
            <a:off x="9597" y="0"/>
            <a:ext cx="4329657" cy="4281798"/>
            <a:chOff x="9597" y="0"/>
            <a:chExt cx="4329657" cy="4281798"/>
          </a:xfrm>
        </p:grpSpPr>
        <p:sp>
          <p:nvSpPr>
            <p:cNvPr id="9" name="object 9">
              <a:extLst>
                <a:ext uri="{FF2B5EF4-FFF2-40B4-BE49-F238E27FC236}">
                  <a16:creationId xmlns:a16="http://schemas.microsoft.com/office/drawing/2014/main" id="{D7A29DDB-840F-FC84-9103-E3E5B573BF40}"/>
                </a:ext>
              </a:extLst>
            </p:cNvPr>
            <p:cNvSpPr/>
            <p:nvPr/>
          </p:nvSpPr>
          <p:spPr>
            <a:xfrm>
              <a:off x="108938" y="11"/>
              <a:ext cx="3349537" cy="4281787"/>
            </a:xfrm>
            <a:custGeom>
              <a:avLst/>
              <a:gdLst/>
              <a:ahLst/>
              <a:cxnLst/>
              <a:rect l="l" t="t" r="r" b="b"/>
              <a:pathLst>
                <a:path w="3693795" h="4721860">
                  <a:moveTo>
                    <a:pt x="985329" y="60604"/>
                  </a:moveTo>
                  <a:lnTo>
                    <a:pt x="977315" y="10096"/>
                  </a:lnTo>
                  <a:lnTo>
                    <a:pt x="972172" y="0"/>
                  </a:lnTo>
                  <a:lnTo>
                    <a:pt x="684009" y="0"/>
                  </a:lnTo>
                  <a:lnTo>
                    <a:pt x="678865" y="10096"/>
                  </a:lnTo>
                  <a:lnTo>
                    <a:pt x="670852" y="60604"/>
                  </a:lnTo>
                  <a:lnTo>
                    <a:pt x="678865" y="111112"/>
                  </a:lnTo>
                  <a:lnTo>
                    <a:pt x="701192" y="154978"/>
                  </a:lnTo>
                  <a:lnTo>
                    <a:pt x="735228" y="189572"/>
                  </a:lnTo>
                  <a:lnTo>
                    <a:pt x="778395" y="212255"/>
                  </a:lnTo>
                  <a:lnTo>
                    <a:pt x="828090" y="220395"/>
                  </a:lnTo>
                  <a:lnTo>
                    <a:pt x="877785" y="212255"/>
                  </a:lnTo>
                  <a:lnTo>
                    <a:pt x="920953" y="189572"/>
                  </a:lnTo>
                  <a:lnTo>
                    <a:pt x="954989" y="154978"/>
                  </a:lnTo>
                  <a:lnTo>
                    <a:pt x="977315" y="111112"/>
                  </a:lnTo>
                  <a:lnTo>
                    <a:pt x="985329" y="60604"/>
                  </a:lnTo>
                  <a:close/>
                </a:path>
                <a:path w="3693795" h="4721860">
                  <a:moveTo>
                    <a:pt x="1194587" y="628446"/>
                  </a:moveTo>
                  <a:lnTo>
                    <a:pt x="1189532" y="583895"/>
                  </a:lnTo>
                  <a:lnTo>
                    <a:pt x="1175143" y="543001"/>
                  </a:lnTo>
                  <a:lnTo>
                    <a:pt x="1152575" y="506920"/>
                  </a:lnTo>
                  <a:lnTo>
                    <a:pt x="1122972" y="476821"/>
                  </a:lnTo>
                  <a:lnTo>
                    <a:pt x="1087462" y="453885"/>
                  </a:lnTo>
                  <a:lnTo>
                    <a:pt x="1047229" y="439267"/>
                  </a:lnTo>
                  <a:lnTo>
                    <a:pt x="1003388" y="434136"/>
                  </a:lnTo>
                  <a:lnTo>
                    <a:pt x="959548" y="439267"/>
                  </a:lnTo>
                  <a:lnTo>
                    <a:pt x="919302" y="453885"/>
                  </a:lnTo>
                  <a:lnTo>
                    <a:pt x="883805" y="476821"/>
                  </a:lnTo>
                  <a:lnTo>
                    <a:pt x="854189" y="506920"/>
                  </a:lnTo>
                  <a:lnTo>
                    <a:pt x="831621" y="543001"/>
                  </a:lnTo>
                  <a:lnTo>
                    <a:pt x="817232" y="583895"/>
                  </a:lnTo>
                  <a:lnTo>
                    <a:pt x="812190" y="628446"/>
                  </a:lnTo>
                  <a:lnTo>
                    <a:pt x="817232" y="672998"/>
                  </a:lnTo>
                  <a:lnTo>
                    <a:pt x="831621" y="713905"/>
                  </a:lnTo>
                  <a:lnTo>
                    <a:pt x="854189" y="749973"/>
                  </a:lnTo>
                  <a:lnTo>
                    <a:pt x="883805" y="780072"/>
                  </a:lnTo>
                  <a:lnTo>
                    <a:pt x="919302" y="803008"/>
                  </a:lnTo>
                  <a:lnTo>
                    <a:pt x="959548" y="817626"/>
                  </a:lnTo>
                  <a:lnTo>
                    <a:pt x="1003388" y="822756"/>
                  </a:lnTo>
                  <a:lnTo>
                    <a:pt x="1047229" y="817626"/>
                  </a:lnTo>
                  <a:lnTo>
                    <a:pt x="1087462" y="803008"/>
                  </a:lnTo>
                  <a:lnTo>
                    <a:pt x="1122972" y="780072"/>
                  </a:lnTo>
                  <a:lnTo>
                    <a:pt x="1152575" y="749973"/>
                  </a:lnTo>
                  <a:lnTo>
                    <a:pt x="1175143" y="713905"/>
                  </a:lnTo>
                  <a:lnTo>
                    <a:pt x="1189532" y="672998"/>
                  </a:lnTo>
                  <a:lnTo>
                    <a:pt x="1194587" y="628446"/>
                  </a:lnTo>
                  <a:close/>
                </a:path>
                <a:path w="3693795" h="4721860">
                  <a:moveTo>
                    <a:pt x="2110397" y="2736418"/>
                  </a:moveTo>
                  <a:lnTo>
                    <a:pt x="2105355" y="2691866"/>
                  </a:lnTo>
                  <a:lnTo>
                    <a:pt x="2090966" y="2650960"/>
                  </a:lnTo>
                  <a:lnTo>
                    <a:pt x="2068398" y="2614892"/>
                  </a:lnTo>
                  <a:lnTo>
                    <a:pt x="2038781" y="2584793"/>
                  </a:lnTo>
                  <a:lnTo>
                    <a:pt x="2003285" y="2561856"/>
                  </a:lnTo>
                  <a:lnTo>
                    <a:pt x="1963039" y="2547239"/>
                  </a:lnTo>
                  <a:lnTo>
                    <a:pt x="1919198" y="2542108"/>
                  </a:lnTo>
                  <a:lnTo>
                    <a:pt x="1875358" y="2547239"/>
                  </a:lnTo>
                  <a:lnTo>
                    <a:pt x="1835111" y="2561856"/>
                  </a:lnTo>
                  <a:lnTo>
                    <a:pt x="1799615" y="2584793"/>
                  </a:lnTo>
                  <a:lnTo>
                    <a:pt x="1770011" y="2614892"/>
                  </a:lnTo>
                  <a:lnTo>
                    <a:pt x="1747431" y="2650960"/>
                  </a:lnTo>
                  <a:lnTo>
                    <a:pt x="1733054" y="2691866"/>
                  </a:lnTo>
                  <a:lnTo>
                    <a:pt x="1728000" y="2736418"/>
                  </a:lnTo>
                  <a:lnTo>
                    <a:pt x="1733054" y="2780969"/>
                  </a:lnTo>
                  <a:lnTo>
                    <a:pt x="1747431" y="2821863"/>
                  </a:lnTo>
                  <a:lnTo>
                    <a:pt x="1770011" y="2857944"/>
                  </a:lnTo>
                  <a:lnTo>
                    <a:pt x="1799615" y="2888043"/>
                  </a:lnTo>
                  <a:lnTo>
                    <a:pt x="1835111" y="2910979"/>
                  </a:lnTo>
                  <a:lnTo>
                    <a:pt x="1875358" y="2925597"/>
                  </a:lnTo>
                  <a:lnTo>
                    <a:pt x="1919198" y="2930728"/>
                  </a:lnTo>
                  <a:lnTo>
                    <a:pt x="1963039" y="2925597"/>
                  </a:lnTo>
                  <a:lnTo>
                    <a:pt x="2003285" y="2910979"/>
                  </a:lnTo>
                  <a:lnTo>
                    <a:pt x="2038781" y="2888043"/>
                  </a:lnTo>
                  <a:lnTo>
                    <a:pt x="2068398" y="2857944"/>
                  </a:lnTo>
                  <a:lnTo>
                    <a:pt x="2090966" y="2821863"/>
                  </a:lnTo>
                  <a:lnTo>
                    <a:pt x="2105355" y="2780969"/>
                  </a:lnTo>
                  <a:lnTo>
                    <a:pt x="2110397" y="2736418"/>
                  </a:lnTo>
                  <a:close/>
                </a:path>
                <a:path w="3693795" h="4721860">
                  <a:moveTo>
                    <a:pt x="2315591" y="3313163"/>
                  </a:moveTo>
                  <a:lnTo>
                    <a:pt x="2310536" y="3268611"/>
                  </a:lnTo>
                  <a:lnTo>
                    <a:pt x="2296160" y="3227717"/>
                  </a:lnTo>
                  <a:lnTo>
                    <a:pt x="2273592" y="3191637"/>
                  </a:lnTo>
                  <a:lnTo>
                    <a:pt x="2243975" y="3161538"/>
                  </a:lnTo>
                  <a:lnTo>
                    <a:pt x="2208479" y="3138601"/>
                  </a:lnTo>
                  <a:lnTo>
                    <a:pt x="2168233" y="3123984"/>
                  </a:lnTo>
                  <a:lnTo>
                    <a:pt x="2124392" y="3118853"/>
                  </a:lnTo>
                  <a:lnTo>
                    <a:pt x="2080552" y="3123984"/>
                  </a:lnTo>
                  <a:lnTo>
                    <a:pt x="2040305" y="3138601"/>
                  </a:lnTo>
                  <a:lnTo>
                    <a:pt x="2004809" y="3161538"/>
                  </a:lnTo>
                  <a:lnTo>
                    <a:pt x="1975192" y="3191637"/>
                  </a:lnTo>
                  <a:lnTo>
                    <a:pt x="1952625" y="3227717"/>
                  </a:lnTo>
                  <a:lnTo>
                    <a:pt x="1938235" y="3268611"/>
                  </a:lnTo>
                  <a:lnTo>
                    <a:pt x="1933194" y="3313163"/>
                  </a:lnTo>
                  <a:lnTo>
                    <a:pt x="1938235" y="3357715"/>
                  </a:lnTo>
                  <a:lnTo>
                    <a:pt x="1952625" y="3398621"/>
                  </a:lnTo>
                  <a:lnTo>
                    <a:pt x="1975192" y="3434689"/>
                  </a:lnTo>
                  <a:lnTo>
                    <a:pt x="2004809" y="3464788"/>
                  </a:lnTo>
                  <a:lnTo>
                    <a:pt x="2040305" y="3487724"/>
                  </a:lnTo>
                  <a:lnTo>
                    <a:pt x="2080552" y="3502342"/>
                  </a:lnTo>
                  <a:lnTo>
                    <a:pt x="2124392" y="3507473"/>
                  </a:lnTo>
                  <a:lnTo>
                    <a:pt x="2168233" y="3502342"/>
                  </a:lnTo>
                  <a:lnTo>
                    <a:pt x="2208479" y="3487724"/>
                  </a:lnTo>
                  <a:lnTo>
                    <a:pt x="2243975" y="3464788"/>
                  </a:lnTo>
                  <a:lnTo>
                    <a:pt x="2273592" y="3434689"/>
                  </a:lnTo>
                  <a:lnTo>
                    <a:pt x="2296160" y="3398621"/>
                  </a:lnTo>
                  <a:lnTo>
                    <a:pt x="2310536" y="3357715"/>
                  </a:lnTo>
                  <a:lnTo>
                    <a:pt x="2315591" y="3313163"/>
                  </a:lnTo>
                  <a:close/>
                </a:path>
                <a:path w="3693795" h="4721860">
                  <a:moveTo>
                    <a:pt x="2551633" y="1956752"/>
                  </a:moveTo>
                  <a:lnTo>
                    <a:pt x="2547645" y="1911578"/>
                  </a:lnTo>
                  <a:lnTo>
                    <a:pt x="2536164" y="1869046"/>
                  </a:lnTo>
                  <a:lnTo>
                    <a:pt x="2517864" y="1829892"/>
                  </a:lnTo>
                  <a:lnTo>
                    <a:pt x="2493467" y="1794814"/>
                  </a:lnTo>
                  <a:lnTo>
                    <a:pt x="2463660" y="1764525"/>
                  </a:lnTo>
                  <a:lnTo>
                    <a:pt x="2429141" y="1739722"/>
                  </a:lnTo>
                  <a:lnTo>
                    <a:pt x="2390610" y="1721129"/>
                  </a:lnTo>
                  <a:lnTo>
                    <a:pt x="2348776" y="1709458"/>
                  </a:lnTo>
                  <a:lnTo>
                    <a:pt x="2304313" y="1705406"/>
                  </a:lnTo>
                  <a:lnTo>
                    <a:pt x="2259863" y="1709458"/>
                  </a:lnTo>
                  <a:lnTo>
                    <a:pt x="2218017" y="1721129"/>
                  </a:lnTo>
                  <a:lnTo>
                    <a:pt x="2179485" y="1739722"/>
                  </a:lnTo>
                  <a:lnTo>
                    <a:pt x="2144966" y="1764525"/>
                  </a:lnTo>
                  <a:lnTo>
                    <a:pt x="2115159" y="1794814"/>
                  </a:lnTo>
                  <a:lnTo>
                    <a:pt x="2090762" y="1829892"/>
                  </a:lnTo>
                  <a:lnTo>
                    <a:pt x="2072474" y="1869046"/>
                  </a:lnTo>
                  <a:lnTo>
                    <a:pt x="2060981" y="1911578"/>
                  </a:lnTo>
                  <a:lnTo>
                    <a:pt x="2056993" y="1956752"/>
                  </a:lnTo>
                  <a:lnTo>
                    <a:pt x="2060981" y="2001926"/>
                  </a:lnTo>
                  <a:lnTo>
                    <a:pt x="2072474" y="2044458"/>
                  </a:lnTo>
                  <a:lnTo>
                    <a:pt x="2090762" y="2083612"/>
                  </a:lnTo>
                  <a:lnTo>
                    <a:pt x="2115159" y="2118690"/>
                  </a:lnTo>
                  <a:lnTo>
                    <a:pt x="2144966" y="2148979"/>
                  </a:lnTo>
                  <a:lnTo>
                    <a:pt x="2179485" y="2173782"/>
                  </a:lnTo>
                  <a:lnTo>
                    <a:pt x="2218017" y="2192375"/>
                  </a:lnTo>
                  <a:lnTo>
                    <a:pt x="2259863" y="2204047"/>
                  </a:lnTo>
                  <a:lnTo>
                    <a:pt x="2304313" y="2208098"/>
                  </a:lnTo>
                  <a:lnTo>
                    <a:pt x="2348776" y="2204047"/>
                  </a:lnTo>
                  <a:lnTo>
                    <a:pt x="2390610" y="2192375"/>
                  </a:lnTo>
                  <a:lnTo>
                    <a:pt x="2429141" y="2173782"/>
                  </a:lnTo>
                  <a:lnTo>
                    <a:pt x="2463660" y="2148979"/>
                  </a:lnTo>
                  <a:lnTo>
                    <a:pt x="2493467" y="2118690"/>
                  </a:lnTo>
                  <a:lnTo>
                    <a:pt x="2517864" y="2083612"/>
                  </a:lnTo>
                  <a:lnTo>
                    <a:pt x="2536164" y="2044458"/>
                  </a:lnTo>
                  <a:lnTo>
                    <a:pt x="2547645" y="2001926"/>
                  </a:lnTo>
                  <a:lnTo>
                    <a:pt x="2551633" y="1956752"/>
                  </a:lnTo>
                  <a:close/>
                </a:path>
                <a:path w="3693795" h="4721860">
                  <a:moveTo>
                    <a:pt x="2845346" y="10020"/>
                  </a:moveTo>
                  <a:lnTo>
                    <a:pt x="1323581" y="10020"/>
                  </a:lnTo>
                  <a:lnTo>
                    <a:pt x="1314577" y="48120"/>
                  </a:lnTo>
                  <a:lnTo>
                    <a:pt x="1324521" y="98920"/>
                  </a:lnTo>
                  <a:lnTo>
                    <a:pt x="1351661" y="137020"/>
                  </a:lnTo>
                  <a:lnTo>
                    <a:pt x="1391920" y="162420"/>
                  </a:lnTo>
                  <a:lnTo>
                    <a:pt x="1441234" y="175120"/>
                  </a:lnTo>
                  <a:lnTo>
                    <a:pt x="2424163" y="175120"/>
                  </a:lnTo>
                  <a:lnTo>
                    <a:pt x="2406192" y="225920"/>
                  </a:lnTo>
                  <a:lnTo>
                    <a:pt x="2386253" y="264020"/>
                  </a:lnTo>
                  <a:lnTo>
                    <a:pt x="2364435" y="314820"/>
                  </a:lnTo>
                  <a:lnTo>
                    <a:pt x="2340800" y="365620"/>
                  </a:lnTo>
                  <a:lnTo>
                    <a:pt x="2315400" y="403720"/>
                  </a:lnTo>
                  <a:lnTo>
                    <a:pt x="2288298" y="454520"/>
                  </a:lnTo>
                  <a:lnTo>
                    <a:pt x="2259584" y="492620"/>
                  </a:lnTo>
                  <a:lnTo>
                    <a:pt x="1496834" y="492620"/>
                  </a:lnTo>
                  <a:lnTo>
                    <a:pt x="1447520" y="505320"/>
                  </a:lnTo>
                  <a:lnTo>
                    <a:pt x="1407261" y="530720"/>
                  </a:lnTo>
                  <a:lnTo>
                    <a:pt x="1380121" y="581520"/>
                  </a:lnTo>
                  <a:lnTo>
                    <a:pt x="1370177" y="619620"/>
                  </a:lnTo>
                  <a:lnTo>
                    <a:pt x="1380121" y="670420"/>
                  </a:lnTo>
                  <a:lnTo>
                    <a:pt x="1407261" y="721220"/>
                  </a:lnTo>
                  <a:lnTo>
                    <a:pt x="1447520" y="746620"/>
                  </a:lnTo>
                  <a:lnTo>
                    <a:pt x="2074989" y="746620"/>
                  </a:lnTo>
                  <a:lnTo>
                    <a:pt x="2044115" y="784720"/>
                  </a:lnTo>
                  <a:lnTo>
                    <a:pt x="2012492" y="822820"/>
                  </a:lnTo>
                  <a:lnTo>
                    <a:pt x="1980171" y="860920"/>
                  </a:lnTo>
                  <a:lnTo>
                    <a:pt x="1947189" y="899020"/>
                  </a:lnTo>
                  <a:lnTo>
                    <a:pt x="1913585" y="937120"/>
                  </a:lnTo>
                  <a:lnTo>
                    <a:pt x="1879396" y="975220"/>
                  </a:lnTo>
                  <a:lnTo>
                    <a:pt x="1844662" y="1013320"/>
                  </a:lnTo>
                  <a:lnTo>
                    <a:pt x="1809432" y="1051420"/>
                  </a:lnTo>
                  <a:lnTo>
                    <a:pt x="1773732" y="1089520"/>
                  </a:lnTo>
                  <a:lnTo>
                    <a:pt x="1737614" y="1127620"/>
                  </a:lnTo>
                  <a:lnTo>
                    <a:pt x="1701114" y="1165720"/>
                  </a:lnTo>
                  <a:lnTo>
                    <a:pt x="1627111" y="1241920"/>
                  </a:lnTo>
                  <a:lnTo>
                    <a:pt x="1589697" y="1267320"/>
                  </a:lnTo>
                  <a:lnTo>
                    <a:pt x="1400073" y="1457820"/>
                  </a:lnTo>
                  <a:lnTo>
                    <a:pt x="1361909" y="1483220"/>
                  </a:lnTo>
                  <a:lnTo>
                    <a:pt x="1247686" y="1597520"/>
                  </a:lnTo>
                  <a:lnTo>
                    <a:pt x="1128903" y="1699120"/>
                  </a:lnTo>
                  <a:lnTo>
                    <a:pt x="1085837" y="1749920"/>
                  </a:lnTo>
                  <a:lnTo>
                    <a:pt x="958227" y="1864220"/>
                  </a:lnTo>
                  <a:lnTo>
                    <a:pt x="874915" y="1940420"/>
                  </a:lnTo>
                  <a:lnTo>
                    <a:pt x="833920" y="1978520"/>
                  </a:lnTo>
                  <a:lnTo>
                    <a:pt x="793445" y="2016620"/>
                  </a:lnTo>
                  <a:lnTo>
                    <a:pt x="753503" y="2054720"/>
                  </a:lnTo>
                  <a:lnTo>
                    <a:pt x="714159" y="2092820"/>
                  </a:lnTo>
                  <a:lnTo>
                    <a:pt x="675462" y="2130920"/>
                  </a:lnTo>
                  <a:lnTo>
                    <a:pt x="637451" y="2169020"/>
                  </a:lnTo>
                  <a:lnTo>
                    <a:pt x="600176" y="2207120"/>
                  </a:lnTo>
                  <a:lnTo>
                    <a:pt x="563664" y="2245220"/>
                  </a:lnTo>
                  <a:lnTo>
                    <a:pt x="527977" y="2283320"/>
                  </a:lnTo>
                  <a:lnTo>
                    <a:pt x="493166" y="2321420"/>
                  </a:lnTo>
                  <a:lnTo>
                    <a:pt x="459270" y="2359520"/>
                  </a:lnTo>
                  <a:lnTo>
                    <a:pt x="426326" y="2397620"/>
                  </a:lnTo>
                  <a:lnTo>
                    <a:pt x="394373" y="2435720"/>
                  </a:lnTo>
                  <a:lnTo>
                    <a:pt x="363486" y="2473820"/>
                  </a:lnTo>
                  <a:lnTo>
                    <a:pt x="333692" y="2511920"/>
                  </a:lnTo>
                  <a:lnTo>
                    <a:pt x="305028" y="2550020"/>
                  </a:lnTo>
                  <a:lnTo>
                    <a:pt x="277558" y="2588120"/>
                  </a:lnTo>
                  <a:lnTo>
                    <a:pt x="251320" y="2626220"/>
                  </a:lnTo>
                  <a:lnTo>
                    <a:pt x="226352" y="2664320"/>
                  </a:lnTo>
                  <a:lnTo>
                    <a:pt x="202704" y="2702420"/>
                  </a:lnTo>
                  <a:lnTo>
                    <a:pt x="180428" y="2740520"/>
                  </a:lnTo>
                  <a:lnTo>
                    <a:pt x="159562" y="2778620"/>
                  </a:lnTo>
                  <a:lnTo>
                    <a:pt x="140144" y="2816720"/>
                  </a:lnTo>
                  <a:lnTo>
                    <a:pt x="122237" y="2854820"/>
                  </a:lnTo>
                  <a:lnTo>
                    <a:pt x="105879" y="2892920"/>
                  </a:lnTo>
                  <a:lnTo>
                    <a:pt x="91122" y="2931020"/>
                  </a:lnTo>
                  <a:lnTo>
                    <a:pt x="77990" y="2956420"/>
                  </a:lnTo>
                  <a:lnTo>
                    <a:pt x="56781" y="3032620"/>
                  </a:lnTo>
                  <a:lnTo>
                    <a:pt x="39179" y="3096120"/>
                  </a:lnTo>
                  <a:lnTo>
                    <a:pt x="25031" y="3159620"/>
                  </a:lnTo>
                  <a:lnTo>
                    <a:pt x="14198" y="3235820"/>
                  </a:lnTo>
                  <a:lnTo>
                    <a:pt x="6502" y="3299320"/>
                  </a:lnTo>
                  <a:lnTo>
                    <a:pt x="1828" y="3362820"/>
                  </a:lnTo>
                  <a:lnTo>
                    <a:pt x="0" y="3426320"/>
                  </a:lnTo>
                  <a:lnTo>
                    <a:pt x="863" y="3489820"/>
                  </a:lnTo>
                  <a:lnTo>
                    <a:pt x="4305" y="3540620"/>
                  </a:lnTo>
                  <a:lnTo>
                    <a:pt x="10134" y="3604120"/>
                  </a:lnTo>
                  <a:lnTo>
                    <a:pt x="18224" y="3667620"/>
                  </a:lnTo>
                  <a:lnTo>
                    <a:pt x="28422" y="3718420"/>
                  </a:lnTo>
                  <a:lnTo>
                    <a:pt x="40576" y="3781920"/>
                  </a:lnTo>
                  <a:lnTo>
                    <a:pt x="54521" y="3832720"/>
                  </a:lnTo>
                  <a:lnTo>
                    <a:pt x="70142" y="3883520"/>
                  </a:lnTo>
                  <a:lnTo>
                    <a:pt x="87249" y="3934320"/>
                  </a:lnTo>
                  <a:lnTo>
                    <a:pt x="105727" y="3985120"/>
                  </a:lnTo>
                  <a:lnTo>
                    <a:pt x="125399" y="4035920"/>
                  </a:lnTo>
                  <a:lnTo>
                    <a:pt x="146138" y="4086720"/>
                  </a:lnTo>
                  <a:lnTo>
                    <a:pt x="167767" y="4124820"/>
                  </a:lnTo>
                  <a:lnTo>
                    <a:pt x="190169" y="4175620"/>
                  </a:lnTo>
                  <a:lnTo>
                    <a:pt x="213169" y="4213720"/>
                  </a:lnTo>
                  <a:lnTo>
                    <a:pt x="236613" y="4251820"/>
                  </a:lnTo>
                  <a:lnTo>
                    <a:pt x="260375" y="4302620"/>
                  </a:lnTo>
                  <a:lnTo>
                    <a:pt x="284302" y="4340720"/>
                  </a:lnTo>
                  <a:lnTo>
                    <a:pt x="308216" y="4366120"/>
                  </a:lnTo>
                  <a:lnTo>
                    <a:pt x="332003" y="4404220"/>
                  </a:lnTo>
                  <a:lnTo>
                    <a:pt x="355485" y="4442320"/>
                  </a:lnTo>
                  <a:lnTo>
                    <a:pt x="378536" y="4467720"/>
                  </a:lnTo>
                  <a:lnTo>
                    <a:pt x="400977" y="4493120"/>
                  </a:lnTo>
                  <a:lnTo>
                    <a:pt x="422681" y="4518520"/>
                  </a:lnTo>
                  <a:lnTo>
                    <a:pt x="443496" y="4543920"/>
                  </a:lnTo>
                  <a:lnTo>
                    <a:pt x="463270" y="4569320"/>
                  </a:lnTo>
                  <a:lnTo>
                    <a:pt x="481838" y="4594720"/>
                  </a:lnTo>
                  <a:lnTo>
                    <a:pt x="499071" y="4607420"/>
                  </a:lnTo>
                  <a:lnTo>
                    <a:pt x="514807" y="4632820"/>
                  </a:lnTo>
                  <a:lnTo>
                    <a:pt x="528904" y="4645520"/>
                  </a:lnTo>
                  <a:lnTo>
                    <a:pt x="541210" y="4658220"/>
                  </a:lnTo>
                  <a:lnTo>
                    <a:pt x="551573" y="4658220"/>
                  </a:lnTo>
                  <a:lnTo>
                    <a:pt x="559841" y="4670920"/>
                  </a:lnTo>
                  <a:lnTo>
                    <a:pt x="565861" y="4683620"/>
                  </a:lnTo>
                  <a:lnTo>
                    <a:pt x="569493" y="4683620"/>
                  </a:lnTo>
                  <a:lnTo>
                    <a:pt x="597319" y="4696320"/>
                  </a:lnTo>
                  <a:lnTo>
                    <a:pt x="627621" y="4721720"/>
                  </a:lnTo>
                  <a:lnTo>
                    <a:pt x="729513" y="4721720"/>
                  </a:lnTo>
                  <a:lnTo>
                    <a:pt x="765454" y="4709020"/>
                  </a:lnTo>
                  <a:lnTo>
                    <a:pt x="828370" y="4670920"/>
                  </a:lnTo>
                  <a:lnTo>
                    <a:pt x="856284" y="4632820"/>
                  </a:lnTo>
                  <a:lnTo>
                    <a:pt x="872045" y="4582020"/>
                  </a:lnTo>
                  <a:lnTo>
                    <a:pt x="875779" y="4531220"/>
                  </a:lnTo>
                  <a:lnTo>
                    <a:pt x="867625" y="4493120"/>
                  </a:lnTo>
                  <a:lnTo>
                    <a:pt x="847686" y="4442320"/>
                  </a:lnTo>
                  <a:lnTo>
                    <a:pt x="816102" y="4404220"/>
                  </a:lnTo>
                  <a:lnTo>
                    <a:pt x="807847" y="4404220"/>
                  </a:lnTo>
                  <a:lnTo>
                    <a:pt x="791743" y="4378820"/>
                  </a:lnTo>
                  <a:lnTo>
                    <a:pt x="768921" y="4366120"/>
                  </a:lnTo>
                  <a:lnTo>
                    <a:pt x="740473" y="4328020"/>
                  </a:lnTo>
                  <a:lnTo>
                    <a:pt x="707555" y="4289920"/>
                  </a:lnTo>
                  <a:lnTo>
                    <a:pt x="671258" y="4251820"/>
                  </a:lnTo>
                  <a:lnTo>
                    <a:pt x="632701" y="4201020"/>
                  </a:lnTo>
                  <a:lnTo>
                    <a:pt x="553326" y="4074020"/>
                  </a:lnTo>
                  <a:lnTo>
                    <a:pt x="514731" y="3997820"/>
                  </a:lnTo>
                  <a:lnTo>
                    <a:pt x="1159827" y="3997820"/>
                  </a:lnTo>
                  <a:lnTo>
                    <a:pt x="1200086" y="3959720"/>
                  </a:lnTo>
                  <a:lnTo>
                    <a:pt x="1227226" y="3921620"/>
                  </a:lnTo>
                  <a:lnTo>
                    <a:pt x="1237170" y="3870820"/>
                  </a:lnTo>
                  <a:lnTo>
                    <a:pt x="1227226" y="3820020"/>
                  </a:lnTo>
                  <a:lnTo>
                    <a:pt x="1200086" y="3781920"/>
                  </a:lnTo>
                  <a:lnTo>
                    <a:pt x="1159827" y="3756520"/>
                  </a:lnTo>
                  <a:lnTo>
                    <a:pt x="1110513" y="3743820"/>
                  </a:lnTo>
                  <a:lnTo>
                    <a:pt x="413499" y="3743820"/>
                  </a:lnTo>
                  <a:lnTo>
                    <a:pt x="401281" y="3705720"/>
                  </a:lnTo>
                  <a:lnTo>
                    <a:pt x="390766" y="3654920"/>
                  </a:lnTo>
                  <a:lnTo>
                    <a:pt x="382104" y="3604120"/>
                  </a:lnTo>
                  <a:lnTo>
                    <a:pt x="375450" y="3553320"/>
                  </a:lnTo>
                  <a:lnTo>
                    <a:pt x="370941" y="3502520"/>
                  </a:lnTo>
                  <a:lnTo>
                    <a:pt x="368731" y="3451720"/>
                  </a:lnTo>
                  <a:lnTo>
                    <a:pt x="1493862" y="3451720"/>
                  </a:lnTo>
                  <a:lnTo>
                    <a:pt x="1543177" y="3439020"/>
                  </a:lnTo>
                  <a:lnTo>
                    <a:pt x="1583436" y="3413620"/>
                  </a:lnTo>
                  <a:lnTo>
                    <a:pt x="1610575" y="3375520"/>
                  </a:lnTo>
                  <a:lnTo>
                    <a:pt x="1620520" y="3324720"/>
                  </a:lnTo>
                  <a:lnTo>
                    <a:pt x="1610575" y="3273920"/>
                  </a:lnTo>
                  <a:lnTo>
                    <a:pt x="1583436" y="3235820"/>
                  </a:lnTo>
                  <a:lnTo>
                    <a:pt x="1543177" y="3210420"/>
                  </a:lnTo>
                  <a:lnTo>
                    <a:pt x="1493862" y="3197720"/>
                  </a:lnTo>
                  <a:lnTo>
                    <a:pt x="393382" y="3197720"/>
                  </a:lnTo>
                  <a:lnTo>
                    <a:pt x="400278" y="3172320"/>
                  </a:lnTo>
                  <a:lnTo>
                    <a:pt x="408038" y="3134220"/>
                  </a:lnTo>
                  <a:lnTo>
                    <a:pt x="416763" y="3108820"/>
                  </a:lnTo>
                  <a:lnTo>
                    <a:pt x="426529" y="3083420"/>
                  </a:lnTo>
                  <a:lnTo>
                    <a:pt x="441350" y="3032620"/>
                  </a:lnTo>
                  <a:lnTo>
                    <a:pt x="459257" y="2994520"/>
                  </a:lnTo>
                  <a:lnTo>
                    <a:pt x="480085" y="2956420"/>
                  </a:lnTo>
                  <a:lnTo>
                    <a:pt x="503656" y="2918320"/>
                  </a:lnTo>
                  <a:lnTo>
                    <a:pt x="529818" y="2867520"/>
                  </a:lnTo>
                  <a:lnTo>
                    <a:pt x="1442580" y="2867520"/>
                  </a:lnTo>
                  <a:lnTo>
                    <a:pt x="1482839" y="2829420"/>
                  </a:lnTo>
                  <a:lnTo>
                    <a:pt x="1509979" y="2791320"/>
                  </a:lnTo>
                  <a:lnTo>
                    <a:pt x="1519923" y="2740520"/>
                  </a:lnTo>
                  <a:lnTo>
                    <a:pt x="1509979" y="2702420"/>
                  </a:lnTo>
                  <a:lnTo>
                    <a:pt x="1482839" y="2651620"/>
                  </a:lnTo>
                  <a:lnTo>
                    <a:pt x="1442580" y="2626220"/>
                  </a:lnTo>
                  <a:lnTo>
                    <a:pt x="1393266" y="2613520"/>
                  </a:lnTo>
                  <a:lnTo>
                    <a:pt x="723988" y="2613520"/>
                  </a:lnTo>
                  <a:lnTo>
                    <a:pt x="754214" y="2588120"/>
                  </a:lnTo>
                  <a:lnTo>
                    <a:pt x="785418" y="2550020"/>
                  </a:lnTo>
                  <a:lnTo>
                    <a:pt x="817549" y="2511920"/>
                  </a:lnTo>
                  <a:lnTo>
                    <a:pt x="850595" y="2486520"/>
                  </a:lnTo>
                  <a:lnTo>
                    <a:pt x="884466" y="2448420"/>
                  </a:lnTo>
                  <a:lnTo>
                    <a:pt x="919149" y="2410320"/>
                  </a:lnTo>
                  <a:lnTo>
                    <a:pt x="954570" y="2372220"/>
                  </a:lnTo>
                  <a:lnTo>
                    <a:pt x="990701" y="2334120"/>
                  </a:lnTo>
                  <a:lnTo>
                    <a:pt x="1027493" y="2308720"/>
                  </a:lnTo>
                  <a:lnTo>
                    <a:pt x="1064895" y="2270620"/>
                  </a:lnTo>
                  <a:lnTo>
                    <a:pt x="1102842" y="2232520"/>
                  </a:lnTo>
                  <a:lnTo>
                    <a:pt x="1141323" y="2194420"/>
                  </a:lnTo>
                  <a:lnTo>
                    <a:pt x="1180261" y="2156320"/>
                  </a:lnTo>
                  <a:lnTo>
                    <a:pt x="1259370" y="2080120"/>
                  </a:lnTo>
                  <a:lnTo>
                    <a:pt x="1339773" y="2003920"/>
                  </a:lnTo>
                  <a:lnTo>
                    <a:pt x="1380350" y="1978520"/>
                  </a:lnTo>
                  <a:lnTo>
                    <a:pt x="1460766" y="1902320"/>
                  </a:lnTo>
                  <a:lnTo>
                    <a:pt x="1737309" y="1635620"/>
                  </a:lnTo>
                  <a:lnTo>
                    <a:pt x="1776310" y="1597520"/>
                  </a:lnTo>
                  <a:lnTo>
                    <a:pt x="1815109" y="1572120"/>
                  </a:lnTo>
                  <a:lnTo>
                    <a:pt x="1891931" y="1495920"/>
                  </a:lnTo>
                  <a:lnTo>
                    <a:pt x="1967534" y="1419720"/>
                  </a:lnTo>
                  <a:lnTo>
                    <a:pt x="2004809" y="1381620"/>
                  </a:lnTo>
                  <a:lnTo>
                    <a:pt x="2041690" y="1343520"/>
                  </a:lnTo>
                  <a:lnTo>
                    <a:pt x="2078139" y="1305420"/>
                  </a:lnTo>
                  <a:lnTo>
                    <a:pt x="2114143" y="1267320"/>
                  </a:lnTo>
                  <a:lnTo>
                    <a:pt x="2149665" y="1229220"/>
                  </a:lnTo>
                  <a:lnTo>
                    <a:pt x="2184679" y="1191120"/>
                  </a:lnTo>
                  <a:lnTo>
                    <a:pt x="2219147" y="1153020"/>
                  </a:lnTo>
                  <a:lnTo>
                    <a:pt x="2253030" y="1114920"/>
                  </a:lnTo>
                  <a:lnTo>
                    <a:pt x="2286330" y="1076820"/>
                  </a:lnTo>
                  <a:lnTo>
                    <a:pt x="2318982" y="1038720"/>
                  </a:lnTo>
                  <a:lnTo>
                    <a:pt x="2350986" y="1000620"/>
                  </a:lnTo>
                  <a:lnTo>
                    <a:pt x="2382291" y="962520"/>
                  </a:lnTo>
                  <a:lnTo>
                    <a:pt x="2412873" y="924420"/>
                  </a:lnTo>
                  <a:lnTo>
                    <a:pt x="2442705" y="886320"/>
                  </a:lnTo>
                  <a:lnTo>
                    <a:pt x="2471763" y="848220"/>
                  </a:lnTo>
                  <a:lnTo>
                    <a:pt x="2499995" y="797420"/>
                  </a:lnTo>
                  <a:lnTo>
                    <a:pt x="2527401" y="759320"/>
                  </a:lnTo>
                  <a:lnTo>
                    <a:pt x="2553932" y="721220"/>
                  </a:lnTo>
                  <a:lnTo>
                    <a:pt x="2579560" y="683120"/>
                  </a:lnTo>
                  <a:lnTo>
                    <a:pt x="2604262" y="645020"/>
                  </a:lnTo>
                  <a:lnTo>
                    <a:pt x="2627998" y="606920"/>
                  </a:lnTo>
                  <a:lnTo>
                    <a:pt x="2650744" y="568820"/>
                  </a:lnTo>
                  <a:lnTo>
                    <a:pt x="2672473" y="518020"/>
                  </a:lnTo>
                  <a:lnTo>
                    <a:pt x="2693162" y="479920"/>
                  </a:lnTo>
                  <a:lnTo>
                    <a:pt x="2712758" y="441820"/>
                  </a:lnTo>
                  <a:lnTo>
                    <a:pt x="2731249" y="403720"/>
                  </a:lnTo>
                  <a:lnTo>
                    <a:pt x="2748610" y="365620"/>
                  </a:lnTo>
                  <a:lnTo>
                    <a:pt x="2764790" y="314820"/>
                  </a:lnTo>
                  <a:lnTo>
                    <a:pt x="2779776" y="276720"/>
                  </a:lnTo>
                  <a:lnTo>
                    <a:pt x="2793530" y="238620"/>
                  </a:lnTo>
                  <a:lnTo>
                    <a:pt x="2806039" y="187820"/>
                  </a:lnTo>
                  <a:lnTo>
                    <a:pt x="2817241" y="149720"/>
                  </a:lnTo>
                  <a:lnTo>
                    <a:pt x="2827134" y="111620"/>
                  </a:lnTo>
                  <a:lnTo>
                    <a:pt x="2835681" y="73520"/>
                  </a:lnTo>
                  <a:lnTo>
                    <a:pt x="2842857" y="22720"/>
                  </a:lnTo>
                  <a:lnTo>
                    <a:pt x="2845346" y="10020"/>
                  </a:lnTo>
                  <a:close/>
                </a:path>
                <a:path w="3693795" h="4721860">
                  <a:moveTo>
                    <a:pt x="3506774" y="1344333"/>
                  </a:moveTo>
                  <a:lnTo>
                    <a:pt x="3503396" y="1297622"/>
                  </a:lnTo>
                  <a:lnTo>
                    <a:pt x="3493605" y="1253045"/>
                  </a:lnTo>
                  <a:lnTo>
                    <a:pt x="3477857" y="1211084"/>
                  </a:lnTo>
                  <a:lnTo>
                    <a:pt x="3456660" y="1172222"/>
                  </a:lnTo>
                  <a:lnTo>
                    <a:pt x="3430473" y="1136954"/>
                  </a:lnTo>
                  <a:lnTo>
                    <a:pt x="3399790" y="1105776"/>
                  </a:lnTo>
                  <a:lnTo>
                    <a:pt x="3365093" y="1079169"/>
                  </a:lnTo>
                  <a:lnTo>
                    <a:pt x="3326854" y="1057630"/>
                  </a:lnTo>
                  <a:lnTo>
                    <a:pt x="3285566" y="1041628"/>
                  </a:lnTo>
                  <a:lnTo>
                    <a:pt x="3241700" y="1031671"/>
                  </a:lnTo>
                  <a:lnTo>
                    <a:pt x="3195739" y="1028242"/>
                  </a:lnTo>
                  <a:lnTo>
                    <a:pt x="3149777" y="1031671"/>
                  </a:lnTo>
                  <a:lnTo>
                    <a:pt x="3105899" y="1041628"/>
                  </a:lnTo>
                  <a:lnTo>
                    <a:pt x="3064611" y="1057630"/>
                  </a:lnTo>
                  <a:lnTo>
                    <a:pt x="3026372" y="1079169"/>
                  </a:lnTo>
                  <a:lnTo>
                    <a:pt x="2991675" y="1105776"/>
                  </a:lnTo>
                  <a:lnTo>
                    <a:pt x="2960992" y="1136954"/>
                  </a:lnTo>
                  <a:lnTo>
                    <a:pt x="2934805" y="1172222"/>
                  </a:lnTo>
                  <a:lnTo>
                    <a:pt x="2913608" y="1211084"/>
                  </a:lnTo>
                  <a:lnTo>
                    <a:pt x="2897873" y="1253045"/>
                  </a:lnTo>
                  <a:lnTo>
                    <a:pt x="2888069" y="1297622"/>
                  </a:lnTo>
                  <a:lnTo>
                    <a:pt x="2884703" y="1344333"/>
                  </a:lnTo>
                  <a:lnTo>
                    <a:pt x="2888069" y="1391043"/>
                  </a:lnTo>
                  <a:lnTo>
                    <a:pt x="2897873" y="1435633"/>
                  </a:lnTo>
                  <a:lnTo>
                    <a:pt x="2913608" y="1477594"/>
                  </a:lnTo>
                  <a:lnTo>
                    <a:pt x="2934805" y="1516456"/>
                  </a:lnTo>
                  <a:lnTo>
                    <a:pt x="2960992" y="1551711"/>
                  </a:lnTo>
                  <a:lnTo>
                    <a:pt x="2991675" y="1582902"/>
                  </a:lnTo>
                  <a:lnTo>
                    <a:pt x="3026372" y="1609509"/>
                  </a:lnTo>
                  <a:lnTo>
                    <a:pt x="3064611" y="1631048"/>
                  </a:lnTo>
                  <a:lnTo>
                    <a:pt x="3105899" y="1647050"/>
                  </a:lnTo>
                  <a:lnTo>
                    <a:pt x="3149777" y="1657007"/>
                  </a:lnTo>
                  <a:lnTo>
                    <a:pt x="3195739" y="1660423"/>
                  </a:lnTo>
                  <a:lnTo>
                    <a:pt x="3241700" y="1657007"/>
                  </a:lnTo>
                  <a:lnTo>
                    <a:pt x="3285566" y="1647050"/>
                  </a:lnTo>
                  <a:lnTo>
                    <a:pt x="3326854" y="1631048"/>
                  </a:lnTo>
                  <a:lnTo>
                    <a:pt x="3365093" y="1609509"/>
                  </a:lnTo>
                  <a:lnTo>
                    <a:pt x="3399790" y="1582902"/>
                  </a:lnTo>
                  <a:lnTo>
                    <a:pt x="3430473" y="1551711"/>
                  </a:lnTo>
                  <a:lnTo>
                    <a:pt x="3456660" y="1516456"/>
                  </a:lnTo>
                  <a:lnTo>
                    <a:pt x="3477857" y="1477594"/>
                  </a:lnTo>
                  <a:lnTo>
                    <a:pt x="3493605" y="1435633"/>
                  </a:lnTo>
                  <a:lnTo>
                    <a:pt x="3503396" y="1391043"/>
                  </a:lnTo>
                  <a:lnTo>
                    <a:pt x="3506774" y="1344333"/>
                  </a:lnTo>
                  <a:close/>
                </a:path>
                <a:path w="3693795" h="4721860">
                  <a:moveTo>
                    <a:pt x="3508527" y="2550566"/>
                  </a:moveTo>
                  <a:lnTo>
                    <a:pt x="3505873" y="2503855"/>
                  </a:lnTo>
                  <a:lnTo>
                    <a:pt x="3498113" y="2458732"/>
                  </a:lnTo>
                  <a:lnTo>
                    <a:pt x="3485540" y="2415476"/>
                  </a:lnTo>
                  <a:lnTo>
                    <a:pt x="3468459" y="2374417"/>
                  </a:lnTo>
                  <a:lnTo>
                    <a:pt x="3447161" y="2335834"/>
                  </a:lnTo>
                  <a:lnTo>
                    <a:pt x="3421938" y="2300046"/>
                  </a:lnTo>
                  <a:lnTo>
                    <a:pt x="3393084" y="2267331"/>
                  </a:lnTo>
                  <a:lnTo>
                    <a:pt x="3360890" y="2238006"/>
                  </a:lnTo>
                  <a:lnTo>
                    <a:pt x="3325672" y="2212378"/>
                  </a:lnTo>
                  <a:lnTo>
                    <a:pt x="3287712" y="2190724"/>
                  </a:lnTo>
                  <a:lnTo>
                    <a:pt x="3247301" y="2173363"/>
                  </a:lnTo>
                  <a:lnTo>
                    <a:pt x="3204756" y="2160587"/>
                  </a:lnTo>
                  <a:lnTo>
                    <a:pt x="3160344" y="2152713"/>
                  </a:lnTo>
                  <a:lnTo>
                    <a:pt x="3114383" y="2150008"/>
                  </a:lnTo>
                  <a:lnTo>
                    <a:pt x="3068409" y="2152713"/>
                  </a:lnTo>
                  <a:lnTo>
                    <a:pt x="3024009" y="2160587"/>
                  </a:lnTo>
                  <a:lnTo>
                    <a:pt x="2981452" y="2173363"/>
                  </a:lnTo>
                  <a:lnTo>
                    <a:pt x="2941040" y="2190724"/>
                  </a:lnTo>
                  <a:lnTo>
                    <a:pt x="2903080" y="2212378"/>
                  </a:lnTo>
                  <a:lnTo>
                    <a:pt x="2867863" y="2238006"/>
                  </a:lnTo>
                  <a:lnTo>
                    <a:pt x="2835681" y="2267331"/>
                  </a:lnTo>
                  <a:lnTo>
                    <a:pt x="2806827" y="2300046"/>
                  </a:lnTo>
                  <a:lnTo>
                    <a:pt x="2781604" y="2335834"/>
                  </a:lnTo>
                  <a:lnTo>
                    <a:pt x="2760294" y="2374417"/>
                  </a:lnTo>
                  <a:lnTo>
                    <a:pt x="2743212" y="2415476"/>
                  </a:lnTo>
                  <a:lnTo>
                    <a:pt x="2730639" y="2458732"/>
                  </a:lnTo>
                  <a:lnTo>
                    <a:pt x="2722880" y="2503855"/>
                  </a:lnTo>
                  <a:lnTo>
                    <a:pt x="2720238" y="2550566"/>
                  </a:lnTo>
                  <a:lnTo>
                    <a:pt x="2722880" y="2597289"/>
                  </a:lnTo>
                  <a:lnTo>
                    <a:pt x="2730639" y="2642412"/>
                  </a:lnTo>
                  <a:lnTo>
                    <a:pt x="2743212" y="2685669"/>
                  </a:lnTo>
                  <a:lnTo>
                    <a:pt x="2760294" y="2726728"/>
                  </a:lnTo>
                  <a:lnTo>
                    <a:pt x="2781604" y="2765310"/>
                  </a:lnTo>
                  <a:lnTo>
                    <a:pt x="2806827" y="2801099"/>
                  </a:lnTo>
                  <a:lnTo>
                    <a:pt x="2835681" y="2833814"/>
                  </a:lnTo>
                  <a:lnTo>
                    <a:pt x="2867863" y="2863126"/>
                  </a:lnTo>
                  <a:lnTo>
                    <a:pt x="2903080" y="2888767"/>
                  </a:lnTo>
                  <a:lnTo>
                    <a:pt x="2941040" y="2910421"/>
                  </a:lnTo>
                  <a:lnTo>
                    <a:pt x="2981452" y="2927781"/>
                  </a:lnTo>
                  <a:lnTo>
                    <a:pt x="3024009" y="2940545"/>
                  </a:lnTo>
                  <a:lnTo>
                    <a:pt x="3068409" y="2948432"/>
                  </a:lnTo>
                  <a:lnTo>
                    <a:pt x="3114383" y="2951124"/>
                  </a:lnTo>
                  <a:lnTo>
                    <a:pt x="3160344" y="2948432"/>
                  </a:lnTo>
                  <a:lnTo>
                    <a:pt x="3204756" y="2940545"/>
                  </a:lnTo>
                  <a:lnTo>
                    <a:pt x="3247301" y="2927781"/>
                  </a:lnTo>
                  <a:lnTo>
                    <a:pt x="3287712" y="2910421"/>
                  </a:lnTo>
                  <a:lnTo>
                    <a:pt x="3325672" y="2888767"/>
                  </a:lnTo>
                  <a:lnTo>
                    <a:pt x="3360890" y="2863126"/>
                  </a:lnTo>
                  <a:lnTo>
                    <a:pt x="3393084" y="2833814"/>
                  </a:lnTo>
                  <a:lnTo>
                    <a:pt x="3421938" y="2801099"/>
                  </a:lnTo>
                  <a:lnTo>
                    <a:pt x="3447161" y="2765310"/>
                  </a:lnTo>
                  <a:lnTo>
                    <a:pt x="3468459" y="2726728"/>
                  </a:lnTo>
                  <a:lnTo>
                    <a:pt x="3485540" y="2685669"/>
                  </a:lnTo>
                  <a:lnTo>
                    <a:pt x="3498113" y="2642412"/>
                  </a:lnTo>
                  <a:lnTo>
                    <a:pt x="3505873" y="2597289"/>
                  </a:lnTo>
                  <a:lnTo>
                    <a:pt x="3508527" y="2550566"/>
                  </a:lnTo>
                  <a:close/>
                </a:path>
                <a:path w="3693795" h="4721860">
                  <a:moveTo>
                    <a:pt x="3693350" y="317944"/>
                  </a:moveTo>
                  <a:lnTo>
                    <a:pt x="3689007" y="268770"/>
                  </a:lnTo>
                  <a:lnTo>
                    <a:pt x="3676510" y="222491"/>
                  </a:lnTo>
                  <a:lnTo>
                    <a:pt x="3656596" y="179870"/>
                  </a:lnTo>
                  <a:lnTo>
                    <a:pt x="3630041" y="141693"/>
                  </a:lnTo>
                  <a:lnTo>
                    <a:pt x="3597592" y="108724"/>
                  </a:lnTo>
                  <a:lnTo>
                    <a:pt x="3560026" y="81737"/>
                  </a:lnTo>
                  <a:lnTo>
                    <a:pt x="3518090" y="61506"/>
                  </a:lnTo>
                  <a:lnTo>
                    <a:pt x="3472548" y="48793"/>
                  </a:lnTo>
                  <a:lnTo>
                    <a:pt x="3424161" y="44386"/>
                  </a:lnTo>
                  <a:lnTo>
                    <a:pt x="3375774" y="48793"/>
                  </a:lnTo>
                  <a:lnTo>
                    <a:pt x="3330232" y="61506"/>
                  </a:lnTo>
                  <a:lnTo>
                    <a:pt x="3288296" y="81737"/>
                  </a:lnTo>
                  <a:lnTo>
                    <a:pt x="3250730" y="108724"/>
                  </a:lnTo>
                  <a:lnTo>
                    <a:pt x="3218281" y="141693"/>
                  </a:lnTo>
                  <a:lnTo>
                    <a:pt x="3191726" y="179870"/>
                  </a:lnTo>
                  <a:lnTo>
                    <a:pt x="3171812" y="222491"/>
                  </a:lnTo>
                  <a:lnTo>
                    <a:pt x="3159315" y="268770"/>
                  </a:lnTo>
                  <a:lnTo>
                    <a:pt x="3154972" y="317944"/>
                  </a:lnTo>
                  <a:lnTo>
                    <a:pt x="3159315" y="367118"/>
                  </a:lnTo>
                  <a:lnTo>
                    <a:pt x="3171812" y="413397"/>
                  </a:lnTo>
                  <a:lnTo>
                    <a:pt x="3191726" y="456018"/>
                  </a:lnTo>
                  <a:lnTo>
                    <a:pt x="3218281" y="494207"/>
                  </a:lnTo>
                  <a:lnTo>
                    <a:pt x="3250730" y="527177"/>
                  </a:lnTo>
                  <a:lnTo>
                    <a:pt x="3288296" y="554164"/>
                  </a:lnTo>
                  <a:lnTo>
                    <a:pt x="3330232" y="574395"/>
                  </a:lnTo>
                  <a:lnTo>
                    <a:pt x="3375774" y="587108"/>
                  </a:lnTo>
                  <a:lnTo>
                    <a:pt x="3424161" y="591515"/>
                  </a:lnTo>
                  <a:lnTo>
                    <a:pt x="3472548" y="587108"/>
                  </a:lnTo>
                  <a:lnTo>
                    <a:pt x="3518090" y="574395"/>
                  </a:lnTo>
                  <a:lnTo>
                    <a:pt x="3560026" y="554164"/>
                  </a:lnTo>
                  <a:lnTo>
                    <a:pt x="3597592" y="527177"/>
                  </a:lnTo>
                  <a:lnTo>
                    <a:pt x="3630041" y="494207"/>
                  </a:lnTo>
                  <a:lnTo>
                    <a:pt x="3656596" y="456018"/>
                  </a:lnTo>
                  <a:lnTo>
                    <a:pt x="3676510" y="413397"/>
                  </a:lnTo>
                  <a:lnTo>
                    <a:pt x="3689007" y="367118"/>
                  </a:lnTo>
                  <a:lnTo>
                    <a:pt x="3693350" y="317944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>
              <a:extLst>
                <a:ext uri="{FF2B5EF4-FFF2-40B4-BE49-F238E27FC236}">
                  <a16:creationId xmlns:a16="http://schemas.microsoft.com/office/drawing/2014/main" id="{5D0CF7AA-5EBE-7C05-F897-4819BD7C555D}"/>
                </a:ext>
              </a:extLst>
            </p:cNvPr>
            <p:cNvSpPr/>
            <p:nvPr/>
          </p:nvSpPr>
          <p:spPr>
            <a:xfrm>
              <a:off x="3624663" y="653716"/>
              <a:ext cx="714591" cy="726107"/>
            </a:xfrm>
            <a:custGeom>
              <a:avLst/>
              <a:gdLst/>
              <a:ahLst/>
              <a:cxnLst/>
              <a:rect l="l" t="t" r="r" b="b"/>
              <a:pathLst>
                <a:path w="788035" h="800735">
                  <a:moveTo>
                    <a:pt x="393953" y="0"/>
                  </a:moveTo>
                  <a:lnTo>
                    <a:pt x="348010" y="2693"/>
                  </a:lnTo>
                  <a:lnTo>
                    <a:pt x="303623" y="10573"/>
                  </a:lnTo>
                  <a:lnTo>
                    <a:pt x="261088" y="23340"/>
                  </a:lnTo>
                  <a:lnTo>
                    <a:pt x="220702" y="40693"/>
                  </a:lnTo>
                  <a:lnTo>
                    <a:pt x="182759" y="62331"/>
                  </a:lnTo>
                  <a:lnTo>
                    <a:pt x="147555" y="87955"/>
                  </a:lnTo>
                  <a:lnTo>
                    <a:pt x="115385" y="117263"/>
                  </a:lnTo>
                  <a:lnTo>
                    <a:pt x="86546" y="149956"/>
                  </a:lnTo>
                  <a:lnTo>
                    <a:pt x="61333" y="185733"/>
                  </a:lnTo>
                  <a:lnTo>
                    <a:pt x="40041" y="224294"/>
                  </a:lnTo>
                  <a:lnTo>
                    <a:pt x="22966" y="265338"/>
                  </a:lnTo>
                  <a:lnTo>
                    <a:pt x="10404" y="308566"/>
                  </a:lnTo>
                  <a:lnTo>
                    <a:pt x="2650" y="353675"/>
                  </a:lnTo>
                  <a:lnTo>
                    <a:pt x="0" y="400367"/>
                  </a:lnTo>
                  <a:lnTo>
                    <a:pt x="2650" y="447056"/>
                  </a:lnTo>
                  <a:lnTo>
                    <a:pt x="10404" y="492164"/>
                  </a:lnTo>
                  <a:lnTo>
                    <a:pt x="22966" y="535389"/>
                  </a:lnTo>
                  <a:lnTo>
                    <a:pt x="40041" y="576432"/>
                  </a:lnTo>
                  <a:lnTo>
                    <a:pt x="61333" y="614991"/>
                  </a:lnTo>
                  <a:lnTo>
                    <a:pt x="86546" y="650767"/>
                  </a:lnTo>
                  <a:lnTo>
                    <a:pt x="115385" y="683460"/>
                  </a:lnTo>
                  <a:lnTo>
                    <a:pt x="147555" y="712767"/>
                  </a:lnTo>
                  <a:lnTo>
                    <a:pt x="182759" y="738391"/>
                  </a:lnTo>
                  <a:lnTo>
                    <a:pt x="220702" y="760029"/>
                  </a:lnTo>
                  <a:lnTo>
                    <a:pt x="261088" y="777381"/>
                  </a:lnTo>
                  <a:lnTo>
                    <a:pt x="303623" y="790148"/>
                  </a:lnTo>
                  <a:lnTo>
                    <a:pt x="348010" y="798028"/>
                  </a:lnTo>
                  <a:lnTo>
                    <a:pt x="393953" y="800722"/>
                  </a:lnTo>
                  <a:lnTo>
                    <a:pt x="439897" y="798028"/>
                  </a:lnTo>
                  <a:lnTo>
                    <a:pt x="484284" y="790148"/>
                  </a:lnTo>
                  <a:lnTo>
                    <a:pt x="526819" y="777381"/>
                  </a:lnTo>
                  <a:lnTo>
                    <a:pt x="567205" y="760029"/>
                  </a:lnTo>
                  <a:lnTo>
                    <a:pt x="605148" y="738391"/>
                  </a:lnTo>
                  <a:lnTo>
                    <a:pt x="640352" y="712767"/>
                  </a:lnTo>
                  <a:lnTo>
                    <a:pt x="672522" y="683460"/>
                  </a:lnTo>
                  <a:lnTo>
                    <a:pt x="701361" y="650767"/>
                  </a:lnTo>
                  <a:lnTo>
                    <a:pt x="726574" y="614991"/>
                  </a:lnTo>
                  <a:lnTo>
                    <a:pt x="747866" y="576432"/>
                  </a:lnTo>
                  <a:lnTo>
                    <a:pt x="764941" y="535389"/>
                  </a:lnTo>
                  <a:lnTo>
                    <a:pt x="777503" y="492164"/>
                  </a:lnTo>
                  <a:lnTo>
                    <a:pt x="785257" y="447056"/>
                  </a:lnTo>
                  <a:lnTo>
                    <a:pt x="787907" y="400367"/>
                  </a:lnTo>
                  <a:lnTo>
                    <a:pt x="785257" y="353675"/>
                  </a:lnTo>
                  <a:lnTo>
                    <a:pt x="777503" y="308566"/>
                  </a:lnTo>
                  <a:lnTo>
                    <a:pt x="764941" y="265338"/>
                  </a:lnTo>
                  <a:lnTo>
                    <a:pt x="747866" y="224294"/>
                  </a:lnTo>
                  <a:lnTo>
                    <a:pt x="726574" y="185733"/>
                  </a:lnTo>
                  <a:lnTo>
                    <a:pt x="701361" y="149956"/>
                  </a:lnTo>
                  <a:lnTo>
                    <a:pt x="672522" y="117263"/>
                  </a:lnTo>
                  <a:lnTo>
                    <a:pt x="640352" y="87955"/>
                  </a:lnTo>
                  <a:lnTo>
                    <a:pt x="605148" y="62331"/>
                  </a:lnTo>
                  <a:lnTo>
                    <a:pt x="567205" y="40693"/>
                  </a:lnTo>
                  <a:lnTo>
                    <a:pt x="526819" y="23340"/>
                  </a:lnTo>
                  <a:lnTo>
                    <a:pt x="484284" y="10573"/>
                  </a:lnTo>
                  <a:lnTo>
                    <a:pt x="439897" y="2693"/>
                  </a:lnTo>
                  <a:lnTo>
                    <a:pt x="393953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25DD953B-F14D-071F-E4DD-C54031B4394C}"/>
                </a:ext>
              </a:extLst>
            </p:cNvPr>
            <p:cNvSpPr/>
            <p:nvPr/>
          </p:nvSpPr>
          <p:spPr>
            <a:xfrm>
              <a:off x="9597" y="0"/>
              <a:ext cx="210750" cy="1356629"/>
            </a:xfrm>
            <a:custGeom>
              <a:avLst/>
              <a:gdLst/>
              <a:ahLst/>
              <a:cxnLst/>
              <a:rect l="l" t="t" r="r" b="b"/>
              <a:pathLst>
                <a:path w="232410" h="1496060">
                  <a:moveTo>
                    <a:pt x="105352" y="1242277"/>
                  </a:moveTo>
                  <a:lnTo>
                    <a:pt x="0" y="1242277"/>
                  </a:lnTo>
                  <a:lnTo>
                    <a:pt x="0" y="1495642"/>
                  </a:lnTo>
                  <a:lnTo>
                    <a:pt x="105352" y="1495642"/>
                  </a:lnTo>
                  <a:lnTo>
                    <a:pt x="154663" y="1485686"/>
                  </a:lnTo>
                  <a:lnTo>
                    <a:pt x="194930" y="1458537"/>
                  </a:lnTo>
                  <a:lnTo>
                    <a:pt x="222079" y="1418269"/>
                  </a:lnTo>
                  <a:lnTo>
                    <a:pt x="232035" y="1368959"/>
                  </a:lnTo>
                  <a:lnTo>
                    <a:pt x="222079" y="1319649"/>
                  </a:lnTo>
                  <a:lnTo>
                    <a:pt x="194930" y="1279381"/>
                  </a:lnTo>
                  <a:lnTo>
                    <a:pt x="154663" y="1252232"/>
                  </a:lnTo>
                  <a:lnTo>
                    <a:pt x="105352" y="1242277"/>
                  </a:lnTo>
                  <a:close/>
                </a:path>
                <a:path w="232410" h="1496060">
                  <a:moveTo>
                    <a:pt x="4730" y="660413"/>
                  </a:moveTo>
                  <a:lnTo>
                    <a:pt x="0" y="660413"/>
                  </a:lnTo>
                  <a:lnTo>
                    <a:pt x="0" y="913778"/>
                  </a:lnTo>
                  <a:lnTo>
                    <a:pt x="4730" y="913778"/>
                  </a:lnTo>
                  <a:lnTo>
                    <a:pt x="54035" y="903821"/>
                  </a:lnTo>
                  <a:lnTo>
                    <a:pt x="94303" y="876669"/>
                  </a:lnTo>
                  <a:lnTo>
                    <a:pt x="121456" y="836401"/>
                  </a:lnTo>
                  <a:lnTo>
                    <a:pt x="131413" y="787096"/>
                  </a:lnTo>
                  <a:lnTo>
                    <a:pt x="121456" y="737786"/>
                  </a:lnTo>
                  <a:lnTo>
                    <a:pt x="94303" y="697518"/>
                  </a:lnTo>
                  <a:lnTo>
                    <a:pt x="54035" y="670369"/>
                  </a:lnTo>
                  <a:lnTo>
                    <a:pt x="4730" y="660413"/>
                  </a:lnTo>
                  <a:close/>
                </a:path>
                <a:path w="232410" h="1496060">
                  <a:moveTo>
                    <a:pt x="6762" y="0"/>
                  </a:moveTo>
                  <a:lnTo>
                    <a:pt x="0" y="0"/>
                  </a:lnTo>
                  <a:lnTo>
                    <a:pt x="0" y="6232"/>
                  </a:lnTo>
                  <a:lnTo>
                    <a:pt x="6762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0789B18E-19FB-CD65-207B-43C48EBE5A69}"/>
                </a:ext>
              </a:extLst>
            </p:cNvPr>
            <p:cNvSpPr/>
            <p:nvPr/>
          </p:nvSpPr>
          <p:spPr>
            <a:xfrm>
              <a:off x="9598" y="1623705"/>
              <a:ext cx="399042" cy="229752"/>
            </a:xfrm>
            <a:custGeom>
              <a:avLst/>
              <a:gdLst/>
              <a:ahLst/>
              <a:cxnLst/>
              <a:rect l="l" t="t" r="r" b="b"/>
              <a:pathLst>
                <a:path w="440055" h="253364">
                  <a:moveTo>
                    <a:pt x="312827" y="0"/>
                  </a:moveTo>
                  <a:lnTo>
                    <a:pt x="0" y="0"/>
                  </a:lnTo>
                  <a:lnTo>
                    <a:pt x="0" y="253365"/>
                  </a:lnTo>
                  <a:lnTo>
                    <a:pt x="312827" y="253365"/>
                  </a:lnTo>
                  <a:lnTo>
                    <a:pt x="362132" y="243409"/>
                  </a:lnTo>
                  <a:lnTo>
                    <a:pt x="402400" y="216260"/>
                  </a:lnTo>
                  <a:lnTo>
                    <a:pt x="429552" y="175992"/>
                  </a:lnTo>
                  <a:lnTo>
                    <a:pt x="439510" y="126682"/>
                  </a:lnTo>
                  <a:lnTo>
                    <a:pt x="429552" y="77372"/>
                  </a:lnTo>
                  <a:lnTo>
                    <a:pt x="402400" y="37104"/>
                  </a:lnTo>
                  <a:lnTo>
                    <a:pt x="362132" y="9955"/>
                  </a:lnTo>
                  <a:lnTo>
                    <a:pt x="312827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E815F2B0-E8A3-E494-B8FD-FEAD7DDF456A}"/>
                </a:ext>
              </a:extLst>
            </p:cNvPr>
            <p:cNvSpPr/>
            <p:nvPr/>
          </p:nvSpPr>
          <p:spPr>
            <a:xfrm>
              <a:off x="304371" y="530626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19">
                  <a:moveTo>
                    <a:pt x="191198" y="0"/>
                  </a:moveTo>
                  <a:lnTo>
                    <a:pt x="147361" y="5131"/>
                  </a:lnTo>
                  <a:lnTo>
                    <a:pt x="107117" y="19747"/>
                  </a:lnTo>
                  <a:lnTo>
                    <a:pt x="71617" y="42682"/>
                  </a:lnTo>
                  <a:lnTo>
                    <a:pt x="42006" y="72771"/>
                  </a:lnTo>
                  <a:lnTo>
                    <a:pt x="19435" y="108846"/>
                  </a:lnTo>
                  <a:lnTo>
                    <a:pt x="5050" y="149744"/>
                  </a:lnTo>
                  <a:lnTo>
                    <a:pt x="0" y="194297"/>
                  </a:lnTo>
                  <a:lnTo>
                    <a:pt x="5050" y="238850"/>
                  </a:lnTo>
                  <a:lnTo>
                    <a:pt x="19435" y="279750"/>
                  </a:lnTo>
                  <a:lnTo>
                    <a:pt x="42006" y="315828"/>
                  </a:lnTo>
                  <a:lnTo>
                    <a:pt x="71617" y="345919"/>
                  </a:lnTo>
                  <a:lnTo>
                    <a:pt x="107117" y="368857"/>
                  </a:lnTo>
                  <a:lnTo>
                    <a:pt x="147361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4"/>
                  </a:lnTo>
                  <a:lnTo>
                    <a:pt x="362964" y="108846"/>
                  </a:lnTo>
                  <a:lnTo>
                    <a:pt x="340394" y="72771"/>
                  </a:lnTo>
                  <a:lnTo>
                    <a:pt x="310785" y="42682"/>
                  </a:lnTo>
                  <a:lnTo>
                    <a:pt x="275284" y="19747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C1CF5157-7353-D424-0299-651CBB82B636}"/>
                </a:ext>
              </a:extLst>
            </p:cNvPr>
            <p:cNvSpPr/>
            <p:nvPr/>
          </p:nvSpPr>
          <p:spPr>
            <a:xfrm>
              <a:off x="508301" y="1080912"/>
              <a:ext cx="292516" cy="297122"/>
            </a:xfrm>
            <a:custGeom>
              <a:avLst/>
              <a:gdLst/>
              <a:ahLst/>
              <a:cxnLst/>
              <a:rect l="l" t="t" r="r" b="b"/>
              <a:pathLst>
                <a:path w="322580" h="327659">
                  <a:moveTo>
                    <a:pt x="161213" y="0"/>
                  </a:moveTo>
                  <a:lnTo>
                    <a:pt x="118355" y="5851"/>
                  </a:lnTo>
                  <a:lnTo>
                    <a:pt x="79844" y="22366"/>
                  </a:lnTo>
                  <a:lnTo>
                    <a:pt x="47217" y="47982"/>
                  </a:lnTo>
                  <a:lnTo>
                    <a:pt x="22009" y="81138"/>
                  </a:lnTo>
                  <a:lnTo>
                    <a:pt x="5758" y="120275"/>
                  </a:lnTo>
                  <a:lnTo>
                    <a:pt x="0" y="163830"/>
                  </a:lnTo>
                  <a:lnTo>
                    <a:pt x="5758" y="207380"/>
                  </a:lnTo>
                  <a:lnTo>
                    <a:pt x="22009" y="246515"/>
                  </a:lnTo>
                  <a:lnTo>
                    <a:pt x="47217" y="279673"/>
                  </a:lnTo>
                  <a:lnTo>
                    <a:pt x="79844" y="305291"/>
                  </a:lnTo>
                  <a:lnTo>
                    <a:pt x="118355" y="321807"/>
                  </a:lnTo>
                  <a:lnTo>
                    <a:pt x="161213" y="327660"/>
                  </a:lnTo>
                  <a:lnTo>
                    <a:pt x="204072" y="321807"/>
                  </a:lnTo>
                  <a:lnTo>
                    <a:pt x="242583" y="305291"/>
                  </a:lnTo>
                  <a:lnTo>
                    <a:pt x="275210" y="279673"/>
                  </a:lnTo>
                  <a:lnTo>
                    <a:pt x="300418" y="246515"/>
                  </a:lnTo>
                  <a:lnTo>
                    <a:pt x="316669" y="207380"/>
                  </a:lnTo>
                  <a:lnTo>
                    <a:pt x="322427" y="163830"/>
                  </a:lnTo>
                  <a:lnTo>
                    <a:pt x="316669" y="120275"/>
                  </a:lnTo>
                  <a:lnTo>
                    <a:pt x="300418" y="81138"/>
                  </a:lnTo>
                  <a:lnTo>
                    <a:pt x="275210" y="47982"/>
                  </a:lnTo>
                  <a:lnTo>
                    <a:pt x="242583" y="22366"/>
                  </a:lnTo>
                  <a:lnTo>
                    <a:pt x="204072" y="5851"/>
                  </a:lnTo>
                  <a:lnTo>
                    <a:pt x="161213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049107" y="476581"/>
            <a:ext cx="9282430" cy="752109"/>
          </a:xfrm>
        </p:spPr>
        <p:txBody>
          <a:bodyPr anchor="b">
            <a:normAutofit/>
          </a:bodyPr>
          <a:lstStyle>
            <a:lvl1pPr algn="r">
              <a:defRPr sz="48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5" name="object 10">
            <a:extLst>
              <a:ext uri="{FF2B5EF4-FFF2-40B4-BE49-F238E27FC236}">
                <a16:creationId xmlns:a16="http://schemas.microsoft.com/office/drawing/2014/main" id="{A0C72F04-F457-6AB5-12E0-833F45AA60AC}"/>
              </a:ext>
            </a:extLst>
          </p:cNvPr>
          <p:cNvSpPr/>
          <p:nvPr userDrawn="1"/>
        </p:nvSpPr>
        <p:spPr>
          <a:xfrm rot="10800000">
            <a:off x="11929385" y="3918569"/>
            <a:ext cx="767112" cy="726458"/>
          </a:xfrm>
          <a:custGeom>
            <a:avLst/>
            <a:gdLst/>
            <a:ahLst/>
            <a:cxnLst/>
            <a:rect l="l" t="t" r="r" b="b"/>
            <a:pathLst>
              <a:path w="788035" h="800735">
                <a:moveTo>
                  <a:pt x="393953" y="0"/>
                </a:moveTo>
                <a:lnTo>
                  <a:pt x="348010" y="2693"/>
                </a:lnTo>
                <a:lnTo>
                  <a:pt x="303623" y="10573"/>
                </a:lnTo>
                <a:lnTo>
                  <a:pt x="261088" y="23340"/>
                </a:lnTo>
                <a:lnTo>
                  <a:pt x="220702" y="40693"/>
                </a:lnTo>
                <a:lnTo>
                  <a:pt x="182759" y="62331"/>
                </a:lnTo>
                <a:lnTo>
                  <a:pt x="147555" y="87955"/>
                </a:lnTo>
                <a:lnTo>
                  <a:pt x="115385" y="117263"/>
                </a:lnTo>
                <a:lnTo>
                  <a:pt x="86546" y="149956"/>
                </a:lnTo>
                <a:lnTo>
                  <a:pt x="61333" y="185733"/>
                </a:lnTo>
                <a:lnTo>
                  <a:pt x="40041" y="224294"/>
                </a:lnTo>
                <a:lnTo>
                  <a:pt x="22966" y="265338"/>
                </a:lnTo>
                <a:lnTo>
                  <a:pt x="10404" y="308566"/>
                </a:lnTo>
                <a:lnTo>
                  <a:pt x="2650" y="353675"/>
                </a:lnTo>
                <a:lnTo>
                  <a:pt x="0" y="400367"/>
                </a:lnTo>
                <a:lnTo>
                  <a:pt x="2650" y="447056"/>
                </a:lnTo>
                <a:lnTo>
                  <a:pt x="10404" y="492164"/>
                </a:lnTo>
                <a:lnTo>
                  <a:pt x="22966" y="535389"/>
                </a:lnTo>
                <a:lnTo>
                  <a:pt x="40041" y="576432"/>
                </a:lnTo>
                <a:lnTo>
                  <a:pt x="61333" y="614991"/>
                </a:lnTo>
                <a:lnTo>
                  <a:pt x="86546" y="650767"/>
                </a:lnTo>
                <a:lnTo>
                  <a:pt x="115385" y="683460"/>
                </a:lnTo>
                <a:lnTo>
                  <a:pt x="147555" y="712767"/>
                </a:lnTo>
                <a:lnTo>
                  <a:pt x="182759" y="738391"/>
                </a:lnTo>
                <a:lnTo>
                  <a:pt x="220702" y="760029"/>
                </a:lnTo>
                <a:lnTo>
                  <a:pt x="261088" y="777381"/>
                </a:lnTo>
                <a:lnTo>
                  <a:pt x="303623" y="790148"/>
                </a:lnTo>
                <a:lnTo>
                  <a:pt x="348010" y="798028"/>
                </a:lnTo>
                <a:lnTo>
                  <a:pt x="393953" y="800722"/>
                </a:lnTo>
                <a:lnTo>
                  <a:pt x="439897" y="798028"/>
                </a:lnTo>
                <a:lnTo>
                  <a:pt x="484284" y="790148"/>
                </a:lnTo>
                <a:lnTo>
                  <a:pt x="526819" y="777381"/>
                </a:lnTo>
                <a:lnTo>
                  <a:pt x="567205" y="760029"/>
                </a:lnTo>
                <a:lnTo>
                  <a:pt x="605148" y="738391"/>
                </a:lnTo>
                <a:lnTo>
                  <a:pt x="640352" y="712767"/>
                </a:lnTo>
                <a:lnTo>
                  <a:pt x="672522" y="683460"/>
                </a:lnTo>
                <a:lnTo>
                  <a:pt x="701361" y="650767"/>
                </a:lnTo>
                <a:lnTo>
                  <a:pt x="726574" y="614991"/>
                </a:lnTo>
                <a:lnTo>
                  <a:pt x="747866" y="576432"/>
                </a:lnTo>
                <a:lnTo>
                  <a:pt x="764941" y="535389"/>
                </a:lnTo>
                <a:lnTo>
                  <a:pt x="777503" y="492164"/>
                </a:lnTo>
                <a:lnTo>
                  <a:pt x="785257" y="447056"/>
                </a:lnTo>
                <a:lnTo>
                  <a:pt x="787907" y="400367"/>
                </a:lnTo>
                <a:lnTo>
                  <a:pt x="785257" y="353675"/>
                </a:lnTo>
                <a:lnTo>
                  <a:pt x="777503" y="308566"/>
                </a:lnTo>
                <a:lnTo>
                  <a:pt x="764941" y="265338"/>
                </a:lnTo>
                <a:lnTo>
                  <a:pt x="747866" y="224294"/>
                </a:lnTo>
                <a:lnTo>
                  <a:pt x="726574" y="185733"/>
                </a:lnTo>
                <a:lnTo>
                  <a:pt x="701361" y="149956"/>
                </a:lnTo>
                <a:lnTo>
                  <a:pt x="672522" y="117263"/>
                </a:lnTo>
                <a:lnTo>
                  <a:pt x="640352" y="87955"/>
                </a:lnTo>
                <a:lnTo>
                  <a:pt x="605148" y="62331"/>
                </a:lnTo>
                <a:lnTo>
                  <a:pt x="567205" y="40693"/>
                </a:lnTo>
                <a:lnTo>
                  <a:pt x="526819" y="23340"/>
                </a:lnTo>
                <a:lnTo>
                  <a:pt x="484284" y="10573"/>
                </a:lnTo>
                <a:lnTo>
                  <a:pt x="439897" y="2693"/>
                </a:lnTo>
                <a:lnTo>
                  <a:pt x="39395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12">
            <a:extLst>
              <a:ext uri="{FF2B5EF4-FFF2-40B4-BE49-F238E27FC236}">
                <a16:creationId xmlns:a16="http://schemas.microsoft.com/office/drawing/2014/main" id="{BED36AC7-786D-8EDD-B9F6-31DD1F862F88}"/>
              </a:ext>
            </a:extLst>
          </p:cNvPr>
          <p:cNvSpPr/>
          <p:nvPr userDrawn="1"/>
        </p:nvSpPr>
        <p:spPr>
          <a:xfrm rot="10800000">
            <a:off x="11955863" y="5877240"/>
            <a:ext cx="638498" cy="334035"/>
          </a:xfrm>
          <a:custGeom>
            <a:avLst/>
            <a:gdLst/>
            <a:ahLst/>
            <a:cxnLst/>
            <a:rect l="l" t="t" r="r" b="b"/>
            <a:pathLst>
              <a:path w="440055" h="253364">
                <a:moveTo>
                  <a:pt x="312827" y="0"/>
                </a:moveTo>
                <a:lnTo>
                  <a:pt x="0" y="0"/>
                </a:lnTo>
                <a:lnTo>
                  <a:pt x="0" y="253365"/>
                </a:lnTo>
                <a:lnTo>
                  <a:pt x="312827" y="253365"/>
                </a:lnTo>
                <a:lnTo>
                  <a:pt x="362132" y="243409"/>
                </a:lnTo>
                <a:lnTo>
                  <a:pt x="402400" y="216260"/>
                </a:lnTo>
                <a:lnTo>
                  <a:pt x="429552" y="175992"/>
                </a:lnTo>
                <a:lnTo>
                  <a:pt x="439510" y="126682"/>
                </a:lnTo>
                <a:lnTo>
                  <a:pt x="429552" y="77372"/>
                </a:lnTo>
                <a:lnTo>
                  <a:pt x="402400" y="37104"/>
                </a:lnTo>
                <a:lnTo>
                  <a:pt x="362132" y="9955"/>
                </a:lnTo>
                <a:lnTo>
                  <a:pt x="312827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704156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4122" y="593213"/>
            <a:ext cx="8904068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accent1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4" name="object 41">
            <a:extLst>
              <a:ext uri="{FF2B5EF4-FFF2-40B4-BE49-F238E27FC236}">
                <a16:creationId xmlns:a16="http://schemas.microsoft.com/office/drawing/2014/main" id="{FBC006D3-0A54-93B6-4CCC-16B74A7470A7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5" name="object 42">
              <a:extLst>
                <a:ext uri="{FF2B5EF4-FFF2-40B4-BE49-F238E27FC236}">
                  <a16:creationId xmlns:a16="http://schemas.microsoft.com/office/drawing/2014/main" id="{3DC9DC2C-26DF-CC61-5EF9-0D16A177B12B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6" name="object 43">
              <a:extLst>
                <a:ext uri="{FF2B5EF4-FFF2-40B4-BE49-F238E27FC236}">
                  <a16:creationId xmlns:a16="http://schemas.microsoft.com/office/drawing/2014/main" id="{DE522677-B305-5913-4089-A926AF11D49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7" name="object 44">
              <a:extLst>
                <a:ext uri="{FF2B5EF4-FFF2-40B4-BE49-F238E27FC236}">
                  <a16:creationId xmlns:a16="http://schemas.microsoft.com/office/drawing/2014/main" id="{54E2F8A9-7845-E09E-8B79-723848C5AA1D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FBF597C-A0FC-EE2B-C75A-6AFEBEC69750}"/>
              </a:ext>
            </a:extLst>
          </p:cNvPr>
          <p:cNvGrpSpPr/>
          <p:nvPr userDrawn="1"/>
        </p:nvGrpSpPr>
        <p:grpSpPr>
          <a:xfrm>
            <a:off x="9598" y="4391414"/>
            <a:ext cx="3729812" cy="2464571"/>
            <a:chOff x="9598" y="4391414"/>
            <a:chExt cx="3729812" cy="2464571"/>
          </a:xfrm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8FECB771-16CA-A0E5-0DFE-DEA5D2B1B8F4}"/>
                </a:ext>
              </a:extLst>
            </p:cNvPr>
            <p:cNvSpPr/>
            <p:nvPr/>
          </p:nvSpPr>
          <p:spPr>
            <a:xfrm>
              <a:off x="1102322" y="6790972"/>
              <a:ext cx="599427" cy="64492"/>
            </a:xfrm>
            <a:custGeom>
              <a:avLst/>
              <a:gdLst/>
              <a:ahLst/>
              <a:cxnLst/>
              <a:rect l="l" t="t" r="r" b="b"/>
              <a:pathLst>
                <a:path w="661035" h="71120">
                  <a:moveTo>
                    <a:pt x="547984" y="0"/>
                  </a:moveTo>
                  <a:lnTo>
                    <a:pt x="112463" y="0"/>
                  </a:lnTo>
                  <a:lnTo>
                    <a:pt x="63146" y="9955"/>
                  </a:lnTo>
                  <a:lnTo>
                    <a:pt x="22888" y="37104"/>
                  </a:lnTo>
                  <a:lnTo>
                    <a:pt x="0" y="71071"/>
                  </a:lnTo>
                  <a:lnTo>
                    <a:pt x="660448" y="71071"/>
                  </a:lnTo>
                  <a:lnTo>
                    <a:pt x="637559" y="37104"/>
                  </a:lnTo>
                  <a:lnTo>
                    <a:pt x="597301" y="9955"/>
                  </a:lnTo>
                  <a:lnTo>
                    <a:pt x="54798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4">
              <a:extLst>
                <a:ext uri="{FF2B5EF4-FFF2-40B4-BE49-F238E27FC236}">
                  <a16:creationId xmlns:a16="http://schemas.microsoft.com/office/drawing/2014/main" id="{D3CA8ECF-9710-8720-2CD0-DA636B54B0B5}"/>
                </a:ext>
              </a:extLst>
            </p:cNvPr>
            <p:cNvSpPr/>
            <p:nvPr/>
          </p:nvSpPr>
          <p:spPr>
            <a:xfrm>
              <a:off x="1847987" y="6161548"/>
              <a:ext cx="770445" cy="694437"/>
            </a:xfrm>
            <a:custGeom>
              <a:avLst/>
              <a:gdLst/>
              <a:ahLst/>
              <a:cxnLst/>
              <a:rect l="l" t="t" r="r" b="b"/>
              <a:pathLst>
                <a:path w="849630" h="765809">
                  <a:moveTo>
                    <a:pt x="277797" y="0"/>
                  </a:moveTo>
                  <a:lnTo>
                    <a:pt x="232138" y="10089"/>
                  </a:lnTo>
                  <a:lnTo>
                    <a:pt x="189939" y="31774"/>
                  </a:lnTo>
                  <a:lnTo>
                    <a:pt x="153625" y="64816"/>
                  </a:lnTo>
                  <a:lnTo>
                    <a:pt x="127301" y="106257"/>
                  </a:lnTo>
                  <a:lnTo>
                    <a:pt x="113256" y="151637"/>
                  </a:lnTo>
                  <a:lnTo>
                    <a:pt x="111269" y="198494"/>
                  </a:lnTo>
                  <a:lnTo>
                    <a:pt x="121117" y="244368"/>
                  </a:lnTo>
                  <a:lnTo>
                    <a:pt x="142578" y="286798"/>
                  </a:lnTo>
                  <a:lnTo>
                    <a:pt x="175431" y="323324"/>
                  </a:lnTo>
                  <a:lnTo>
                    <a:pt x="183761" y="330740"/>
                  </a:lnTo>
                  <a:lnTo>
                    <a:pt x="200872" y="347032"/>
                  </a:lnTo>
                  <a:lnTo>
                    <a:pt x="255253" y="405507"/>
                  </a:lnTo>
                  <a:lnTo>
                    <a:pt x="289431" y="447320"/>
                  </a:lnTo>
                  <a:lnTo>
                    <a:pt x="326206" y="497272"/>
                  </a:lnTo>
                  <a:lnTo>
                    <a:pt x="364033" y="555177"/>
                  </a:lnTo>
                  <a:lnTo>
                    <a:pt x="401365" y="620853"/>
                  </a:lnTo>
                  <a:lnTo>
                    <a:pt x="436657" y="694113"/>
                  </a:lnTo>
                  <a:lnTo>
                    <a:pt x="112464" y="694113"/>
                  </a:lnTo>
                  <a:lnTo>
                    <a:pt x="63147" y="704069"/>
                  </a:lnTo>
                  <a:lnTo>
                    <a:pt x="22889" y="731218"/>
                  </a:lnTo>
                  <a:lnTo>
                    <a:pt x="0" y="765186"/>
                  </a:lnTo>
                  <a:lnTo>
                    <a:pt x="849346" y="765186"/>
                  </a:lnTo>
                  <a:lnTo>
                    <a:pt x="828420" y="692250"/>
                  </a:lnTo>
                  <a:lnTo>
                    <a:pt x="808980" y="635413"/>
                  </a:lnTo>
                  <a:lnTo>
                    <a:pt x="787871" y="580991"/>
                  </a:lnTo>
                  <a:lnTo>
                    <a:pt x="765348" y="529010"/>
                  </a:lnTo>
                  <a:lnTo>
                    <a:pt x="741670" y="479497"/>
                  </a:lnTo>
                  <a:lnTo>
                    <a:pt x="717092" y="432480"/>
                  </a:lnTo>
                  <a:lnTo>
                    <a:pt x="691873" y="387985"/>
                  </a:lnTo>
                  <a:lnTo>
                    <a:pt x="666269" y="346039"/>
                  </a:lnTo>
                  <a:lnTo>
                    <a:pt x="640536" y="306670"/>
                  </a:lnTo>
                  <a:lnTo>
                    <a:pt x="614933" y="269906"/>
                  </a:lnTo>
                  <a:lnTo>
                    <a:pt x="589716" y="235772"/>
                  </a:lnTo>
                  <a:lnTo>
                    <a:pt x="565141" y="204296"/>
                  </a:lnTo>
                  <a:lnTo>
                    <a:pt x="518949" y="149427"/>
                  </a:lnTo>
                  <a:lnTo>
                    <a:pt x="478413" y="105516"/>
                  </a:lnTo>
                  <a:lnTo>
                    <a:pt x="445588" y="72781"/>
                  </a:lnTo>
                  <a:lnTo>
                    <a:pt x="411295" y="41702"/>
                  </a:lnTo>
                  <a:lnTo>
                    <a:pt x="369801" y="15566"/>
                  </a:lnTo>
                  <a:lnTo>
                    <a:pt x="324493" y="1745"/>
                  </a:lnTo>
                  <a:lnTo>
                    <a:pt x="277797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5">
              <a:extLst>
                <a:ext uri="{FF2B5EF4-FFF2-40B4-BE49-F238E27FC236}">
                  <a16:creationId xmlns:a16="http://schemas.microsoft.com/office/drawing/2014/main" id="{2862B2D7-BDD5-F2B2-3968-D2FDB60BD32C}"/>
                </a:ext>
              </a:extLst>
            </p:cNvPr>
            <p:cNvSpPr/>
            <p:nvPr/>
          </p:nvSpPr>
          <p:spPr>
            <a:xfrm>
              <a:off x="1441820" y="600587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6">
              <a:extLst>
                <a:ext uri="{FF2B5EF4-FFF2-40B4-BE49-F238E27FC236}">
                  <a16:creationId xmlns:a16="http://schemas.microsoft.com/office/drawing/2014/main" id="{2D450728-55B2-39CD-7B12-8A800D0D1A22}"/>
                </a:ext>
              </a:extLst>
            </p:cNvPr>
            <p:cNvSpPr/>
            <p:nvPr/>
          </p:nvSpPr>
          <p:spPr>
            <a:xfrm>
              <a:off x="2512448" y="5841762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7">
              <a:extLst>
                <a:ext uri="{FF2B5EF4-FFF2-40B4-BE49-F238E27FC236}">
                  <a16:creationId xmlns:a16="http://schemas.microsoft.com/office/drawing/2014/main" id="{14B3E2E4-7B25-7179-7814-2E18247203F3}"/>
                </a:ext>
              </a:extLst>
            </p:cNvPr>
            <p:cNvSpPr/>
            <p:nvPr/>
          </p:nvSpPr>
          <p:spPr>
            <a:xfrm>
              <a:off x="2387729" y="5241019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8">
              <a:extLst>
                <a:ext uri="{FF2B5EF4-FFF2-40B4-BE49-F238E27FC236}">
                  <a16:creationId xmlns:a16="http://schemas.microsoft.com/office/drawing/2014/main" id="{2CFC7019-072F-B9FC-DA69-CEFBC5ABD001}"/>
                </a:ext>
              </a:extLst>
            </p:cNvPr>
            <p:cNvSpPr/>
            <p:nvPr/>
          </p:nvSpPr>
          <p:spPr>
            <a:xfrm>
              <a:off x="1721136" y="5383874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9">
              <a:extLst>
                <a:ext uri="{FF2B5EF4-FFF2-40B4-BE49-F238E27FC236}">
                  <a16:creationId xmlns:a16="http://schemas.microsoft.com/office/drawing/2014/main" id="{EA3EC4CC-0D07-2030-5906-D47FB104B0F3}"/>
                </a:ext>
              </a:extLst>
            </p:cNvPr>
            <p:cNvSpPr/>
            <p:nvPr/>
          </p:nvSpPr>
          <p:spPr>
            <a:xfrm>
              <a:off x="3097372" y="6327434"/>
              <a:ext cx="642038" cy="528026"/>
            </a:xfrm>
            <a:custGeom>
              <a:avLst/>
              <a:gdLst/>
              <a:ahLst/>
              <a:cxnLst/>
              <a:rect l="l" t="t" r="r" b="b"/>
              <a:pathLst>
                <a:path w="708025" h="582295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76190" y="582253"/>
                  </a:lnTo>
                  <a:lnTo>
                    <a:pt x="631605" y="582253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0">
              <a:extLst>
                <a:ext uri="{FF2B5EF4-FFF2-40B4-BE49-F238E27FC236}">
                  <a16:creationId xmlns:a16="http://schemas.microsoft.com/office/drawing/2014/main" id="{DB3AFB29-2CA1-6E61-DF86-C2BFC5F2BB0C}"/>
                </a:ext>
              </a:extLst>
            </p:cNvPr>
            <p:cNvSpPr/>
            <p:nvPr/>
          </p:nvSpPr>
          <p:spPr>
            <a:xfrm>
              <a:off x="1504163" y="4540703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1">
              <a:extLst>
                <a:ext uri="{FF2B5EF4-FFF2-40B4-BE49-F238E27FC236}">
                  <a16:creationId xmlns:a16="http://schemas.microsoft.com/office/drawing/2014/main" id="{A1D57932-C3DE-E260-FEA6-803480C75E84}"/>
                </a:ext>
              </a:extLst>
            </p:cNvPr>
            <p:cNvSpPr/>
            <p:nvPr/>
          </p:nvSpPr>
          <p:spPr>
            <a:xfrm>
              <a:off x="9598" y="4391414"/>
              <a:ext cx="1292713" cy="2464504"/>
            </a:xfrm>
            <a:custGeom>
              <a:avLst/>
              <a:gdLst/>
              <a:ahLst/>
              <a:cxnLst/>
              <a:rect l="l" t="t" r="r" b="b"/>
              <a:pathLst>
                <a:path w="1425575" h="2717800">
                  <a:moveTo>
                    <a:pt x="1036905" y="1250138"/>
                  </a:moveTo>
                  <a:lnTo>
                    <a:pt x="7697" y="1250138"/>
                  </a:lnTo>
                  <a:lnTo>
                    <a:pt x="0" y="1251693"/>
                  </a:lnTo>
                  <a:lnTo>
                    <a:pt x="0" y="1501962"/>
                  </a:lnTo>
                  <a:lnTo>
                    <a:pt x="7697" y="1503516"/>
                  </a:lnTo>
                  <a:lnTo>
                    <a:pt x="990626" y="1503516"/>
                  </a:lnTo>
                  <a:lnTo>
                    <a:pt x="972652" y="1549292"/>
                  </a:lnTo>
                  <a:lnTo>
                    <a:pt x="952724" y="1595118"/>
                  </a:lnTo>
                  <a:lnTo>
                    <a:pt x="930908" y="1640986"/>
                  </a:lnTo>
                  <a:lnTo>
                    <a:pt x="907270" y="1686883"/>
                  </a:lnTo>
                  <a:lnTo>
                    <a:pt x="881874" y="1732802"/>
                  </a:lnTo>
                  <a:lnTo>
                    <a:pt x="854786" y="1778731"/>
                  </a:lnTo>
                  <a:lnTo>
                    <a:pt x="826072" y="1824661"/>
                  </a:lnTo>
                  <a:lnTo>
                    <a:pt x="63298" y="1824661"/>
                  </a:lnTo>
                  <a:lnTo>
                    <a:pt x="13987" y="1834618"/>
                  </a:lnTo>
                  <a:lnTo>
                    <a:pt x="0" y="1844050"/>
                  </a:lnTo>
                  <a:lnTo>
                    <a:pt x="0" y="2058640"/>
                  </a:lnTo>
                  <a:lnTo>
                    <a:pt x="13987" y="2068070"/>
                  </a:lnTo>
                  <a:lnTo>
                    <a:pt x="63298" y="2078026"/>
                  </a:lnTo>
                  <a:lnTo>
                    <a:pt x="641478" y="2078026"/>
                  </a:lnTo>
                  <a:lnTo>
                    <a:pt x="610598" y="2115724"/>
                  </a:lnTo>
                  <a:lnTo>
                    <a:pt x="578977" y="2153368"/>
                  </a:lnTo>
                  <a:lnTo>
                    <a:pt x="546654" y="2190951"/>
                  </a:lnTo>
                  <a:lnTo>
                    <a:pt x="513670" y="2228468"/>
                  </a:lnTo>
                  <a:lnTo>
                    <a:pt x="480063" y="2265912"/>
                  </a:lnTo>
                  <a:lnTo>
                    <a:pt x="445873" y="2303278"/>
                  </a:lnTo>
                  <a:lnTo>
                    <a:pt x="411141" y="2340559"/>
                  </a:lnTo>
                  <a:lnTo>
                    <a:pt x="375907" y="2377749"/>
                  </a:lnTo>
                  <a:lnTo>
                    <a:pt x="340209" y="2414843"/>
                  </a:lnTo>
                  <a:lnTo>
                    <a:pt x="304089" y="2451835"/>
                  </a:lnTo>
                  <a:lnTo>
                    <a:pt x="267585" y="2488718"/>
                  </a:lnTo>
                  <a:lnTo>
                    <a:pt x="230738" y="2525486"/>
                  </a:lnTo>
                  <a:lnTo>
                    <a:pt x="193588" y="2562134"/>
                  </a:lnTo>
                  <a:lnTo>
                    <a:pt x="118536" y="2635044"/>
                  </a:lnTo>
                  <a:lnTo>
                    <a:pt x="32318" y="2717250"/>
                  </a:lnTo>
                  <a:lnTo>
                    <a:pt x="559514" y="2717250"/>
                  </a:lnTo>
                  <a:lnTo>
                    <a:pt x="608152" y="2667742"/>
                  </a:lnTo>
                  <a:lnTo>
                    <a:pt x="644609" y="2629983"/>
                  </a:lnTo>
                  <a:lnTo>
                    <a:pt x="680613" y="2592122"/>
                  </a:lnTo>
                  <a:lnTo>
                    <a:pt x="716134" y="2554156"/>
                  </a:lnTo>
                  <a:lnTo>
                    <a:pt x="751143" y="2516081"/>
                  </a:lnTo>
                  <a:lnTo>
                    <a:pt x="785608" y="2477894"/>
                  </a:lnTo>
                  <a:lnTo>
                    <a:pt x="819502" y="2439592"/>
                  </a:lnTo>
                  <a:lnTo>
                    <a:pt x="852793" y="2401172"/>
                  </a:lnTo>
                  <a:lnTo>
                    <a:pt x="885453" y="2362631"/>
                  </a:lnTo>
                  <a:lnTo>
                    <a:pt x="917450" y="2323966"/>
                  </a:lnTo>
                  <a:lnTo>
                    <a:pt x="948756" y="2285174"/>
                  </a:lnTo>
                  <a:lnTo>
                    <a:pt x="979341" y="2246251"/>
                  </a:lnTo>
                  <a:lnTo>
                    <a:pt x="1009174" y="2207195"/>
                  </a:lnTo>
                  <a:lnTo>
                    <a:pt x="1038226" y="2168003"/>
                  </a:lnTo>
                  <a:lnTo>
                    <a:pt x="1066467" y="2128671"/>
                  </a:lnTo>
                  <a:lnTo>
                    <a:pt x="1093868" y="2089196"/>
                  </a:lnTo>
                  <a:lnTo>
                    <a:pt x="1120397" y="2049575"/>
                  </a:lnTo>
                  <a:lnTo>
                    <a:pt x="1146027" y="2009806"/>
                  </a:lnTo>
                  <a:lnTo>
                    <a:pt x="1170726" y="1969884"/>
                  </a:lnTo>
                  <a:lnTo>
                    <a:pt x="1194466" y="1929807"/>
                  </a:lnTo>
                  <a:lnTo>
                    <a:pt x="1217215" y="1889572"/>
                  </a:lnTo>
                  <a:lnTo>
                    <a:pt x="1238945" y="1849176"/>
                  </a:lnTo>
                  <a:lnTo>
                    <a:pt x="1259625" y="1808615"/>
                  </a:lnTo>
                  <a:lnTo>
                    <a:pt x="1279226" y="1767887"/>
                  </a:lnTo>
                  <a:lnTo>
                    <a:pt x="1297718" y="1726988"/>
                  </a:lnTo>
                  <a:lnTo>
                    <a:pt x="1315070" y="1685916"/>
                  </a:lnTo>
                  <a:lnTo>
                    <a:pt x="1331255" y="1644667"/>
                  </a:lnTo>
                  <a:lnTo>
                    <a:pt x="1346240" y="1603237"/>
                  </a:lnTo>
                  <a:lnTo>
                    <a:pt x="1359997" y="1561625"/>
                  </a:lnTo>
                  <a:lnTo>
                    <a:pt x="1372496" y="1519827"/>
                  </a:lnTo>
                  <a:lnTo>
                    <a:pt x="1383707" y="1477840"/>
                  </a:lnTo>
                  <a:lnTo>
                    <a:pt x="1393600" y="1435660"/>
                  </a:lnTo>
                  <a:lnTo>
                    <a:pt x="1402145" y="1393285"/>
                  </a:lnTo>
                  <a:lnTo>
                    <a:pt x="1409313" y="1350711"/>
                  </a:lnTo>
                  <a:lnTo>
                    <a:pt x="1415073" y="1307936"/>
                  </a:lnTo>
                  <a:lnTo>
                    <a:pt x="1420217" y="1252323"/>
                  </a:lnTo>
                  <a:lnTo>
                    <a:pt x="1051129" y="1252323"/>
                  </a:lnTo>
                  <a:lnTo>
                    <a:pt x="1044068" y="1251103"/>
                  </a:lnTo>
                  <a:lnTo>
                    <a:pt x="1036905" y="1250138"/>
                  </a:lnTo>
                  <a:close/>
                </a:path>
                <a:path w="1425575" h="2717800">
                  <a:moveTo>
                    <a:pt x="807014" y="0"/>
                  </a:moveTo>
                  <a:lnTo>
                    <a:pt x="761364" y="10091"/>
                  </a:lnTo>
                  <a:lnTo>
                    <a:pt x="719176" y="31783"/>
                  </a:lnTo>
                  <a:lnTo>
                    <a:pt x="682867" y="64835"/>
                  </a:lnTo>
                  <a:lnTo>
                    <a:pt x="656535" y="106276"/>
                  </a:lnTo>
                  <a:lnTo>
                    <a:pt x="642490" y="151656"/>
                  </a:lnTo>
                  <a:lnTo>
                    <a:pt x="640506" y="198513"/>
                  </a:lnTo>
                  <a:lnTo>
                    <a:pt x="650359" y="244387"/>
                  </a:lnTo>
                  <a:lnTo>
                    <a:pt x="671823" y="286817"/>
                  </a:lnTo>
                  <a:lnTo>
                    <a:pt x="704673" y="323343"/>
                  </a:lnTo>
                  <a:lnTo>
                    <a:pt x="713003" y="330759"/>
                  </a:lnTo>
                  <a:lnTo>
                    <a:pt x="730114" y="347051"/>
                  </a:lnTo>
                  <a:lnTo>
                    <a:pt x="784494" y="405526"/>
                  </a:lnTo>
                  <a:lnTo>
                    <a:pt x="818671" y="447339"/>
                  </a:lnTo>
                  <a:lnTo>
                    <a:pt x="855445" y="497291"/>
                  </a:lnTo>
                  <a:lnTo>
                    <a:pt x="893269" y="555196"/>
                  </a:lnTo>
                  <a:lnTo>
                    <a:pt x="930598" y="620872"/>
                  </a:lnTo>
                  <a:lnTo>
                    <a:pt x="965887" y="694132"/>
                  </a:lnTo>
                  <a:lnTo>
                    <a:pt x="394272" y="694132"/>
                  </a:lnTo>
                  <a:lnTo>
                    <a:pt x="344967" y="704088"/>
                  </a:lnTo>
                  <a:lnTo>
                    <a:pt x="304699" y="731237"/>
                  </a:lnTo>
                  <a:lnTo>
                    <a:pt x="277547" y="771504"/>
                  </a:lnTo>
                  <a:lnTo>
                    <a:pt x="267590" y="820815"/>
                  </a:lnTo>
                  <a:lnTo>
                    <a:pt x="277547" y="870120"/>
                  </a:lnTo>
                  <a:lnTo>
                    <a:pt x="304699" y="910388"/>
                  </a:lnTo>
                  <a:lnTo>
                    <a:pt x="344967" y="937540"/>
                  </a:lnTo>
                  <a:lnTo>
                    <a:pt x="394272" y="947497"/>
                  </a:lnTo>
                  <a:lnTo>
                    <a:pt x="1042074" y="947497"/>
                  </a:lnTo>
                  <a:lnTo>
                    <a:pt x="1049074" y="994539"/>
                  </a:lnTo>
                  <a:lnTo>
                    <a:pt x="1054093" y="1043098"/>
                  </a:lnTo>
                  <a:lnTo>
                    <a:pt x="1056969" y="1093166"/>
                  </a:lnTo>
                  <a:lnTo>
                    <a:pt x="1057542" y="1144733"/>
                  </a:lnTo>
                  <a:lnTo>
                    <a:pt x="1055648" y="1197788"/>
                  </a:lnTo>
                  <a:lnTo>
                    <a:pt x="1051129" y="1252323"/>
                  </a:lnTo>
                  <a:lnTo>
                    <a:pt x="1420217" y="1252323"/>
                  </a:lnTo>
                  <a:lnTo>
                    <a:pt x="1422226" y="1230596"/>
                  </a:lnTo>
                  <a:lnTo>
                    <a:pt x="1425397" y="1155425"/>
                  </a:lnTo>
                  <a:lnTo>
                    <a:pt x="1424842" y="1082452"/>
                  </a:lnTo>
                  <a:lnTo>
                    <a:pt x="1420819" y="1011702"/>
                  </a:lnTo>
                  <a:lnTo>
                    <a:pt x="1413584" y="943204"/>
                  </a:lnTo>
                  <a:lnTo>
                    <a:pt x="1403395" y="876984"/>
                  </a:lnTo>
                  <a:lnTo>
                    <a:pt x="1390507" y="813069"/>
                  </a:lnTo>
                  <a:lnTo>
                    <a:pt x="1375179" y="751487"/>
                  </a:lnTo>
                  <a:lnTo>
                    <a:pt x="1357668" y="692264"/>
                  </a:lnTo>
                  <a:lnTo>
                    <a:pt x="1338229" y="635429"/>
                  </a:lnTo>
                  <a:lnTo>
                    <a:pt x="1317120" y="581007"/>
                  </a:lnTo>
                  <a:lnTo>
                    <a:pt x="1294599" y="529026"/>
                  </a:lnTo>
                  <a:lnTo>
                    <a:pt x="1270922" y="479514"/>
                  </a:lnTo>
                  <a:lnTo>
                    <a:pt x="1246346" y="432497"/>
                  </a:lnTo>
                  <a:lnTo>
                    <a:pt x="1221128" y="388002"/>
                  </a:lnTo>
                  <a:lnTo>
                    <a:pt x="1195525" y="346057"/>
                  </a:lnTo>
                  <a:lnTo>
                    <a:pt x="1169794" y="306688"/>
                  </a:lnTo>
                  <a:lnTo>
                    <a:pt x="1144192" y="269924"/>
                  </a:lnTo>
                  <a:lnTo>
                    <a:pt x="1118976" y="235790"/>
                  </a:lnTo>
                  <a:lnTo>
                    <a:pt x="1094403" y="204314"/>
                  </a:lnTo>
                  <a:lnTo>
                    <a:pt x="1048213" y="149446"/>
                  </a:lnTo>
                  <a:lnTo>
                    <a:pt x="1007678" y="105535"/>
                  </a:lnTo>
                  <a:lnTo>
                    <a:pt x="974854" y="72800"/>
                  </a:lnTo>
                  <a:lnTo>
                    <a:pt x="944574" y="45123"/>
                  </a:lnTo>
                  <a:lnTo>
                    <a:pt x="899031" y="15575"/>
                  </a:lnTo>
                  <a:lnTo>
                    <a:pt x="853709" y="1748"/>
                  </a:lnTo>
                  <a:lnTo>
                    <a:pt x="80701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0962" y="1882771"/>
            <a:ext cx="9449837" cy="365443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92579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0724100" y="6405519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46163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20B4B95D-64D5-9E5B-BAC5-0B7670771DF2}"/>
              </a:ext>
            </a:extLst>
          </p:cNvPr>
          <p:cNvSpPr/>
          <p:nvPr userDrawn="1"/>
        </p:nvSpPr>
        <p:spPr>
          <a:xfrm>
            <a:off x="9598" y="0"/>
            <a:ext cx="3603472" cy="4812692"/>
          </a:xfrm>
          <a:custGeom>
            <a:avLst/>
            <a:gdLst/>
            <a:ahLst/>
            <a:cxnLst/>
            <a:rect l="l" t="t" r="r" b="b"/>
            <a:pathLst>
              <a:path w="3973829" h="5307330">
                <a:moveTo>
                  <a:pt x="71374" y="1940839"/>
                </a:moveTo>
                <a:lnTo>
                  <a:pt x="65620" y="1897291"/>
                </a:lnTo>
                <a:lnTo>
                  <a:pt x="49364" y="1858149"/>
                </a:lnTo>
                <a:lnTo>
                  <a:pt x="24168" y="1824990"/>
                </a:lnTo>
                <a:lnTo>
                  <a:pt x="0" y="1806016"/>
                </a:lnTo>
                <a:lnTo>
                  <a:pt x="0" y="2075662"/>
                </a:lnTo>
                <a:lnTo>
                  <a:pt x="24168" y="2056688"/>
                </a:lnTo>
                <a:lnTo>
                  <a:pt x="49364" y="2023529"/>
                </a:lnTo>
                <a:lnTo>
                  <a:pt x="65620" y="1984387"/>
                </a:lnTo>
                <a:lnTo>
                  <a:pt x="71374" y="1940839"/>
                </a:lnTo>
                <a:close/>
              </a:path>
              <a:path w="3973829" h="5307330">
                <a:moveTo>
                  <a:pt x="184327" y="5114302"/>
                </a:moveTo>
                <a:lnTo>
                  <a:pt x="176174" y="5068062"/>
                </a:lnTo>
                <a:lnTo>
                  <a:pt x="156235" y="5024856"/>
                </a:lnTo>
                <a:lnTo>
                  <a:pt x="124650" y="4987137"/>
                </a:lnTo>
                <a:lnTo>
                  <a:pt x="116395" y="4979378"/>
                </a:lnTo>
                <a:lnTo>
                  <a:pt x="100291" y="4963541"/>
                </a:lnTo>
                <a:lnTo>
                  <a:pt x="77470" y="4939919"/>
                </a:lnTo>
                <a:lnTo>
                  <a:pt x="49022" y="4908791"/>
                </a:lnTo>
                <a:lnTo>
                  <a:pt x="16103" y="4870462"/>
                </a:lnTo>
                <a:lnTo>
                  <a:pt x="0" y="4850384"/>
                </a:lnTo>
                <a:lnTo>
                  <a:pt x="0" y="5306657"/>
                </a:lnTo>
                <a:lnTo>
                  <a:pt x="38061" y="5302923"/>
                </a:lnTo>
                <a:lnTo>
                  <a:pt x="107365" y="5272710"/>
                </a:lnTo>
                <a:lnTo>
                  <a:pt x="136918" y="5246446"/>
                </a:lnTo>
                <a:lnTo>
                  <a:pt x="164833" y="5205958"/>
                </a:lnTo>
                <a:lnTo>
                  <a:pt x="180594" y="5161089"/>
                </a:lnTo>
                <a:lnTo>
                  <a:pt x="184327" y="5114302"/>
                </a:lnTo>
                <a:close/>
              </a:path>
              <a:path w="3973829" h="5307330">
                <a:moveTo>
                  <a:pt x="293878" y="645617"/>
                </a:moveTo>
                <a:lnTo>
                  <a:pt x="285864" y="595109"/>
                </a:lnTo>
                <a:lnTo>
                  <a:pt x="263537" y="551243"/>
                </a:lnTo>
                <a:lnTo>
                  <a:pt x="229501" y="516661"/>
                </a:lnTo>
                <a:lnTo>
                  <a:pt x="186334" y="493979"/>
                </a:lnTo>
                <a:lnTo>
                  <a:pt x="136639" y="485825"/>
                </a:lnTo>
                <a:lnTo>
                  <a:pt x="86944" y="493979"/>
                </a:lnTo>
                <a:lnTo>
                  <a:pt x="43776" y="516661"/>
                </a:lnTo>
                <a:lnTo>
                  <a:pt x="9740" y="551243"/>
                </a:lnTo>
                <a:lnTo>
                  <a:pt x="0" y="570395"/>
                </a:lnTo>
                <a:lnTo>
                  <a:pt x="0" y="720839"/>
                </a:lnTo>
                <a:lnTo>
                  <a:pt x="9740" y="739990"/>
                </a:lnTo>
                <a:lnTo>
                  <a:pt x="43776" y="774585"/>
                </a:lnTo>
                <a:lnTo>
                  <a:pt x="86944" y="797267"/>
                </a:lnTo>
                <a:lnTo>
                  <a:pt x="136639" y="805408"/>
                </a:lnTo>
                <a:lnTo>
                  <a:pt x="186334" y="797267"/>
                </a:lnTo>
                <a:lnTo>
                  <a:pt x="229501" y="774585"/>
                </a:lnTo>
                <a:lnTo>
                  <a:pt x="263537" y="739990"/>
                </a:lnTo>
                <a:lnTo>
                  <a:pt x="285864" y="696125"/>
                </a:lnTo>
                <a:lnTo>
                  <a:pt x="293878" y="645617"/>
                </a:lnTo>
                <a:close/>
              </a:path>
              <a:path w="3973829" h="5307330">
                <a:moveTo>
                  <a:pt x="503135" y="1213459"/>
                </a:moveTo>
                <a:lnTo>
                  <a:pt x="498081" y="1168908"/>
                </a:lnTo>
                <a:lnTo>
                  <a:pt x="483692" y="1128014"/>
                </a:lnTo>
                <a:lnTo>
                  <a:pt x="461124" y="1091933"/>
                </a:lnTo>
                <a:lnTo>
                  <a:pt x="431520" y="1061834"/>
                </a:lnTo>
                <a:lnTo>
                  <a:pt x="396011" y="1038898"/>
                </a:lnTo>
                <a:lnTo>
                  <a:pt x="355777" y="1024280"/>
                </a:lnTo>
                <a:lnTo>
                  <a:pt x="311937" y="1019149"/>
                </a:lnTo>
                <a:lnTo>
                  <a:pt x="268097" y="1024280"/>
                </a:lnTo>
                <a:lnTo>
                  <a:pt x="227850" y="1038898"/>
                </a:lnTo>
                <a:lnTo>
                  <a:pt x="192354" y="1061834"/>
                </a:lnTo>
                <a:lnTo>
                  <a:pt x="162737" y="1091933"/>
                </a:lnTo>
                <a:lnTo>
                  <a:pt x="140169" y="1128014"/>
                </a:lnTo>
                <a:lnTo>
                  <a:pt x="125780" y="1168908"/>
                </a:lnTo>
                <a:lnTo>
                  <a:pt x="120738" y="1213459"/>
                </a:lnTo>
                <a:lnTo>
                  <a:pt x="125780" y="1258011"/>
                </a:lnTo>
                <a:lnTo>
                  <a:pt x="140169" y="1298917"/>
                </a:lnTo>
                <a:lnTo>
                  <a:pt x="162737" y="1334985"/>
                </a:lnTo>
                <a:lnTo>
                  <a:pt x="192354" y="1365084"/>
                </a:lnTo>
                <a:lnTo>
                  <a:pt x="227850" y="1388021"/>
                </a:lnTo>
                <a:lnTo>
                  <a:pt x="268097" y="1402638"/>
                </a:lnTo>
                <a:lnTo>
                  <a:pt x="311937" y="1407769"/>
                </a:lnTo>
                <a:lnTo>
                  <a:pt x="355777" y="1402638"/>
                </a:lnTo>
                <a:lnTo>
                  <a:pt x="396011" y="1388021"/>
                </a:lnTo>
                <a:lnTo>
                  <a:pt x="431520" y="1365084"/>
                </a:lnTo>
                <a:lnTo>
                  <a:pt x="461124" y="1334985"/>
                </a:lnTo>
                <a:lnTo>
                  <a:pt x="483692" y="1298917"/>
                </a:lnTo>
                <a:lnTo>
                  <a:pt x="498081" y="1258011"/>
                </a:lnTo>
                <a:lnTo>
                  <a:pt x="503135" y="1213459"/>
                </a:lnTo>
                <a:close/>
              </a:path>
              <a:path w="3973829" h="5307330">
                <a:moveTo>
                  <a:pt x="545719" y="4454322"/>
                </a:moveTo>
                <a:lnTo>
                  <a:pt x="535774" y="4405007"/>
                </a:lnTo>
                <a:lnTo>
                  <a:pt x="508635" y="4364736"/>
                </a:lnTo>
                <a:lnTo>
                  <a:pt x="468376" y="4337596"/>
                </a:lnTo>
                <a:lnTo>
                  <a:pt x="419061" y="4327639"/>
                </a:lnTo>
                <a:lnTo>
                  <a:pt x="0" y="4327639"/>
                </a:lnTo>
                <a:lnTo>
                  <a:pt x="0" y="4581004"/>
                </a:lnTo>
                <a:lnTo>
                  <a:pt x="419061" y="4581004"/>
                </a:lnTo>
                <a:lnTo>
                  <a:pt x="468376" y="4571047"/>
                </a:lnTo>
                <a:lnTo>
                  <a:pt x="508635" y="4543895"/>
                </a:lnTo>
                <a:lnTo>
                  <a:pt x="535774" y="4503623"/>
                </a:lnTo>
                <a:lnTo>
                  <a:pt x="545719" y="4454322"/>
                </a:lnTo>
                <a:close/>
              </a:path>
              <a:path w="3973829" h="5307330">
                <a:moveTo>
                  <a:pt x="929068" y="3906012"/>
                </a:moveTo>
                <a:lnTo>
                  <a:pt x="919124" y="3856710"/>
                </a:lnTo>
                <a:lnTo>
                  <a:pt x="891984" y="3816439"/>
                </a:lnTo>
                <a:lnTo>
                  <a:pt x="851725" y="3789286"/>
                </a:lnTo>
                <a:lnTo>
                  <a:pt x="802411" y="3779329"/>
                </a:lnTo>
                <a:lnTo>
                  <a:pt x="0" y="3779329"/>
                </a:lnTo>
                <a:lnTo>
                  <a:pt x="0" y="4032694"/>
                </a:lnTo>
                <a:lnTo>
                  <a:pt x="802411" y="4032694"/>
                </a:lnTo>
                <a:lnTo>
                  <a:pt x="851725" y="4022737"/>
                </a:lnTo>
                <a:lnTo>
                  <a:pt x="891984" y="3995585"/>
                </a:lnTo>
                <a:lnTo>
                  <a:pt x="919124" y="3955326"/>
                </a:lnTo>
                <a:lnTo>
                  <a:pt x="929068" y="3906012"/>
                </a:lnTo>
                <a:close/>
              </a:path>
              <a:path w="3973829" h="5307330">
                <a:moveTo>
                  <a:pt x="1123670" y="73621"/>
                </a:moveTo>
                <a:lnTo>
                  <a:pt x="1113713" y="24307"/>
                </a:lnTo>
                <a:lnTo>
                  <a:pt x="1097343" y="0"/>
                </a:lnTo>
                <a:lnTo>
                  <a:pt x="461149" y="0"/>
                </a:lnTo>
                <a:lnTo>
                  <a:pt x="444779" y="24307"/>
                </a:lnTo>
                <a:lnTo>
                  <a:pt x="434835" y="73621"/>
                </a:lnTo>
                <a:lnTo>
                  <a:pt x="444779" y="122936"/>
                </a:lnTo>
                <a:lnTo>
                  <a:pt x="471906" y="163195"/>
                </a:lnTo>
                <a:lnTo>
                  <a:pt x="512165" y="190347"/>
                </a:lnTo>
                <a:lnTo>
                  <a:pt x="561492" y="200304"/>
                </a:lnTo>
                <a:lnTo>
                  <a:pt x="997013" y="200304"/>
                </a:lnTo>
                <a:lnTo>
                  <a:pt x="1046327" y="190347"/>
                </a:lnTo>
                <a:lnTo>
                  <a:pt x="1086586" y="163195"/>
                </a:lnTo>
                <a:lnTo>
                  <a:pt x="1113713" y="122936"/>
                </a:lnTo>
                <a:lnTo>
                  <a:pt x="1123670" y="73621"/>
                </a:lnTo>
                <a:close/>
              </a:path>
              <a:path w="3973829" h="5307330">
                <a:moveTo>
                  <a:pt x="1418945" y="3321431"/>
                </a:moveTo>
                <a:lnTo>
                  <a:pt x="1413903" y="3276879"/>
                </a:lnTo>
                <a:lnTo>
                  <a:pt x="1399514" y="3235972"/>
                </a:lnTo>
                <a:lnTo>
                  <a:pt x="1376946" y="3199904"/>
                </a:lnTo>
                <a:lnTo>
                  <a:pt x="1347343" y="3169805"/>
                </a:lnTo>
                <a:lnTo>
                  <a:pt x="1311833" y="3146869"/>
                </a:lnTo>
                <a:lnTo>
                  <a:pt x="1271587" y="3132251"/>
                </a:lnTo>
                <a:lnTo>
                  <a:pt x="1227747" y="3127121"/>
                </a:lnTo>
                <a:lnTo>
                  <a:pt x="1183906" y="3132251"/>
                </a:lnTo>
                <a:lnTo>
                  <a:pt x="1143660" y="3146869"/>
                </a:lnTo>
                <a:lnTo>
                  <a:pt x="1108163" y="3169805"/>
                </a:lnTo>
                <a:lnTo>
                  <a:pt x="1078560" y="3199904"/>
                </a:lnTo>
                <a:lnTo>
                  <a:pt x="1055979" y="3235972"/>
                </a:lnTo>
                <a:lnTo>
                  <a:pt x="1041603" y="3276879"/>
                </a:lnTo>
                <a:lnTo>
                  <a:pt x="1036548" y="3321431"/>
                </a:lnTo>
                <a:lnTo>
                  <a:pt x="1041603" y="3365982"/>
                </a:lnTo>
                <a:lnTo>
                  <a:pt x="1055979" y="3406876"/>
                </a:lnTo>
                <a:lnTo>
                  <a:pt x="1078560" y="3442957"/>
                </a:lnTo>
                <a:lnTo>
                  <a:pt x="1108163" y="3473056"/>
                </a:lnTo>
                <a:lnTo>
                  <a:pt x="1143660" y="3495992"/>
                </a:lnTo>
                <a:lnTo>
                  <a:pt x="1183906" y="3510610"/>
                </a:lnTo>
                <a:lnTo>
                  <a:pt x="1227747" y="3515741"/>
                </a:lnTo>
                <a:lnTo>
                  <a:pt x="1271587" y="3510610"/>
                </a:lnTo>
                <a:lnTo>
                  <a:pt x="1311833" y="3495992"/>
                </a:lnTo>
                <a:lnTo>
                  <a:pt x="1347343" y="3473056"/>
                </a:lnTo>
                <a:lnTo>
                  <a:pt x="1376946" y="3442957"/>
                </a:lnTo>
                <a:lnTo>
                  <a:pt x="1399514" y="3406876"/>
                </a:lnTo>
                <a:lnTo>
                  <a:pt x="1413903" y="3365982"/>
                </a:lnTo>
                <a:lnTo>
                  <a:pt x="1418945" y="3321431"/>
                </a:lnTo>
                <a:close/>
              </a:path>
              <a:path w="3973829" h="5307330">
                <a:moveTo>
                  <a:pt x="1624139" y="3898176"/>
                </a:moveTo>
                <a:lnTo>
                  <a:pt x="1619084" y="3853624"/>
                </a:lnTo>
                <a:lnTo>
                  <a:pt x="1604708" y="3812730"/>
                </a:lnTo>
                <a:lnTo>
                  <a:pt x="1582140" y="3776649"/>
                </a:lnTo>
                <a:lnTo>
                  <a:pt x="1552524" y="3746550"/>
                </a:lnTo>
                <a:lnTo>
                  <a:pt x="1517027" y="3723614"/>
                </a:lnTo>
                <a:lnTo>
                  <a:pt x="1476781" y="3708997"/>
                </a:lnTo>
                <a:lnTo>
                  <a:pt x="1432941" y="3703866"/>
                </a:lnTo>
                <a:lnTo>
                  <a:pt x="1389100" y="3708997"/>
                </a:lnTo>
                <a:lnTo>
                  <a:pt x="1348854" y="3723614"/>
                </a:lnTo>
                <a:lnTo>
                  <a:pt x="1313357" y="3746550"/>
                </a:lnTo>
                <a:lnTo>
                  <a:pt x="1283741" y="3776649"/>
                </a:lnTo>
                <a:lnTo>
                  <a:pt x="1261173" y="3812730"/>
                </a:lnTo>
                <a:lnTo>
                  <a:pt x="1246784" y="3853624"/>
                </a:lnTo>
                <a:lnTo>
                  <a:pt x="1241742" y="3898176"/>
                </a:lnTo>
                <a:lnTo>
                  <a:pt x="1246784" y="3942727"/>
                </a:lnTo>
                <a:lnTo>
                  <a:pt x="1261173" y="3983634"/>
                </a:lnTo>
                <a:lnTo>
                  <a:pt x="1283741" y="4019702"/>
                </a:lnTo>
                <a:lnTo>
                  <a:pt x="1313357" y="4049801"/>
                </a:lnTo>
                <a:lnTo>
                  <a:pt x="1348854" y="4072737"/>
                </a:lnTo>
                <a:lnTo>
                  <a:pt x="1389100" y="4087355"/>
                </a:lnTo>
                <a:lnTo>
                  <a:pt x="1432941" y="4092486"/>
                </a:lnTo>
                <a:lnTo>
                  <a:pt x="1476781" y="4087355"/>
                </a:lnTo>
                <a:lnTo>
                  <a:pt x="1517027" y="4072737"/>
                </a:lnTo>
                <a:lnTo>
                  <a:pt x="1552524" y="4049801"/>
                </a:lnTo>
                <a:lnTo>
                  <a:pt x="1582140" y="4019702"/>
                </a:lnTo>
                <a:lnTo>
                  <a:pt x="1604708" y="3983634"/>
                </a:lnTo>
                <a:lnTo>
                  <a:pt x="1619084" y="3942727"/>
                </a:lnTo>
                <a:lnTo>
                  <a:pt x="1624139" y="3898176"/>
                </a:lnTo>
                <a:close/>
              </a:path>
              <a:path w="3973829" h="5307330">
                <a:moveTo>
                  <a:pt x="1860181" y="2541765"/>
                </a:moveTo>
                <a:lnTo>
                  <a:pt x="1856193" y="2496591"/>
                </a:lnTo>
                <a:lnTo>
                  <a:pt x="1844713" y="2454059"/>
                </a:lnTo>
                <a:lnTo>
                  <a:pt x="1826412" y="2414905"/>
                </a:lnTo>
                <a:lnTo>
                  <a:pt x="1802015" y="2379827"/>
                </a:lnTo>
                <a:lnTo>
                  <a:pt x="1772208" y="2349538"/>
                </a:lnTo>
                <a:lnTo>
                  <a:pt x="1737690" y="2324735"/>
                </a:lnTo>
                <a:lnTo>
                  <a:pt x="1699158" y="2306142"/>
                </a:lnTo>
                <a:lnTo>
                  <a:pt x="1657324" y="2294471"/>
                </a:lnTo>
                <a:lnTo>
                  <a:pt x="1612861" y="2290419"/>
                </a:lnTo>
                <a:lnTo>
                  <a:pt x="1568411" y="2294471"/>
                </a:lnTo>
                <a:lnTo>
                  <a:pt x="1526565" y="2306142"/>
                </a:lnTo>
                <a:lnTo>
                  <a:pt x="1488033" y="2324735"/>
                </a:lnTo>
                <a:lnTo>
                  <a:pt x="1453515" y="2349538"/>
                </a:lnTo>
                <a:lnTo>
                  <a:pt x="1423708" y="2379827"/>
                </a:lnTo>
                <a:lnTo>
                  <a:pt x="1399311" y="2414905"/>
                </a:lnTo>
                <a:lnTo>
                  <a:pt x="1381023" y="2454059"/>
                </a:lnTo>
                <a:lnTo>
                  <a:pt x="1369529" y="2496591"/>
                </a:lnTo>
                <a:lnTo>
                  <a:pt x="1365542" y="2541765"/>
                </a:lnTo>
                <a:lnTo>
                  <a:pt x="1369529" y="2586939"/>
                </a:lnTo>
                <a:lnTo>
                  <a:pt x="1381023" y="2629471"/>
                </a:lnTo>
                <a:lnTo>
                  <a:pt x="1399311" y="2668625"/>
                </a:lnTo>
                <a:lnTo>
                  <a:pt x="1423708" y="2703703"/>
                </a:lnTo>
                <a:lnTo>
                  <a:pt x="1453515" y="2733992"/>
                </a:lnTo>
                <a:lnTo>
                  <a:pt x="1488033" y="2758795"/>
                </a:lnTo>
                <a:lnTo>
                  <a:pt x="1526565" y="2777388"/>
                </a:lnTo>
                <a:lnTo>
                  <a:pt x="1568411" y="2789059"/>
                </a:lnTo>
                <a:lnTo>
                  <a:pt x="1612861" y="2793111"/>
                </a:lnTo>
                <a:lnTo>
                  <a:pt x="1657324" y="2789059"/>
                </a:lnTo>
                <a:lnTo>
                  <a:pt x="1699158" y="2777388"/>
                </a:lnTo>
                <a:lnTo>
                  <a:pt x="1737690" y="2758795"/>
                </a:lnTo>
                <a:lnTo>
                  <a:pt x="1772208" y="2733992"/>
                </a:lnTo>
                <a:lnTo>
                  <a:pt x="1802015" y="2703703"/>
                </a:lnTo>
                <a:lnTo>
                  <a:pt x="1826412" y="2668625"/>
                </a:lnTo>
                <a:lnTo>
                  <a:pt x="1844713" y="2629471"/>
                </a:lnTo>
                <a:lnTo>
                  <a:pt x="1856193" y="2586939"/>
                </a:lnTo>
                <a:lnTo>
                  <a:pt x="1860181" y="2541765"/>
                </a:lnTo>
                <a:close/>
              </a:path>
              <a:path w="3973829" h="5307330">
                <a:moveTo>
                  <a:pt x="2167483" y="408241"/>
                </a:moveTo>
                <a:lnTo>
                  <a:pt x="2166924" y="335267"/>
                </a:lnTo>
                <a:lnTo>
                  <a:pt x="2162899" y="264515"/>
                </a:lnTo>
                <a:lnTo>
                  <a:pt x="2155672" y="196011"/>
                </a:lnTo>
                <a:lnTo>
                  <a:pt x="2145474" y="129794"/>
                </a:lnTo>
                <a:lnTo>
                  <a:pt x="2132596" y="65874"/>
                </a:lnTo>
                <a:lnTo>
                  <a:pt x="2117267" y="4292"/>
                </a:lnTo>
                <a:lnTo>
                  <a:pt x="2115997" y="12"/>
                </a:lnTo>
                <a:lnTo>
                  <a:pt x="1283462" y="12"/>
                </a:lnTo>
                <a:lnTo>
                  <a:pt x="1267079" y="24307"/>
                </a:lnTo>
                <a:lnTo>
                  <a:pt x="1257134" y="73621"/>
                </a:lnTo>
                <a:lnTo>
                  <a:pt x="1267079" y="122936"/>
                </a:lnTo>
                <a:lnTo>
                  <a:pt x="1294218" y="163195"/>
                </a:lnTo>
                <a:lnTo>
                  <a:pt x="1334477" y="190347"/>
                </a:lnTo>
                <a:lnTo>
                  <a:pt x="1383792" y="200304"/>
                </a:lnTo>
                <a:lnTo>
                  <a:pt x="1784172" y="200304"/>
                </a:lnTo>
                <a:lnTo>
                  <a:pt x="1791182" y="247345"/>
                </a:lnTo>
                <a:lnTo>
                  <a:pt x="1796199" y="295897"/>
                </a:lnTo>
                <a:lnTo>
                  <a:pt x="1799069" y="345973"/>
                </a:lnTo>
                <a:lnTo>
                  <a:pt x="1799653" y="397535"/>
                </a:lnTo>
                <a:lnTo>
                  <a:pt x="1797761" y="450596"/>
                </a:lnTo>
                <a:lnTo>
                  <a:pt x="1793240" y="505142"/>
                </a:lnTo>
                <a:lnTo>
                  <a:pt x="1786153" y="503910"/>
                </a:lnTo>
                <a:lnTo>
                  <a:pt x="1778977" y="502945"/>
                </a:lnTo>
                <a:lnTo>
                  <a:pt x="749782" y="502945"/>
                </a:lnTo>
                <a:lnTo>
                  <a:pt x="700468" y="512902"/>
                </a:lnTo>
                <a:lnTo>
                  <a:pt x="660209" y="540054"/>
                </a:lnTo>
                <a:lnTo>
                  <a:pt x="633069" y="580326"/>
                </a:lnTo>
                <a:lnTo>
                  <a:pt x="623125" y="629627"/>
                </a:lnTo>
                <a:lnTo>
                  <a:pt x="633069" y="678942"/>
                </a:lnTo>
                <a:lnTo>
                  <a:pt x="660209" y="719213"/>
                </a:lnTo>
                <a:lnTo>
                  <a:pt x="700468" y="746366"/>
                </a:lnTo>
                <a:lnTo>
                  <a:pt x="749782" y="756323"/>
                </a:lnTo>
                <a:lnTo>
                  <a:pt x="1732711" y="756323"/>
                </a:lnTo>
                <a:lnTo>
                  <a:pt x="1714741" y="802106"/>
                </a:lnTo>
                <a:lnTo>
                  <a:pt x="1694802" y="847928"/>
                </a:lnTo>
                <a:lnTo>
                  <a:pt x="1672983" y="893800"/>
                </a:lnTo>
                <a:lnTo>
                  <a:pt x="1649349" y="939711"/>
                </a:lnTo>
                <a:lnTo>
                  <a:pt x="1623949" y="985634"/>
                </a:lnTo>
                <a:lnTo>
                  <a:pt x="1596847" y="1031557"/>
                </a:lnTo>
                <a:lnTo>
                  <a:pt x="1568132" y="1077493"/>
                </a:lnTo>
                <a:lnTo>
                  <a:pt x="805383" y="1077493"/>
                </a:lnTo>
                <a:lnTo>
                  <a:pt x="756069" y="1087450"/>
                </a:lnTo>
                <a:lnTo>
                  <a:pt x="715810" y="1114602"/>
                </a:lnTo>
                <a:lnTo>
                  <a:pt x="688670" y="1154874"/>
                </a:lnTo>
                <a:lnTo>
                  <a:pt x="678726" y="1204175"/>
                </a:lnTo>
                <a:lnTo>
                  <a:pt x="688670" y="1253490"/>
                </a:lnTo>
                <a:lnTo>
                  <a:pt x="715810" y="1293749"/>
                </a:lnTo>
                <a:lnTo>
                  <a:pt x="756069" y="1320901"/>
                </a:lnTo>
                <a:lnTo>
                  <a:pt x="805383" y="1330858"/>
                </a:lnTo>
                <a:lnTo>
                  <a:pt x="1383538" y="1330858"/>
                </a:lnTo>
                <a:lnTo>
                  <a:pt x="1352664" y="1368552"/>
                </a:lnTo>
                <a:lnTo>
                  <a:pt x="1321041" y="1406194"/>
                </a:lnTo>
                <a:lnTo>
                  <a:pt x="1288719" y="1443786"/>
                </a:lnTo>
                <a:lnTo>
                  <a:pt x="1255737" y="1481302"/>
                </a:lnTo>
                <a:lnTo>
                  <a:pt x="1222133" y="1518742"/>
                </a:lnTo>
                <a:lnTo>
                  <a:pt x="1187945" y="1556105"/>
                </a:lnTo>
                <a:lnTo>
                  <a:pt x="1153210" y="1593380"/>
                </a:lnTo>
                <a:lnTo>
                  <a:pt x="1117981" y="1630578"/>
                </a:lnTo>
                <a:lnTo>
                  <a:pt x="1082281" y="1667675"/>
                </a:lnTo>
                <a:lnTo>
                  <a:pt x="1046162" y="1704657"/>
                </a:lnTo>
                <a:lnTo>
                  <a:pt x="1009662" y="1741538"/>
                </a:lnTo>
                <a:lnTo>
                  <a:pt x="972807" y="1778304"/>
                </a:lnTo>
                <a:lnTo>
                  <a:pt x="935659" y="1814957"/>
                </a:lnTo>
                <a:lnTo>
                  <a:pt x="898245" y="1851469"/>
                </a:lnTo>
                <a:lnTo>
                  <a:pt x="822794" y="1924113"/>
                </a:lnTo>
                <a:lnTo>
                  <a:pt x="708621" y="2031961"/>
                </a:lnTo>
                <a:lnTo>
                  <a:pt x="351548" y="2362314"/>
                </a:lnTo>
                <a:lnTo>
                  <a:pt x="183464" y="2519527"/>
                </a:lnTo>
                <a:lnTo>
                  <a:pt x="101993" y="2597442"/>
                </a:lnTo>
                <a:lnTo>
                  <a:pt x="62052" y="2636240"/>
                </a:lnTo>
                <a:lnTo>
                  <a:pt x="22707" y="2674924"/>
                </a:lnTo>
                <a:lnTo>
                  <a:pt x="0" y="2697581"/>
                </a:lnTo>
                <a:lnTo>
                  <a:pt x="0" y="3450831"/>
                </a:lnTo>
                <a:lnTo>
                  <a:pt x="701814" y="3450831"/>
                </a:lnTo>
                <a:lnTo>
                  <a:pt x="751128" y="3440874"/>
                </a:lnTo>
                <a:lnTo>
                  <a:pt x="791387" y="3413722"/>
                </a:lnTo>
                <a:lnTo>
                  <a:pt x="818527" y="3373450"/>
                </a:lnTo>
                <a:lnTo>
                  <a:pt x="828471" y="3324148"/>
                </a:lnTo>
                <a:lnTo>
                  <a:pt x="818527" y="3274834"/>
                </a:lnTo>
                <a:lnTo>
                  <a:pt x="791387" y="3234563"/>
                </a:lnTo>
                <a:lnTo>
                  <a:pt x="751128" y="3207423"/>
                </a:lnTo>
                <a:lnTo>
                  <a:pt x="701814" y="3197466"/>
                </a:lnTo>
                <a:lnTo>
                  <a:pt x="32537" y="3197466"/>
                </a:lnTo>
                <a:lnTo>
                  <a:pt x="62763" y="3163379"/>
                </a:lnTo>
                <a:lnTo>
                  <a:pt x="93967" y="3129026"/>
                </a:lnTo>
                <a:lnTo>
                  <a:pt x="126098" y="3094444"/>
                </a:lnTo>
                <a:lnTo>
                  <a:pt x="159143" y="3059607"/>
                </a:lnTo>
                <a:lnTo>
                  <a:pt x="193014" y="3024543"/>
                </a:lnTo>
                <a:lnTo>
                  <a:pt x="227698" y="2989262"/>
                </a:lnTo>
                <a:lnTo>
                  <a:pt x="263118" y="2953753"/>
                </a:lnTo>
                <a:lnTo>
                  <a:pt x="299250" y="2918041"/>
                </a:lnTo>
                <a:lnTo>
                  <a:pt x="336042" y="2882125"/>
                </a:lnTo>
                <a:lnTo>
                  <a:pt x="411391" y="2809697"/>
                </a:lnTo>
                <a:lnTo>
                  <a:pt x="528180" y="2699715"/>
                </a:lnTo>
                <a:lnTo>
                  <a:pt x="967320" y="2293175"/>
                </a:lnTo>
                <a:lnTo>
                  <a:pt x="1084859" y="2182253"/>
                </a:lnTo>
                <a:lnTo>
                  <a:pt x="1162202" y="2107908"/>
                </a:lnTo>
                <a:lnTo>
                  <a:pt x="1200480" y="2070620"/>
                </a:lnTo>
                <a:lnTo>
                  <a:pt x="1238440" y="2033244"/>
                </a:lnTo>
                <a:lnTo>
                  <a:pt x="1276083" y="1995766"/>
                </a:lnTo>
                <a:lnTo>
                  <a:pt x="1313357" y="1958213"/>
                </a:lnTo>
                <a:lnTo>
                  <a:pt x="1350238" y="1920544"/>
                </a:lnTo>
                <a:lnTo>
                  <a:pt x="1386687" y="1882787"/>
                </a:lnTo>
                <a:lnTo>
                  <a:pt x="1422692" y="1844929"/>
                </a:lnTo>
                <a:lnTo>
                  <a:pt x="1458214" y="1806968"/>
                </a:lnTo>
                <a:lnTo>
                  <a:pt x="1493227" y="1768894"/>
                </a:lnTo>
                <a:lnTo>
                  <a:pt x="1527695" y="1730705"/>
                </a:lnTo>
                <a:lnTo>
                  <a:pt x="1561579" y="1692402"/>
                </a:lnTo>
                <a:lnTo>
                  <a:pt x="1594878" y="1653984"/>
                </a:lnTo>
                <a:lnTo>
                  <a:pt x="1627530" y="1615440"/>
                </a:lnTo>
                <a:lnTo>
                  <a:pt x="1659534" y="1576781"/>
                </a:lnTo>
                <a:lnTo>
                  <a:pt x="1690839" y="1537982"/>
                </a:lnTo>
                <a:lnTo>
                  <a:pt x="1721421" y="1499057"/>
                </a:lnTo>
                <a:lnTo>
                  <a:pt x="1751253" y="1460004"/>
                </a:lnTo>
                <a:lnTo>
                  <a:pt x="1780311" y="1420812"/>
                </a:lnTo>
                <a:lnTo>
                  <a:pt x="1808543" y="1381480"/>
                </a:lnTo>
                <a:lnTo>
                  <a:pt x="1835950" y="1342009"/>
                </a:lnTo>
                <a:lnTo>
                  <a:pt x="1862480" y="1302385"/>
                </a:lnTo>
                <a:lnTo>
                  <a:pt x="1888109" y="1262621"/>
                </a:lnTo>
                <a:lnTo>
                  <a:pt x="1912810" y="1222692"/>
                </a:lnTo>
                <a:lnTo>
                  <a:pt x="1936546" y="1182624"/>
                </a:lnTo>
                <a:lnTo>
                  <a:pt x="1959292" y="1142390"/>
                </a:lnTo>
                <a:lnTo>
                  <a:pt x="1981022" y="1101991"/>
                </a:lnTo>
                <a:lnTo>
                  <a:pt x="2001710" y="1061427"/>
                </a:lnTo>
                <a:lnTo>
                  <a:pt x="2021306" y="1020699"/>
                </a:lnTo>
                <a:lnTo>
                  <a:pt x="2039797" y="979805"/>
                </a:lnTo>
                <a:lnTo>
                  <a:pt x="2057158" y="938733"/>
                </a:lnTo>
                <a:lnTo>
                  <a:pt x="2073338" y="897483"/>
                </a:lnTo>
                <a:lnTo>
                  <a:pt x="2088324" y="856056"/>
                </a:lnTo>
                <a:lnTo>
                  <a:pt x="2102078" y="814438"/>
                </a:lnTo>
                <a:lnTo>
                  <a:pt x="2114588" y="772642"/>
                </a:lnTo>
                <a:lnTo>
                  <a:pt x="2125789" y="730656"/>
                </a:lnTo>
                <a:lnTo>
                  <a:pt x="2135682" y="688479"/>
                </a:lnTo>
                <a:lnTo>
                  <a:pt x="2144230" y="646099"/>
                </a:lnTo>
                <a:lnTo>
                  <a:pt x="2151405" y="603529"/>
                </a:lnTo>
                <a:lnTo>
                  <a:pt x="2157158" y="560755"/>
                </a:lnTo>
                <a:lnTo>
                  <a:pt x="2162302" y="505142"/>
                </a:lnTo>
                <a:lnTo>
                  <a:pt x="2164308" y="483412"/>
                </a:lnTo>
                <a:lnTo>
                  <a:pt x="2167483" y="408241"/>
                </a:lnTo>
                <a:close/>
              </a:path>
              <a:path w="3973829" h="5307330">
                <a:moveTo>
                  <a:pt x="2815323" y="1929345"/>
                </a:moveTo>
                <a:lnTo>
                  <a:pt x="2811945" y="1882635"/>
                </a:lnTo>
                <a:lnTo>
                  <a:pt x="2802153" y="1838058"/>
                </a:lnTo>
                <a:lnTo>
                  <a:pt x="2786405" y="1796097"/>
                </a:lnTo>
                <a:lnTo>
                  <a:pt x="2765209" y="1757235"/>
                </a:lnTo>
                <a:lnTo>
                  <a:pt x="2739021" y="1721967"/>
                </a:lnTo>
                <a:lnTo>
                  <a:pt x="2708338" y="1690789"/>
                </a:lnTo>
                <a:lnTo>
                  <a:pt x="2673642" y="1664182"/>
                </a:lnTo>
                <a:lnTo>
                  <a:pt x="2635402" y="1642643"/>
                </a:lnTo>
                <a:lnTo>
                  <a:pt x="2594114" y="1626641"/>
                </a:lnTo>
                <a:lnTo>
                  <a:pt x="2550249" y="1616684"/>
                </a:lnTo>
                <a:lnTo>
                  <a:pt x="2504287" y="1613255"/>
                </a:lnTo>
                <a:lnTo>
                  <a:pt x="2458326" y="1616684"/>
                </a:lnTo>
                <a:lnTo>
                  <a:pt x="2414447" y="1626641"/>
                </a:lnTo>
                <a:lnTo>
                  <a:pt x="2373160" y="1642643"/>
                </a:lnTo>
                <a:lnTo>
                  <a:pt x="2334920" y="1664182"/>
                </a:lnTo>
                <a:lnTo>
                  <a:pt x="2300224" y="1690789"/>
                </a:lnTo>
                <a:lnTo>
                  <a:pt x="2269540" y="1721967"/>
                </a:lnTo>
                <a:lnTo>
                  <a:pt x="2243353" y="1757235"/>
                </a:lnTo>
                <a:lnTo>
                  <a:pt x="2222157" y="1796097"/>
                </a:lnTo>
                <a:lnTo>
                  <a:pt x="2206421" y="1838058"/>
                </a:lnTo>
                <a:lnTo>
                  <a:pt x="2196617" y="1882635"/>
                </a:lnTo>
                <a:lnTo>
                  <a:pt x="2193252" y="1929345"/>
                </a:lnTo>
                <a:lnTo>
                  <a:pt x="2196617" y="1976056"/>
                </a:lnTo>
                <a:lnTo>
                  <a:pt x="2206421" y="2020646"/>
                </a:lnTo>
                <a:lnTo>
                  <a:pt x="2222157" y="2062607"/>
                </a:lnTo>
                <a:lnTo>
                  <a:pt x="2243353" y="2101469"/>
                </a:lnTo>
                <a:lnTo>
                  <a:pt x="2269540" y="2136724"/>
                </a:lnTo>
                <a:lnTo>
                  <a:pt x="2300224" y="2167915"/>
                </a:lnTo>
                <a:lnTo>
                  <a:pt x="2334920" y="2194522"/>
                </a:lnTo>
                <a:lnTo>
                  <a:pt x="2373160" y="2216061"/>
                </a:lnTo>
                <a:lnTo>
                  <a:pt x="2414447" y="2232063"/>
                </a:lnTo>
                <a:lnTo>
                  <a:pt x="2458326" y="2242020"/>
                </a:lnTo>
                <a:lnTo>
                  <a:pt x="2504287" y="2245436"/>
                </a:lnTo>
                <a:lnTo>
                  <a:pt x="2550249" y="2242020"/>
                </a:lnTo>
                <a:lnTo>
                  <a:pt x="2594114" y="2232063"/>
                </a:lnTo>
                <a:lnTo>
                  <a:pt x="2635402" y="2216061"/>
                </a:lnTo>
                <a:lnTo>
                  <a:pt x="2673642" y="2194522"/>
                </a:lnTo>
                <a:lnTo>
                  <a:pt x="2708338" y="2167915"/>
                </a:lnTo>
                <a:lnTo>
                  <a:pt x="2739021" y="2136724"/>
                </a:lnTo>
                <a:lnTo>
                  <a:pt x="2765209" y="2101469"/>
                </a:lnTo>
                <a:lnTo>
                  <a:pt x="2786405" y="2062607"/>
                </a:lnTo>
                <a:lnTo>
                  <a:pt x="2802153" y="2020646"/>
                </a:lnTo>
                <a:lnTo>
                  <a:pt x="2811945" y="1976056"/>
                </a:lnTo>
                <a:lnTo>
                  <a:pt x="2815323" y="1929345"/>
                </a:lnTo>
                <a:close/>
              </a:path>
              <a:path w="3973829" h="5307330">
                <a:moveTo>
                  <a:pt x="2817076" y="3135579"/>
                </a:moveTo>
                <a:lnTo>
                  <a:pt x="2814421" y="3088868"/>
                </a:lnTo>
                <a:lnTo>
                  <a:pt x="2806662" y="3043745"/>
                </a:lnTo>
                <a:lnTo>
                  <a:pt x="2794089" y="3000489"/>
                </a:lnTo>
                <a:lnTo>
                  <a:pt x="2777007" y="2959430"/>
                </a:lnTo>
                <a:lnTo>
                  <a:pt x="2755709" y="2920847"/>
                </a:lnTo>
                <a:lnTo>
                  <a:pt x="2730487" y="2885059"/>
                </a:lnTo>
                <a:lnTo>
                  <a:pt x="2701633" y="2852343"/>
                </a:lnTo>
                <a:lnTo>
                  <a:pt x="2669438" y="2823019"/>
                </a:lnTo>
                <a:lnTo>
                  <a:pt x="2634221" y="2797391"/>
                </a:lnTo>
                <a:lnTo>
                  <a:pt x="2596261" y="2775737"/>
                </a:lnTo>
                <a:lnTo>
                  <a:pt x="2555849" y="2758376"/>
                </a:lnTo>
                <a:lnTo>
                  <a:pt x="2513304" y="2745600"/>
                </a:lnTo>
                <a:lnTo>
                  <a:pt x="2468892" y="2737726"/>
                </a:lnTo>
                <a:lnTo>
                  <a:pt x="2422931" y="2735021"/>
                </a:lnTo>
                <a:lnTo>
                  <a:pt x="2376957" y="2737726"/>
                </a:lnTo>
                <a:lnTo>
                  <a:pt x="2332558" y="2745600"/>
                </a:lnTo>
                <a:lnTo>
                  <a:pt x="2290000" y="2758376"/>
                </a:lnTo>
                <a:lnTo>
                  <a:pt x="2249589" y="2775737"/>
                </a:lnTo>
                <a:lnTo>
                  <a:pt x="2211628" y="2797391"/>
                </a:lnTo>
                <a:lnTo>
                  <a:pt x="2176411" y="2823019"/>
                </a:lnTo>
                <a:lnTo>
                  <a:pt x="2144230" y="2852343"/>
                </a:lnTo>
                <a:lnTo>
                  <a:pt x="2115375" y="2885059"/>
                </a:lnTo>
                <a:lnTo>
                  <a:pt x="2090153" y="2920847"/>
                </a:lnTo>
                <a:lnTo>
                  <a:pt x="2068842" y="2959430"/>
                </a:lnTo>
                <a:lnTo>
                  <a:pt x="2051761" y="3000489"/>
                </a:lnTo>
                <a:lnTo>
                  <a:pt x="2039188" y="3043745"/>
                </a:lnTo>
                <a:lnTo>
                  <a:pt x="2031428" y="3088868"/>
                </a:lnTo>
                <a:lnTo>
                  <a:pt x="2028786" y="3135579"/>
                </a:lnTo>
                <a:lnTo>
                  <a:pt x="2031428" y="3182302"/>
                </a:lnTo>
                <a:lnTo>
                  <a:pt x="2039188" y="3227425"/>
                </a:lnTo>
                <a:lnTo>
                  <a:pt x="2051761" y="3270681"/>
                </a:lnTo>
                <a:lnTo>
                  <a:pt x="2068842" y="3311741"/>
                </a:lnTo>
                <a:lnTo>
                  <a:pt x="2090153" y="3350323"/>
                </a:lnTo>
                <a:lnTo>
                  <a:pt x="2115375" y="3386112"/>
                </a:lnTo>
                <a:lnTo>
                  <a:pt x="2144230" y="3418827"/>
                </a:lnTo>
                <a:lnTo>
                  <a:pt x="2176411" y="3448139"/>
                </a:lnTo>
                <a:lnTo>
                  <a:pt x="2211628" y="3473780"/>
                </a:lnTo>
                <a:lnTo>
                  <a:pt x="2249589" y="3495433"/>
                </a:lnTo>
                <a:lnTo>
                  <a:pt x="2290000" y="3512794"/>
                </a:lnTo>
                <a:lnTo>
                  <a:pt x="2332558" y="3525558"/>
                </a:lnTo>
                <a:lnTo>
                  <a:pt x="2376957" y="3533444"/>
                </a:lnTo>
                <a:lnTo>
                  <a:pt x="2422931" y="3536137"/>
                </a:lnTo>
                <a:lnTo>
                  <a:pt x="2468892" y="3533444"/>
                </a:lnTo>
                <a:lnTo>
                  <a:pt x="2513304" y="3525558"/>
                </a:lnTo>
                <a:lnTo>
                  <a:pt x="2555849" y="3512794"/>
                </a:lnTo>
                <a:lnTo>
                  <a:pt x="2596261" y="3495433"/>
                </a:lnTo>
                <a:lnTo>
                  <a:pt x="2634221" y="3473780"/>
                </a:lnTo>
                <a:lnTo>
                  <a:pt x="2669438" y="3448139"/>
                </a:lnTo>
                <a:lnTo>
                  <a:pt x="2701633" y="3418827"/>
                </a:lnTo>
                <a:lnTo>
                  <a:pt x="2730487" y="3386112"/>
                </a:lnTo>
                <a:lnTo>
                  <a:pt x="2755709" y="3350323"/>
                </a:lnTo>
                <a:lnTo>
                  <a:pt x="2777007" y="3311741"/>
                </a:lnTo>
                <a:lnTo>
                  <a:pt x="2794089" y="3270681"/>
                </a:lnTo>
                <a:lnTo>
                  <a:pt x="2806662" y="3227425"/>
                </a:lnTo>
                <a:lnTo>
                  <a:pt x="2814421" y="3182302"/>
                </a:lnTo>
                <a:lnTo>
                  <a:pt x="2817076" y="3135579"/>
                </a:lnTo>
                <a:close/>
              </a:path>
              <a:path w="3973829" h="5307330">
                <a:moveTo>
                  <a:pt x="3001899" y="902957"/>
                </a:moveTo>
                <a:lnTo>
                  <a:pt x="2997568" y="853782"/>
                </a:lnTo>
                <a:lnTo>
                  <a:pt x="2985058" y="807504"/>
                </a:lnTo>
                <a:lnTo>
                  <a:pt x="2965145" y="764882"/>
                </a:lnTo>
                <a:lnTo>
                  <a:pt x="2938589" y="726706"/>
                </a:lnTo>
                <a:lnTo>
                  <a:pt x="2906141" y="693737"/>
                </a:lnTo>
                <a:lnTo>
                  <a:pt x="2868574" y="666750"/>
                </a:lnTo>
                <a:lnTo>
                  <a:pt x="2826639" y="646518"/>
                </a:lnTo>
                <a:lnTo>
                  <a:pt x="2781096" y="633806"/>
                </a:lnTo>
                <a:lnTo>
                  <a:pt x="2732709" y="629399"/>
                </a:lnTo>
                <a:lnTo>
                  <a:pt x="2684322" y="633806"/>
                </a:lnTo>
                <a:lnTo>
                  <a:pt x="2638780" y="646518"/>
                </a:lnTo>
                <a:lnTo>
                  <a:pt x="2596845" y="666750"/>
                </a:lnTo>
                <a:lnTo>
                  <a:pt x="2559278" y="693737"/>
                </a:lnTo>
                <a:lnTo>
                  <a:pt x="2526830" y="726706"/>
                </a:lnTo>
                <a:lnTo>
                  <a:pt x="2500274" y="764882"/>
                </a:lnTo>
                <a:lnTo>
                  <a:pt x="2480360" y="807504"/>
                </a:lnTo>
                <a:lnTo>
                  <a:pt x="2467864" y="853782"/>
                </a:lnTo>
                <a:lnTo>
                  <a:pt x="2463520" y="902957"/>
                </a:lnTo>
                <a:lnTo>
                  <a:pt x="2467864" y="952131"/>
                </a:lnTo>
                <a:lnTo>
                  <a:pt x="2480360" y="998410"/>
                </a:lnTo>
                <a:lnTo>
                  <a:pt x="2500274" y="1041031"/>
                </a:lnTo>
                <a:lnTo>
                  <a:pt x="2526830" y="1079220"/>
                </a:lnTo>
                <a:lnTo>
                  <a:pt x="2559278" y="1112189"/>
                </a:lnTo>
                <a:lnTo>
                  <a:pt x="2596845" y="1139177"/>
                </a:lnTo>
                <a:lnTo>
                  <a:pt x="2638780" y="1159408"/>
                </a:lnTo>
                <a:lnTo>
                  <a:pt x="2684322" y="1172121"/>
                </a:lnTo>
                <a:lnTo>
                  <a:pt x="2732709" y="1176528"/>
                </a:lnTo>
                <a:lnTo>
                  <a:pt x="2781096" y="1172121"/>
                </a:lnTo>
                <a:lnTo>
                  <a:pt x="2826639" y="1159408"/>
                </a:lnTo>
                <a:lnTo>
                  <a:pt x="2868574" y="1139177"/>
                </a:lnTo>
                <a:lnTo>
                  <a:pt x="2906141" y="1112189"/>
                </a:lnTo>
                <a:lnTo>
                  <a:pt x="2938589" y="1079220"/>
                </a:lnTo>
                <a:lnTo>
                  <a:pt x="2965145" y="1041031"/>
                </a:lnTo>
                <a:lnTo>
                  <a:pt x="2985058" y="998410"/>
                </a:lnTo>
                <a:lnTo>
                  <a:pt x="2997568" y="952131"/>
                </a:lnTo>
                <a:lnTo>
                  <a:pt x="3001899" y="902957"/>
                </a:lnTo>
                <a:close/>
              </a:path>
              <a:path w="3973829" h="5307330">
                <a:moveTo>
                  <a:pt x="3293262" y="0"/>
                </a:moveTo>
                <a:lnTo>
                  <a:pt x="2712770" y="0"/>
                </a:lnTo>
                <a:lnTo>
                  <a:pt x="2722854" y="15176"/>
                </a:lnTo>
                <a:lnTo>
                  <a:pt x="2752775" y="49720"/>
                </a:lnTo>
                <a:lnTo>
                  <a:pt x="2786761" y="80124"/>
                </a:lnTo>
                <a:lnTo>
                  <a:pt x="2824403" y="105956"/>
                </a:lnTo>
                <a:lnTo>
                  <a:pt x="2865259" y="126796"/>
                </a:lnTo>
                <a:lnTo>
                  <a:pt x="2908935" y="142214"/>
                </a:lnTo>
                <a:lnTo>
                  <a:pt x="2954998" y="151777"/>
                </a:lnTo>
                <a:lnTo>
                  <a:pt x="3003016" y="155054"/>
                </a:lnTo>
                <a:lnTo>
                  <a:pt x="3051035" y="151777"/>
                </a:lnTo>
                <a:lnTo>
                  <a:pt x="3097098" y="142214"/>
                </a:lnTo>
                <a:lnTo>
                  <a:pt x="3140773" y="126796"/>
                </a:lnTo>
                <a:lnTo>
                  <a:pt x="3181642" y="105956"/>
                </a:lnTo>
                <a:lnTo>
                  <a:pt x="3219272" y="80124"/>
                </a:lnTo>
                <a:lnTo>
                  <a:pt x="3253257" y="49720"/>
                </a:lnTo>
                <a:lnTo>
                  <a:pt x="3283178" y="15176"/>
                </a:lnTo>
                <a:lnTo>
                  <a:pt x="3293262" y="0"/>
                </a:lnTo>
                <a:close/>
              </a:path>
              <a:path w="3973829" h="5307330">
                <a:moveTo>
                  <a:pt x="3973512" y="1706270"/>
                </a:moveTo>
                <a:lnTo>
                  <a:pt x="3970858" y="1659585"/>
                </a:lnTo>
                <a:lnTo>
                  <a:pt x="3963111" y="1614474"/>
                </a:lnTo>
                <a:lnTo>
                  <a:pt x="3950551" y="1571244"/>
                </a:lnTo>
                <a:lnTo>
                  <a:pt x="3933469" y="1530210"/>
                </a:lnTo>
                <a:lnTo>
                  <a:pt x="3912184" y="1491640"/>
                </a:lnTo>
                <a:lnTo>
                  <a:pt x="3886962" y="1455864"/>
                </a:lnTo>
                <a:lnTo>
                  <a:pt x="3858133" y="1423174"/>
                </a:lnTo>
                <a:lnTo>
                  <a:pt x="3825964" y="1393863"/>
                </a:lnTo>
                <a:lnTo>
                  <a:pt x="3790759" y="1368247"/>
                </a:lnTo>
                <a:lnTo>
                  <a:pt x="3752812" y="1346606"/>
                </a:lnTo>
                <a:lnTo>
                  <a:pt x="3712426" y="1329245"/>
                </a:lnTo>
                <a:lnTo>
                  <a:pt x="3669893" y="1316482"/>
                </a:lnTo>
                <a:lnTo>
                  <a:pt x="3625507" y="1308608"/>
                </a:lnTo>
                <a:lnTo>
                  <a:pt x="3579558" y="1305902"/>
                </a:lnTo>
                <a:lnTo>
                  <a:pt x="3533610" y="1308608"/>
                </a:lnTo>
                <a:lnTo>
                  <a:pt x="3489223" y="1316482"/>
                </a:lnTo>
                <a:lnTo>
                  <a:pt x="3446691" y="1329245"/>
                </a:lnTo>
                <a:lnTo>
                  <a:pt x="3406305" y="1346606"/>
                </a:lnTo>
                <a:lnTo>
                  <a:pt x="3368370" y="1368247"/>
                </a:lnTo>
                <a:lnTo>
                  <a:pt x="3333165" y="1393863"/>
                </a:lnTo>
                <a:lnTo>
                  <a:pt x="3300996" y="1423174"/>
                </a:lnTo>
                <a:lnTo>
                  <a:pt x="3272155" y="1455864"/>
                </a:lnTo>
                <a:lnTo>
                  <a:pt x="3246945" y="1491640"/>
                </a:lnTo>
                <a:lnTo>
                  <a:pt x="3225647" y="1530210"/>
                </a:lnTo>
                <a:lnTo>
                  <a:pt x="3208578" y="1571244"/>
                </a:lnTo>
                <a:lnTo>
                  <a:pt x="3196005" y="1614474"/>
                </a:lnTo>
                <a:lnTo>
                  <a:pt x="3188258" y="1659585"/>
                </a:lnTo>
                <a:lnTo>
                  <a:pt x="3185604" y="1706270"/>
                </a:lnTo>
                <a:lnTo>
                  <a:pt x="3188258" y="1752968"/>
                </a:lnTo>
                <a:lnTo>
                  <a:pt x="3196005" y="1798078"/>
                </a:lnTo>
                <a:lnTo>
                  <a:pt x="3208578" y="1841296"/>
                </a:lnTo>
                <a:lnTo>
                  <a:pt x="3225647" y="1882343"/>
                </a:lnTo>
                <a:lnTo>
                  <a:pt x="3246945" y="1920900"/>
                </a:lnTo>
                <a:lnTo>
                  <a:pt x="3272155" y="1956676"/>
                </a:lnTo>
                <a:lnTo>
                  <a:pt x="3300996" y="1989366"/>
                </a:lnTo>
                <a:lnTo>
                  <a:pt x="3333165" y="2018677"/>
                </a:lnTo>
                <a:lnTo>
                  <a:pt x="3368370" y="2044306"/>
                </a:lnTo>
                <a:lnTo>
                  <a:pt x="3406305" y="2065934"/>
                </a:lnTo>
                <a:lnTo>
                  <a:pt x="3446691" y="2083295"/>
                </a:lnTo>
                <a:lnTo>
                  <a:pt x="3489223" y="2096058"/>
                </a:lnTo>
                <a:lnTo>
                  <a:pt x="3533610" y="2103932"/>
                </a:lnTo>
                <a:lnTo>
                  <a:pt x="3579558" y="2106625"/>
                </a:lnTo>
                <a:lnTo>
                  <a:pt x="3625507" y="2103932"/>
                </a:lnTo>
                <a:lnTo>
                  <a:pt x="3669893" y="2096058"/>
                </a:lnTo>
                <a:lnTo>
                  <a:pt x="3712426" y="2083295"/>
                </a:lnTo>
                <a:lnTo>
                  <a:pt x="3752812" y="2065934"/>
                </a:lnTo>
                <a:lnTo>
                  <a:pt x="3790759" y="2044306"/>
                </a:lnTo>
                <a:lnTo>
                  <a:pt x="3825964" y="2018677"/>
                </a:lnTo>
                <a:lnTo>
                  <a:pt x="3858133" y="1989366"/>
                </a:lnTo>
                <a:lnTo>
                  <a:pt x="3886962" y="1956676"/>
                </a:lnTo>
                <a:lnTo>
                  <a:pt x="3912184" y="1920900"/>
                </a:lnTo>
                <a:lnTo>
                  <a:pt x="3933469" y="1882343"/>
                </a:lnTo>
                <a:lnTo>
                  <a:pt x="3950551" y="1841296"/>
                </a:lnTo>
                <a:lnTo>
                  <a:pt x="3963111" y="1798078"/>
                </a:lnTo>
                <a:lnTo>
                  <a:pt x="3970858" y="1752968"/>
                </a:lnTo>
                <a:lnTo>
                  <a:pt x="3973512" y="170627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2042757" y="1766139"/>
            <a:ext cx="9282430" cy="3337640"/>
          </a:xfrm>
        </p:spPr>
        <p:txBody>
          <a:bodyPr>
            <a:norm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049107" y="476581"/>
            <a:ext cx="9282430" cy="752109"/>
          </a:xfr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tx2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3C1C7D2-8ED7-565E-4663-883D463CCEC2}"/>
              </a:ext>
            </a:extLst>
          </p:cNvPr>
          <p:cNvGrpSpPr/>
          <p:nvPr userDrawn="1"/>
        </p:nvGrpSpPr>
        <p:grpSpPr>
          <a:xfrm>
            <a:off x="9738785" y="5200448"/>
            <a:ext cx="2447458" cy="1655479"/>
            <a:chOff x="9738785" y="5200448"/>
            <a:chExt cx="2447458" cy="1655479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98C71A34-944C-2B51-8D33-55FE94CDC0ED}"/>
                </a:ext>
              </a:extLst>
            </p:cNvPr>
            <p:cNvSpPr/>
            <p:nvPr/>
          </p:nvSpPr>
          <p:spPr>
            <a:xfrm>
              <a:off x="11776260" y="5200448"/>
              <a:ext cx="409983" cy="1655479"/>
            </a:xfrm>
            <a:custGeom>
              <a:avLst/>
              <a:gdLst/>
              <a:ahLst/>
              <a:cxnLst/>
              <a:rect l="l" t="t" r="r" b="b"/>
              <a:pathLst>
                <a:path w="452119" h="1825625">
                  <a:moveTo>
                    <a:pt x="451948" y="0"/>
                  </a:moveTo>
                  <a:lnTo>
                    <a:pt x="423684" y="19055"/>
                  </a:lnTo>
                  <a:lnTo>
                    <a:pt x="396532" y="59323"/>
                  </a:lnTo>
                  <a:lnTo>
                    <a:pt x="386575" y="108633"/>
                  </a:lnTo>
                  <a:lnTo>
                    <a:pt x="396532" y="157938"/>
                  </a:lnTo>
                  <a:lnTo>
                    <a:pt x="423684" y="198206"/>
                  </a:lnTo>
                  <a:lnTo>
                    <a:pt x="451948" y="217264"/>
                  </a:lnTo>
                  <a:lnTo>
                    <a:pt x="451948" y="0"/>
                  </a:lnTo>
                  <a:close/>
                </a:path>
                <a:path w="452119" h="1825625">
                  <a:moveTo>
                    <a:pt x="451948" y="537956"/>
                  </a:moveTo>
                  <a:lnTo>
                    <a:pt x="126682" y="537956"/>
                  </a:lnTo>
                  <a:lnTo>
                    <a:pt x="77372" y="547914"/>
                  </a:lnTo>
                  <a:lnTo>
                    <a:pt x="37104" y="575066"/>
                  </a:lnTo>
                  <a:lnTo>
                    <a:pt x="9955" y="615334"/>
                  </a:lnTo>
                  <a:lnTo>
                    <a:pt x="0" y="664639"/>
                  </a:lnTo>
                  <a:lnTo>
                    <a:pt x="9955" y="713951"/>
                  </a:lnTo>
                  <a:lnTo>
                    <a:pt x="37104" y="754223"/>
                  </a:lnTo>
                  <a:lnTo>
                    <a:pt x="77372" y="781377"/>
                  </a:lnTo>
                  <a:lnTo>
                    <a:pt x="126682" y="791334"/>
                  </a:lnTo>
                  <a:lnTo>
                    <a:pt x="451948" y="791334"/>
                  </a:lnTo>
                  <a:lnTo>
                    <a:pt x="451948" y="537956"/>
                  </a:lnTo>
                  <a:close/>
                </a:path>
                <a:path w="452119" h="1825625">
                  <a:moveTo>
                    <a:pt x="451948" y="1112479"/>
                  </a:moveTo>
                  <a:lnTo>
                    <a:pt x="182283" y="1112479"/>
                  </a:lnTo>
                  <a:lnTo>
                    <a:pt x="132972" y="1122436"/>
                  </a:lnTo>
                  <a:lnTo>
                    <a:pt x="92705" y="1149588"/>
                  </a:lnTo>
                  <a:lnTo>
                    <a:pt x="65556" y="1189857"/>
                  </a:lnTo>
                  <a:lnTo>
                    <a:pt x="55600" y="1239162"/>
                  </a:lnTo>
                  <a:lnTo>
                    <a:pt x="65556" y="1288472"/>
                  </a:lnTo>
                  <a:lnTo>
                    <a:pt x="92705" y="1328739"/>
                  </a:lnTo>
                  <a:lnTo>
                    <a:pt x="132972" y="1355889"/>
                  </a:lnTo>
                  <a:lnTo>
                    <a:pt x="182283" y="1365844"/>
                  </a:lnTo>
                  <a:lnTo>
                    <a:pt x="451948" y="1365844"/>
                  </a:lnTo>
                  <a:lnTo>
                    <a:pt x="451948" y="1112479"/>
                  </a:lnTo>
                  <a:close/>
                </a:path>
                <a:path w="452119" h="1825625">
                  <a:moveTo>
                    <a:pt x="451948" y="1710089"/>
                  </a:moveTo>
                  <a:lnTo>
                    <a:pt x="423079" y="1739653"/>
                  </a:lnTo>
                  <a:lnTo>
                    <a:pt x="386576" y="1776536"/>
                  </a:lnTo>
                  <a:lnTo>
                    <a:pt x="349728" y="1813304"/>
                  </a:lnTo>
                  <a:lnTo>
                    <a:pt x="337804" y="1825067"/>
                  </a:lnTo>
                  <a:lnTo>
                    <a:pt x="451948" y="1825067"/>
                  </a:lnTo>
                  <a:lnTo>
                    <a:pt x="451948" y="1710089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18C9DDA2-A716-EBE8-F34F-C40B6D8FCE79}"/>
                </a:ext>
              </a:extLst>
            </p:cNvPr>
            <p:cNvSpPr/>
            <p:nvPr/>
          </p:nvSpPr>
          <p:spPr>
            <a:xfrm>
              <a:off x="11026069" y="6723987"/>
              <a:ext cx="393860" cy="131862"/>
            </a:xfrm>
            <a:custGeom>
              <a:avLst/>
              <a:gdLst/>
              <a:ahLst/>
              <a:cxnLst/>
              <a:rect l="l" t="t" r="r" b="b"/>
              <a:pathLst>
                <a:path w="434340" h="145415">
                  <a:moveTo>
                    <a:pt x="216865" y="0"/>
                  </a:moveTo>
                  <a:lnTo>
                    <a:pt x="169224" y="4880"/>
                  </a:lnTo>
                  <a:lnTo>
                    <a:pt x="124850" y="18878"/>
                  </a:lnTo>
                  <a:lnTo>
                    <a:pt x="84694" y="41028"/>
                  </a:lnTo>
                  <a:lnTo>
                    <a:pt x="49708" y="70364"/>
                  </a:lnTo>
                  <a:lnTo>
                    <a:pt x="20841" y="105919"/>
                  </a:lnTo>
                  <a:lnTo>
                    <a:pt x="0" y="144942"/>
                  </a:lnTo>
                  <a:lnTo>
                    <a:pt x="433744" y="144942"/>
                  </a:lnTo>
                  <a:lnTo>
                    <a:pt x="412901" y="105919"/>
                  </a:lnTo>
                  <a:lnTo>
                    <a:pt x="384034" y="70364"/>
                  </a:lnTo>
                  <a:lnTo>
                    <a:pt x="349046" y="41028"/>
                  </a:lnTo>
                  <a:lnTo>
                    <a:pt x="308888" y="18878"/>
                  </a:lnTo>
                  <a:lnTo>
                    <a:pt x="264511" y="4880"/>
                  </a:lnTo>
                  <a:lnTo>
                    <a:pt x="216865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FACD9CE7-8C7D-69FF-1D44-5F08A5F89086}"/>
                </a:ext>
              </a:extLst>
            </p:cNvPr>
            <p:cNvSpPr/>
            <p:nvPr/>
          </p:nvSpPr>
          <p:spPr>
            <a:xfrm>
              <a:off x="11333372" y="6158589"/>
              <a:ext cx="324186" cy="329368"/>
            </a:xfrm>
            <a:custGeom>
              <a:avLst/>
              <a:gdLst/>
              <a:ahLst/>
              <a:cxnLst/>
              <a:rect l="l" t="t" r="r" b="b"/>
              <a:pathLst>
                <a:path w="357504" h="363220">
                  <a:moveTo>
                    <a:pt x="178612" y="0"/>
                  </a:moveTo>
                  <a:lnTo>
                    <a:pt x="131127" y="6483"/>
                  </a:lnTo>
                  <a:lnTo>
                    <a:pt x="88459" y="24782"/>
                  </a:lnTo>
                  <a:lnTo>
                    <a:pt x="52311" y="53165"/>
                  </a:lnTo>
                  <a:lnTo>
                    <a:pt x="24384" y="89902"/>
                  </a:lnTo>
                  <a:lnTo>
                    <a:pt x="6379" y="133264"/>
                  </a:lnTo>
                  <a:lnTo>
                    <a:pt x="0" y="181521"/>
                  </a:lnTo>
                  <a:lnTo>
                    <a:pt x="6379" y="229772"/>
                  </a:lnTo>
                  <a:lnTo>
                    <a:pt x="24383" y="273130"/>
                  </a:lnTo>
                  <a:lnTo>
                    <a:pt x="52311" y="309865"/>
                  </a:lnTo>
                  <a:lnTo>
                    <a:pt x="88459" y="338247"/>
                  </a:lnTo>
                  <a:lnTo>
                    <a:pt x="131127" y="356545"/>
                  </a:lnTo>
                  <a:lnTo>
                    <a:pt x="178612" y="363029"/>
                  </a:lnTo>
                  <a:lnTo>
                    <a:pt x="226092" y="356545"/>
                  </a:lnTo>
                  <a:lnTo>
                    <a:pt x="268756" y="338247"/>
                  </a:lnTo>
                  <a:lnTo>
                    <a:pt x="304903" y="309865"/>
                  </a:lnTo>
                  <a:lnTo>
                    <a:pt x="332829" y="273130"/>
                  </a:lnTo>
                  <a:lnTo>
                    <a:pt x="350833" y="229772"/>
                  </a:lnTo>
                  <a:lnTo>
                    <a:pt x="357212" y="181521"/>
                  </a:lnTo>
                  <a:lnTo>
                    <a:pt x="350833" y="133264"/>
                  </a:lnTo>
                  <a:lnTo>
                    <a:pt x="332829" y="89902"/>
                  </a:lnTo>
                  <a:lnTo>
                    <a:pt x="304903" y="53165"/>
                  </a:lnTo>
                  <a:lnTo>
                    <a:pt x="268756" y="24782"/>
                  </a:lnTo>
                  <a:lnTo>
                    <a:pt x="226092" y="6483"/>
                  </a:lnTo>
                  <a:lnTo>
                    <a:pt x="178612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9B6B4EDF-9602-7E47-156F-525A333E17AC}"/>
                </a:ext>
              </a:extLst>
            </p:cNvPr>
            <p:cNvSpPr/>
            <p:nvPr/>
          </p:nvSpPr>
          <p:spPr>
            <a:xfrm>
              <a:off x="9738785" y="6661239"/>
              <a:ext cx="593093" cy="194626"/>
            </a:xfrm>
            <a:custGeom>
              <a:avLst/>
              <a:gdLst/>
              <a:ahLst/>
              <a:cxnLst/>
              <a:rect l="l" t="t" r="r" b="b"/>
              <a:pathLst>
                <a:path w="654050" h="214629">
                  <a:moveTo>
                    <a:pt x="326761" y="0"/>
                  </a:moveTo>
                  <a:lnTo>
                    <a:pt x="277990" y="3334"/>
                  </a:lnTo>
                  <a:lnTo>
                    <a:pt x="231213" y="13046"/>
                  </a:lnTo>
                  <a:lnTo>
                    <a:pt x="186858" y="28702"/>
                  </a:lnTo>
                  <a:lnTo>
                    <a:pt x="145354" y="49867"/>
                  </a:lnTo>
                  <a:lnTo>
                    <a:pt x="107129" y="76104"/>
                  </a:lnTo>
                  <a:lnTo>
                    <a:pt x="72611" y="106980"/>
                  </a:lnTo>
                  <a:lnTo>
                    <a:pt x="42229" y="142058"/>
                  </a:lnTo>
                  <a:lnTo>
                    <a:pt x="16410" y="180904"/>
                  </a:lnTo>
                  <a:lnTo>
                    <a:pt x="0" y="214139"/>
                  </a:lnTo>
                  <a:lnTo>
                    <a:pt x="653522" y="214139"/>
                  </a:lnTo>
                  <a:lnTo>
                    <a:pt x="611292" y="142058"/>
                  </a:lnTo>
                  <a:lnTo>
                    <a:pt x="580910" y="106980"/>
                  </a:lnTo>
                  <a:lnTo>
                    <a:pt x="546392" y="76104"/>
                  </a:lnTo>
                  <a:lnTo>
                    <a:pt x="508167" y="49867"/>
                  </a:lnTo>
                  <a:lnTo>
                    <a:pt x="466663" y="28702"/>
                  </a:lnTo>
                  <a:lnTo>
                    <a:pt x="422308" y="13046"/>
                  </a:lnTo>
                  <a:lnTo>
                    <a:pt x="375532" y="3334"/>
                  </a:lnTo>
                  <a:lnTo>
                    <a:pt x="326761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14">
            <a:extLst>
              <a:ext uri="{FF2B5EF4-FFF2-40B4-BE49-F238E27FC236}">
                <a16:creationId xmlns:a16="http://schemas.microsoft.com/office/drawing/2014/main" id="{E920B87E-EB30-C29A-7725-F098B0CD9403}"/>
              </a:ext>
            </a:extLst>
          </p:cNvPr>
          <p:cNvSpPr/>
          <p:nvPr userDrawn="1"/>
        </p:nvSpPr>
        <p:spPr>
          <a:xfrm rot="10800000">
            <a:off x="11050480" y="5292007"/>
            <a:ext cx="562114" cy="584428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444039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B044399D-0912-D593-C0A7-709DB4E472C3}"/>
              </a:ext>
            </a:extLst>
          </p:cNvPr>
          <p:cNvSpPr/>
          <p:nvPr userDrawn="1"/>
        </p:nvSpPr>
        <p:spPr>
          <a:xfrm>
            <a:off x="8454618" y="-21266"/>
            <a:ext cx="4391193" cy="4363554"/>
          </a:xfrm>
          <a:custGeom>
            <a:avLst/>
            <a:gdLst/>
            <a:ahLst/>
            <a:cxnLst/>
            <a:rect l="l" t="t" r="r" b="b"/>
            <a:pathLst>
              <a:path w="4842509" h="4812030">
                <a:moveTo>
                  <a:pt x="747268" y="1291882"/>
                </a:moveTo>
                <a:lnTo>
                  <a:pt x="744347" y="1244257"/>
                </a:lnTo>
                <a:lnTo>
                  <a:pt x="735850" y="1198397"/>
                </a:lnTo>
                <a:lnTo>
                  <a:pt x="722109" y="1154645"/>
                </a:lnTo>
                <a:lnTo>
                  <a:pt x="703478" y="1113383"/>
                </a:lnTo>
                <a:lnTo>
                  <a:pt x="680313" y="1074953"/>
                </a:lnTo>
                <a:lnTo>
                  <a:pt x="652957" y="1039710"/>
                </a:lnTo>
                <a:lnTo>
                  <a:pt x="621766" y="1008011"/>
                </a:lnTo>
                <a:lnTo>
                  <a:pt x="587095" y="980211"/>
                </a:lnTo>
                <a:lnTo>
                  <a:pt x="549275" y="956665"/>
                </a:lnTo>
                <a:lnTo>
                  <a:pt x="508673" y="937742"/>
                </a:lnTo>
                <a:lnTo>
                  <a:pt x="465620" y="923772"/>
                </a:lnTo>
                <a:lnTo>
                  <a:pt x="420497" y="915136"/>
                </a:lnTo>
                <a:lnTo>
                  <a:pt x="373634" y="912177"/>
                </a:lnTo>
                <a:lnTo>
                  <a:pt x="326758" y="915136"/>
                </a:lnTo>
                <a:lnTo>
                  <a:pt x="281635" y="923772"/>
                </a:lnTo>
                <a:lnTo>
                  <a:pt x="238582" y="937742"/>
                </a:lnTo>
                <a:lnTo>
                  <a:pt x="197980" y="956665"/>
                </a:lnTo>
                <a:lnTo>
                  <a:pt x="160159" y="980211"/>
                </a:lnTo>
                <a:lnTo>
                  <a:pt x="125488" y="1008011"/>
                </a:lnTo>
                <a:lnTo>
                  <a:pt x="94297" y="1039710"/>
                </a:lnTo>
                <a:lnTo>
                  <a:pt x="66941" y="1074953"/>
                </a:lnTo>
                <a:lnTo>
                  <a:pt x="43776" y="1113383"/>
                </a:lnTo>
                <a:lnTo>
                  <a:pt x="25146" y="1154645"/>
                </a:lnTo>
                <a:lnTo>
                  <a:pt x="11404" y="1198397"/>
                </a:lnTo>
                <a:lnTo>
                  <a:pt x="2908" y="1244257"/>
                </a:lnTo>
                <a:lnTo>
                  <a:pt x="0" y="1291882"/>
                </a:lnTo>
                <a:lnTo>
                  <a:pt x="2908" y="1339519"/>
                </a:lnTo>
                <a:lnTo>
                  <a:pt x="11404" y="1385379"/>
                </a:lnTo>
                <a:lnTo>
                  <a:pt x="25146" y="1429131"/>
                </a:lnTo>
                <a:lnTo>
                  <a:pt x="43776" y="1470393"/>
                </a:lnTo>
                <a:lnTo>
                  <a:pt x="66941" y="1508823"/>
                </a:lnTo>
                <a:lnTo>
                  <a:pt x="94297" y="1544066"/>
                </a:lnTo>
                <a:lnTo>
                  <a:pt x="125488" y="1575765"/>
                </a:lnTo>
                <a:lnTo>
                  <a:pt x="160159" y="1603565"/>
                </a:lnTo>
                <a:lnTo>
                  <a:pt x="197980" y="1627111"/>
                </a:lnTo>
                <a:lnTo>
                  <a:pt x="238582" y="1646047"/>
                </a:lnTo>
                <a:lnTo>
                  <a:pt x="281635" y="1660004"/>
                </a:lnTo>
                <a:lnTo>
                  <a:pt x="326758" y="1668640"/>
                </a:lnTo>
                <a:lnTo>
                  <a:pt x="373634" y="1671599"/>
                </a:lnTo>
                <a:lnTo>
                  <a:pt x="420497" y="1668640"/>
                </a:lnTo>
                <a:lnTo>
                  <a:pt x="465620" y="1660004"/>
                </a:lnTo>
                <a:lnTo>
                  <a:pt x="508673" y="1646047"/>
                </a:lnTo>
                <a:lnTo>
                  <a:pt x="549275" y="1627111"/>
                </a:lnTo>
                <a:lnTo>
                  <a:pt x="587095" y="1603565"/>
                </a:lnTo>
                <a:lnTo>
                  <a:pt x="621766" y="1575765"/>
                </a:lnTo>
                <a:lnTo>
                  <a:pt x="652957" y="1544066"/>
                </a:lnTo>
                <a:lnTo>
                  <a:pt x="680313" y="1508823"/>
                </a:lnTo>
                <a:lnTo>
                  <a:pt x="703478" y="1470393"/>
                </a:lnTo>
                <a:lnTo>
                  <a:pt x="722109" y="1429131"/>
                </a:lnTo>
                <a:lnTo>
                  <a:pt x="735850" y="1385379"/>
                </a:lnTo>
                <a:lnTo>
                  <a:pt x="744347" y="1339519"/>
                </a:lnTo>
                <a:lnTo>
                  <a:pt x="747268" y="1291882"/>
                </a:lnTo>
                <a:close/>
              </a:path>
              <a:path w="4842509" h="4812030">
                <a:moveTo>
                  <a:pt x="1038237" y="2275001"/>
                </a:moveTo>
                <a:lnTo>
                  <a:pt x="1033195" y="2230450"/>
                </a:lnTo>
                <a:lnTo>
                  <a:pt x="1018806" y="2189556"/>
                </a:lnTo>
                <a:lnTo>
                  <a:pt x="996238" y="2153475"/>
                </a:lnTo>
                <a:lnTo>
                  <a:pt x="966635" y="2123389"/>
                </a:lnTo>
                <a:lnTo>
                  <a:pt x="931125" y="2100453"/>
                </a:lnTo>
                <a:lnTo>
                  <a:pt x="890879" y="2085835"/>
                </a:lnTo>
                <a:lnTo>
                  <a:pt x="847039" y="2080691"/>
                </a:lnTo>
                <a:lnTo>
                  <a:pt x="803198" y="2085835"/>
                </a:lnTo>
                <a:lnTo>
                  <a:pt x="762952" y="2100453"/>
                </a:lnTo>
                <a:lnTo>
                  <a:pt x="727456" y="2123389"/>
                </a:lnTo>
                <a:lnTo>
                  <a:pt x="697852" y="2153475"/>
                </a:lnTo>
                <a:lnTo>
                  <a:pt x="675284" y="2189556"/>
                </a:lnTo>
                <a:lnTo>
                  <a:pt x="660895" y="2230450"/>
                </a:lnTo>
                <a:lnTo>
                  <a:pt x="655840" y="2275001"/>
                </a:lnTo>
                <a:lnTo>
                  <a:pt x="660895" y="2319566"/>
                </a:lnTo>
                <a:lnTo>
                  <a:pt x="675284" y="2360460"/>
                </a:lnTo>
                <a:lnTo>
                  <a:pt x="697852" y="2396540"/>
                </a:lnTo>
                <a:lnTo>
                  <a:pt x="727456" y="2426627"/>
                </a:lnTo>
                <a:lnTo>
                  <a:pt x="762952" y="2449563"/>
                </a:lnTo>
                <a:lnTo>
                  <a:pt x="803198" y="2464181"/>
                </a:lnTo>
                <a:lnTo>
                  <a:pt x="847039" y="2469311"/>
                </a:lnTo>
                <a:lnTo>
                  <a:pt x="890879" y="2464181"/>
                </a:lnTo>
                <a:lnTo>
                  <a:pt x="931125" y="2449563"/>
                </a:lnTo>
                <a:lnTo>
                  <a:pt x="966635" y="2426627"/>
                </a:lnTo>
                <a:lnTo>
                  <a:pt x="996238" y="2396540"/>
                </a:lnTo>
                <a:lnTo>
                  <a:pt x="1018806" y="2360460"/>
                </a:lnTo>
                <a:lnTo>
                  <a:pt x="1033195" y="2319566"/>
                </a:lnTo>
                <a:lnTo>
                  <a:pt x="1038237" y="2275001"/>
                </a:lnTo>
                <a:close/>
              </a:path>
              <a:path w="4842509" h="4812030">
                <a:moveTo>
                  <a:pt x="1353693" y="205016"/>
                </a:moveTo>
                <a:lnTo>
                  <a:pt x="1349044" y="158140"/>
                </a:lnTo>
                <a:lnTo>
                  <a:pt x="1335709" y="114490"/>
                </a:lnTo>
                <a:lnTo>
                  <a:pt x="1314615" y="74993"/>
                </a:lnTo>
                <a:lnTo>
                  <a:pt x="1286675" y="40576"/>
                </a:lnTo>
                <a:lnTo>
                  <a:pt x="1252804" y="12179"/>
                </a:lnTo>
                <a:lnTo>
                  <a:pt x="1230744" y="12"/>
                </a:lnTo>
                <a:lnTo>
                  <a:pt x="1018984" y="12"/>
                </a:lnTo>
                <a:lnTo>
                  <a:pt x="963053" y="40576"/>
                </a:lnTo>
                <a:lnTo>
                  <a:pt x="935113" y="74993"/>
                </a:lnTo>
                <a:lnTo>
                  <a:pt x="914019" y="114490"/>
                </a:lnTo>
                <a:lnTo>
                  <a:pt x="900684" y="158140"/>
                </a:lnTo>
                <a:lnTo>
                  <a:pt x="896035" y="205016"/>
                </a:lnTo>
                <a:lnTo>
                  <a:pt x="900684" y="251879"/>
                </a:lnTo>
                <a:lnTo>
                  <a:pt x="914019" y="295529"/>
                </a:lnTo>
                <a:lnTo>
                  <a:pt x="935113" y="335038"/>
                </a:lnTo>
                <a:lnTo>
                  <a:pt x="963053" y="369443"/>
                </a:lnTo>
                <a:lnTo>
                  <a:pt x="996924" y="397840"/>
                </a:lnTo>
                <a:lnTo>
                  <a:pt x="1035799" y="419290"/>
                </a:lnTo>
                <a:lnTo>
                  <a:pt x="1078750" y="432841"/>
                </a:lnTo>
                <a:lnTo>
                  <a:pt x="1124864" y="437565"/>
                </a:lnTo>
                <a:lnTo>
                  <a:pt x="1170978" y="432841"/>
                </a:lnTo>
                <a:lnTo>
                  <a:pt x="1213929" y="419290"/>
                </a:lnTo>
                <a:lnTo>
                  <a:pt x="1252804" y="397840"/>
                </a:lnTo>
                <a:lnTo>
                  <a:pt x="1286675" y="369443"/>
                </a:lnTo>
                <a:lnTo>
                  <a:pt x="1314615" y="335038"/>
                </a:lnTo>
                <a:lnTo>
                  <a:pt x="1335709" y="295529"/>
                </a:lnTo>
                <a:lnTo>
                  <a:pt x="1349044" y="251879"/>
                </a:lnTo>
                <a:lnTo>
                  <a:pt x="1353693" y="205016"/>
                </a:lnTo>
                <a:close/>
              </a:path>
              <a:path w="4842509" h="4812030">
                <a:moveTo>
                  <a:pt x="2336165" y="3331895"/>
                </a:moveTo>
                <a:lnTo>
                  <a:pt x="2331415" y="3284131"/>
                </a:lnTo>
                <a:lnTo>
                  <a:pt x="2317826" y="3239643"/>
                </a:lnTo>
                <a:lnTo>
                  <a:pt x="2296325" y="3199384"/>
                </a:lnTo>
                <a:lnTo>
                  <a:pt x="2267851" y="3164319"/>
                </a:lnTo>
                <a:lnTo>
                  <a:pt x="2233333" y="3135376"/>
                </a:lnTo>
                <a:lnTo>
                  <a:pt x="2193721" y="3113519"/>
                </a:lnTo>
                <a:lnTo>
                  <a:pt x="2149945" y="3099714"/>
                </a:lnTo>
                <a:lnTo>
                  <a:pt x="2102954" y="3094901"/>
                </a:lnTo>
                <a:lnTo>
                  <a:pt x="2055952" y="3099714"/>
                </a:lnTo>
                <a:lnTo>
                  <a:pt x="2012175" y="3113519"/>
                </a:lnTo>
                <a:lnTo>
                  <a:pt x="1972564" y="3135376"/>
                </a:lnTo>
                <a:lnTo>
                  <a:pt x="1938058" y="3164319"/>
                </a:lnTo>
                <a:lnTo>
                  <a:pt x="1909572" y="3199384"/>
                </a:lnTo>
                <a:lnTo>
                  <a:pt x="1888070" y="3239643"/>
                </a:lnTo>
                <a:lnTo>
                  <a:pt x="1874494" y="3284131"/>
                </a:lnTo>
                <a:lnTo>
                  <a:pt x="1869757" y="3331895"/>
                </a:lnTo>
                <a:lnTo>
                  <a:pt x="1874494" y="3379660"/>
                </a:lnTo>
                <a:lnTo>
                  <a:pt x="1888070" y="3424148"/>
                </a:lnTo>
                <a:lnTo>
                  <a:pt x="1909572" y="3464407"/>
                </a:lnTo>
                <a:lnTo>
                  <a:pt x="1938058" y="3499485"/>
                </a:lnTo>
                <a:lnTo>
                  <a:pt x="1972564" y="3528428"/>
                </a:lnTo>
                <a:lnTo>
                  <a:pt x="2012175" y="3550272"/>
                </a:lnTo>
                <a:lnTo>
                  <a:pt x="2055952" y="3564090"/>
                </a:lnTo>
                <a:lnTo>
                  <a:pt x="2102954" y="3568903"/>
                </a:lnTo>
                <a:lnTo>
                  <a:pt x="2149945" y="3564090"/>
                </a:lnTo>
                <a:lnTo>
                  <a:pt x="2193721" y="3550272"/>
                </a:lnTo>
                <a:lnTo>
                  <a:pt x="2233333" y="3528428"/>
                </a:lnTo>
                <a:lnTo>
                  <a:pt x="2267851" y="3499485"/>
                </a:lnTo>
                <a:lnTo>
                  <a:pt x="2296325" y="3464407"/>
                </a:lnTo>
                <a:lnTo>
                  <a:pt x="2317826" y="3424148"/>
                </a:lnTo>
                <a:lnTo>
                  <a:pt x="2331415" y="3379660"/>
                </a:lnTo>
                <a:lnTo>
                  <a:pt x="2336165" y="3331895"/>
                </a:lnTo>
                <a:close/>
              </a:path>
              <a:path w="4842509" h="4812030">
                <a:moveTo>
                  <a:pt x="2815031" y="1458963"/>
                </a:moveTo>
                <a:lnTo>
                  <a:pt x="2805074" y="1409661"/>
                </a:lnTo>
                <a:lnTo>
                  <a:pt x="2777921" y="1369390"/>
                </a:lnTo>
                <a:lnTo>
                  <a:pt x="2737650" y="1342237"/>
                </a:lnTo>
                <a:lnTo>
                  <a:pt x="2688348" y="1332280"/>
                </a:lnTo>
                <a:lnTo>
                  <a:pt x="1587842" y="1332280"/>
                </a:lnTo>
                <a:lnTo>
                  <a:pt x="1594739" y="1302042"/>
                </a:lnTo>
                <a:lnTo>
                  <a:pt x="1611210" y="1240929"/>
                </a:lnTo>
                <a:lnTo>
                  <a:pt x="1635810" y="1170025"/>
                </a:lnTo>
                <a:lnTo>
                  <a:pt x="1653717" y="1129347"/>
                </a:lnTo>
                <a:lnTo>
                  <a:pt x="1674545" y="1088034"/>
                </a:lnTo>
                <a:lnTo>
                  <a:pt x="1698117" y="1046111"/>
                </a:lnTo>
                <a:lnTo>
                  <a:pt x="1724279" y="1003617"/>
                </a:lnTo>
                <a:lnTo>
                  <a:pt x="1724837" y="1003617"/>
                </a:lnTo>
                <a:lnTo>
                  <a:pt x="1725358" y="1003782"/>
                </a:lnTo>
                <a:lnTo>
                  <a:pt x="2587726" y="1003782"/>
                </a:lnTo>
                <a:lnTo>
                  <a:pt x="2588539" y="1003617"/>
                </a:lnTo>
                <a:lnTo>
                  <a:pt x="2637028" y="993825"/>
                </a:lnTo>
                <a:lnTo>
                  <a:pt x="2677299" y="966673"/>
                </a:lnTo>
                <a:lnTo>
                  <a:pt x="2704452" y="926414"/>
                </a:lnTo>
                <a:lnTo>
                  <a:pt x="2714409" y="877100"/>
                </a:lnTo>
                <a:lnTo>
                  <a:pt x="2704452" y="827798"/>
                </a:lnTo>
                <a:lnTo>
                  <a:pt x="2677299" y="787527"/>
                </a:lnTo>
                <a:lnTo>
                  <a:pt x="2637028" y="760374"/>
                </a:lnTo>
                <a:lnTo>
                  <a:pt x="2587726" y="750417"/>
                </a:lnTo>
                <a:lnTo>
                  <a:pt x="1918449" y="750417"/>
                </a:lnTo>
                <a:lnTo>
                  <a:pt x="1948662" y="716330"/>
                </a:lnTo>
                <a:lnTo>
                  <a:pt x="1979866" y="681990"/>
                </a:lnTo>
                <a:lnTo>
                  <a:pt x="2012010" y="647395"/>
                </a:lnTo>
                <a:lnTo>
                  <a:pt x="2045055" y="612559"/>
                </a:lnTo>
                <a:lnTo>
                  <a:pt x="2078926" y="577494"/>
                </a:lnTo>
                <a:lnTo>
                  <a:pt x="2113610" y="542213"/>
                </a:lnTo>
                <a:lnTo>
                  <a:pt x="2149030" y="506704"/>
                </a:lnTo>
                <a:lnTo>
                  <a:pt x="2185162" y="470992"/>
                </a:lnTo>
                <a:lnTo>
                  <a:pt x="2221954" y="435076"/>
                </a:lnTo>
                <a:lnTo>
                  <a:pt x="2297303" y="362648"/>
                </a:lnTo>
                <a:lnTo>
                  <a:pt x="2414079" y="252666"/>
                </a:lnTo>
                <a:lnTo>
                  <a:pt x="2687383" y="12"/>
                </a:lnTo>
                <a:lnTo>
                  <a:pt x="2146401" y="12"/>
                </a:lnTo>
                <a:lnTo>
                  <a:pt x="2069376" y="72491"/>
                </a:lnTo>
                <a:lnTo>
                  <a:pt x="1987892" y="150406"/>
                </a:lnTo>
                <a:lnTo>
                  <a:pt x="1947964" y="189191"/>
                </a:lnTo>
                <a:lnTo>
                  <a:pt x="1908632" y="227888"/>
                </a:lnTo>
                <a:lnTo>
                  <a:pt x="1869922" y="266471"/>
                </a:lnTo>
                <a:lnTo>
                  <a:pt x="1831911" y="304952"/>
                </a:lnTo>
                <a:lnTo>
                  <a:pt x="1794637" y="343331"/>
                </a:lnTo>
                <a:lnTo>
                  <a:pt x="1758124" y="381622"/>
                </a:lnTo>
                <a:lnTo>
                  <a:pt x="1722450" y="419811"/>
                </a:lnTo>
                <a:lnTo>
                  <a:pt x="1687626" y="457911"/>
                </a:lnTo>
                <a:lnTo>
                  <a:pt x="1653730" y="495922"/>
                </a:lnTo>
                <a:lnTo>
                  <a:pt x="1620786" y="533844"/>
                </a:lnTo>
                <a:lnTo>
                  <a:pt x="1588846" y="571690"/>
                </a:lnTo>
                <a:lnTo>
                  <a:pt x="1557959" y="609447"/>
                </a:lnTo>
                <a:lnTo>
                  <a:pt x="1528152" y="647115"/>
                </a:lnTo>
                <a:lnTo>
                  <a:pt x="1499501" y="684720"/>
                </a:lnTo>
                <a:lnTo>
                  <a:pt x="1472018" y="722249"/>
                </a:lnTo>
                <a:lnTo>
                  <a:pt x="1445780" y="759701"/>
                </a:lnTo>
                <a:lnTo>
                  <a:pt x="1420812" y="797077"/>
                </a:lnTo>
                <a:lnTo>
                  <a:pt x="1397165" y="834390"/>
                </a:lnTo>
                <a:lnTo>
                  <a:pt x="1374889" y="871639"/>
                </a:lnTo>
                <a:lnTo>
                  <a:pt x="1354023" y="908824"/>
                </a:lnTo>
                <a:lnTo>
                  <a:pt x="1334604" y="945946"/>
                </a:lnTo>
                <a:lnTo>
                  <a:pt x="1316697" y="983018"/>
                </a:lnTo>
                <a:lnTo>
                  <a:pt x="1300340" y="1020025"/>
                </a:lnTo>
                <a:lnTo>
                  <a:pt x="1285570" y="1056982"/>
                </a:lnTo>
                <a:lnTo>
                  <a:pt x="1272451" y="1093889"/>
                </a:lnTo>
                <a:lnTo>
                  <a:pt x="1251242" y="1162659"/>
                </a:lnTo>
                <a:lnTo>
                  <a:pt x="1233639" y="1230528"/>
                </a:lnTo>
                <a:lnTo>
                  <a:pt x="1219492" y="1297495"/>
                </a:lnTo>
                <a:lnTo>
                  <a:pt x="1208646" y="1363497"/>
                </a:lnTo>
                <a:lnTo>
                  <a:pt x="1200962" y="1428521"/>
                </a:lnTo>
                <a:lnTo>
                  <a:pt x="1196276" y="1492504"/>
                </a:lnTo>
                <a:lnTo>
                  <a:pt x="1194447" y="1555432"/>
                </a:lnTo>
                <a:lnTo>
                  <a:pt x="1195324" y="1617268"/>
                </a:lnTo>
                <a:lnTo>
                  <a:pt x="1198753" y="1677974"/>
                </a:lnTo>
                <a:lnTo>
                  <a:pt x="1204595" y="1737499"/>
                </a:lnTo>
                <a:lnTo>
                  <a:pt x="1212684" y="1795830"/>
                </a:lnTo>
                <a:lnTo>
                  <a:pt x="1222870" y="1852930"/>
                </a:lnTo>
                <a:lnTo>
                  <a:pt x="1235024" y="1908746"/>
                </a:lnTo>
                <a:lnTo>
                  <a:pt x="1248981" y="1963242"/>
                </a:lnTo>
                <a:lnTo>
                  <a:pt x="1264589" y="2016404"/>
                </a:lnTo>
                <a:lnTo>
                  <a:pt x="1281709" y="2068182"/>
                </a:lnTo>
                <a:lnTo>
                  <a:pt x="1300175" y="2118537"/>
                </a:lnTo>
                <a:lnTo>
                  <a:pt x="1319860" y="2167445"/>
                </a:lnTo>
                <a:lnTo>
                  <a:pt x="1340586" y="2214854"/>
                </a:lnTo>
                <a:lnTo>
                  <a:pt x="1362227" y="2260752"/>
                </a:lnTo>
                <a:lnTo>
                  <a:pt x="1384617" y="2305075"/>
                </a:lnTo>
                <a:lnTo>
                  <a:pt x="1407617" y="2347811"/>
                </a:lnTo>
                <a:lnTo>
                  <a:pt x="1431074" y="2388920"/>
                </a:lnTo>
                <a:lnTo>
                  <a:pt x="1454835" y="2428354"/>
                </a:lnTo>
                <a:lnTo>
                  <a:pt x="1478749" y="2466086"/>
                </a:lnTo>
                <a:lnTo>
                  <a:pt x="1502676" y="2502077"/>
                </a:lnTo>
                <a:lnTo>
                  <a:pt x="1526451" y="2536291"/>
                </a:lnTo>
                <a:lnTo>
                  <a:pt x="1549946" y="2568702"/>
                </a:lnTo>
                <a:lnTo>
                  <a:pt x="1572983" y="2599271"/>
                </a:lnTo>
                <a:lnTo>
                  <a:pt x="1617141" y="2654719"/>
                </a:lnTo>
                <a:lnTo>
                  <a:pt x="1657718" y="2702344"/>
                </a:lnTo>
                <a:lnTo>
                  <a:pt x="1693532" y="2741879"/>
                </a:lnTo>
                <a:lnTo>
                  <a:pt x="1723364" y="2773045"/>
                </a:lnTo>
                <a:lnTo>
                  <a:pt x="1754289" y="2803436"/>
                </a:lnTo>
                <a:lnTo>
                  <a:pt x="1791779" y="2833128"/>
                </a:lnTo>
                <a:lnTo>
                  <a:pt x="1853996" y="2856725"/>
                </a:lnTo>
                <a:lnTo>
                  <a:pt x="1886724" y="2859659"/>
                </a:lnTo>
                <a:lnTo>
                  <a:pt x="1923973" y="2855861"/>
                </a:lnTo>
                <a:lnTo>
                  <a:pt x="1993277" y="2825635"/>
                </a:lnTo>
                <a:lnTo>
                  <a:pt x="2022830" y="2799372"/>
                </a:lnTo>
                <a:lnTo>
                  <a:pt x="2050745" y="2758884"/>
                </a:lnTo>
                <a:lnTo>
                  <a:pt x="2066505" y="2714015"/>
                </a:lnTo>
                <a:lnTo>
                  <a:pt x="2070239" y="2667228"/>
                </a:lnTo>
                <a:lnTo>
                  <a:pt x="2062073" y="2621000"/>
                </a:lnTo>
                <a:lnTo>
                  <a:pt x="2042134" y="2577782"/>
                </a:lnTo>
                <a:lnTo>
                  <a:pt x="2010562" y="2540063"/>
                </a:lnTo>
                <a:lnTo>
                  <a:pt x="2002307" y="2532316"/>
                </a:lnTo>
                <a:lnTo>
                  <a:pt x="1986203" y="2516479"/>
                </a:lnTo>
                <a:lnTo>
                  <a:pt x="1934933" y="2461717"/>
                </a:lnTo>
                <a:lnTo>
                  <a:pt x="1902015" y="2423401"/>
                </a:lnTo>
                <a:lnTo>
                  <a:pt x="1865718" y="2378151"/>
                </a:lnTo>
                <a:lnTo>
                  <a:pt x="1827174" y="2326297"/>
                </a:lnTo>
                <a:lnTo>
                  <a:pt x="1787486" y="2268118"/>
                </a:lnTo>
                <a:lnTo>
                  <a:pt x="1747786" y="2203907"/>
                </a:lnTo>
                <a:lnTo>
                  <a:pt x="1709204" y="2133955"/>
                </a:lnTo>
                <a:lnTo>
                  <a:pt x="2085060" y="2133955"/>
                </a:lnTo>
                <a:lnTo>
                  <a:pt x="2134362" y="2123998"/>
                </a:lnTo>
                <a:lnTo>
                  <a:pt x="2174633" y="2096846"/>
                </a:lnTo>
                <a:lnTo>
                  <a:pt x="2201786" y="2056587"/>
                </a:lnTo>
                <a:lnTo>
                  <a:pt x="2211743" y="2007273"/>
                </a:lnTo>
                <a:lnTo>
                  <a:pt x="2201786" y="1957971"/>
                </a:lnTo>
                <a:lnTo>
                  <a:pt x="2174633" y="1917700"/>
                </a:lnTo>
                <a:lnTo>
                  <a:pt x="2134362" y="1890547"/>
                </a:lnTo>
                <a:lnTo>
                  <a:pt x="2085060" y="1880590"/>
                </a:lnTo>
                <a:lnTo>
                  <a:pt x="1607959" y="1880590"/>
                </a:lnTo>
                <a:lnTo>
                  <a:pt x="1595729" y="1834248"/>
                </a:lnTo>
                <a:lnTo>
                  <a:pt x="1585214" y="1786712"/>
                </a:lnTo>
                <a:lnTo>
                  <a:pt x="1576565" y="1738058"/>
                </a:lnTo>
                <a:lnTo>
                  <a:pt x="1569910" y="1688299"/>
                </a:lnTo>
                <a:lnTo>
                  <a:pt x="1565402" y="1637487"/>
                </a:lnTo>
                <a:lnTo>
                  <a:pt x="1563192" y="1585645"/>
                </a:lnTo>
                <a:lnTo>
                  <a:pt x="2688348" y="1585645"/>
                </a:lnTo>
                <a:lnTo>
                  <a:pt x="2737650" y="1575689"/>
                </a:lnTo>
                <a:lnTo>
                  <a:pt x="2777921" y="1548549"/>
                </a:lnTo>
                <a:lnTo>
                  <a:pt x="2805074" y="1508277"/>
                </a:lnTo>
                <a:lnTo>
                  <a:pt x="2815031" y="1458963"/>
                </a:lnTo>
                <a:close/>
              </a:path>
              <a:path w="4842509" h="4812030">
                <a:moveTo>
                  <a:pt x="3022498" y="2007273"/>
                </a:moveTo>
                <a:lnTo>
                  <a:pt x="3012541" y="1957959"/>
                </a:lnTo>
                <a:lnTo>
                  <a:pt x="2985389" y="1917700"/>
                </a:lnTo>
                <a:lnTo>
                  <a:pt x="2945130" y="1890547"/>
                </a:lnTo>
                <a:lnTo>
                  <a:pt x="2895816" y="1880590"/>
                </a:lnTo>
                <a:lnTo>
                  <a:pt x="2492959" y="1880590"/>
                </a:lnTo>
                <a:lnTo>
                  <a:pt x="2443645" y="1890547"/>
                </a:lnTo>
                <a:lnTo>
                  <a:pt x="2403373" y="1917700"/>
                </a:lnTo>
                <a:lnTo>
                  <a:pt x="2376220" y="1957959"/>
                </a:lnTo>
                <a:lnTo>
                  <a:pt x="2366264" y="2007273"/>
                </a:lnTo>
                <a:lnTo>
                  <a:pt x="2376220" y="2056587"/>
                </a:lnTo>
                <a:lnTo>
                  <a:pt x="2403373" y="2096846"/>
                </a:lnTo>
                <a:lnTo>
                  <a:pt x="2443645" y="2123998"/>
                </a:lnTo>
                <a:lnTo>
                  <a:pt x="2492959" y="2133955"/>
                </a:lnTo>
                <a:lnTo>
                  <a:pt x="2895816" y="2133955"/>
                </a:lnTo>
                <a:lnTo>
                  <a:pt x="2945130" y="2123998"/>
                </a:lnTo>
                <a:lnTo>
                  <a:pt x="2985389" y="2096846"/>
                </a:lnTo>
                <a:lnTo>
                  <a:pt x="3012541" y="2056587"/>
                </a:lnTo>
                <a:lnTo>
                  <a:pt x="3022498" y="2007273"/>
                </a:lnTo>
                <a:close/>
              </a:path>
              <a:path w="4842509" h="4812030">
                <a:moveTo>
                  <a:pt x="3290455" y="869467"/>
                </a:moveTo>
                <a:lnTo>
                  <a:pt x="3285413" y="824915"/>
                </a:lnTo>
                <a:lnTo>
                  <a:pt x="3271024" y="784021"/>
                </a:lnTo>
                <a:lnTo>
                  <a:pt x="3248456" y="747941"/>
                </a:lnTo>
                <a:lnTo>
                  <a:pt x="3218853" y="717854"/>
                </a:lnTo>
                <a:lnTo>
                  <a:pt x="3183344" y="694918"/>
                </a:lnTo>
                <a:lnTo>
                  <a:pt x="3143097" y="680300"/>
                </a:lnTo>
                <a:lnTo>
                  <a:pt x="3099257" y="675170"/>
                </a:lnTo>
                <a:lnTo>
                  <a:pt x="3055429" y="680300"/>
                </a:lnTo>
                <a:lnTo>
                  <a:pt x="3015183" y="694918"/>
                </a:lnTo>
                <a:lnTo>
                  <a:pt x="2979674" y="717854"/>
                </a:lnTo>
                <a:lnTo>
                  <a:pt x="2950070" y="747941"/>
                </a:lnTo>
                <a:lnTo>
                  <a:pt x="2927502" y="784021"/>
                </a:lnTo>
                <a:lnTo>
                  <a:pt x="2913113" y="824915"/>
                </a:lnTo>
                <a:lnTo>
                  <a:pt x="2908058" y="869467"/>
                </a:lnTo>
                <a:lnTo>
                  <a:pt x="2913113" y="914019"/>
                </a:lnTo>
                <a:lnTo>
                  <a:pt x="2927502" y="954925"/>
                </a:lnTo>
                <a:lnTo>
                  <a:pt x="2950070" y="990993"/>
                </a:lnTo>
                <a:lnTo>
                  <a:pt x="2979674" y="1021092"/>
                </a:lnTo>
                <a:lnTo>
                  <a:pt x="3015183" y="1044028"/>
                </a:lnTo>
                <a:lnTo>
                  <a:pt x="3055429" y="1058646"/>
                </a:lnTo>
                <a:lnTo>
                  <a:pt x="3099257" y="1063777"/>
                </a:lnTo>
                <a:lnTo>
                  <a:pt x="3143097" y="1058646"/>
                </a:lnTo>
                <a:lnTo>
                  <a:pt x="3183344" y="1044028"/>
                </a:lnTo>
                <a:lnTo>
                  <a:pt x="3218853" y="1021092"/>
                </a:lnTo>
                <a:lnTo>
                  <a:pt x="3248456" y="990993"/>
                </a:lnTo>
                <a:lnTo>
                  <a:pt x="3271024" y="954925"/>
                </a:lnTo>
                <a:lnTo>
                  <a:pt x="3285413" y="914019"/>
                </a:lnTo>
                <a:lnTo>
                  <a:pt x="3290455" y="869467"/>
                </a:lnTo>
                <a:close/>
              </a:path>
              <a:path w="4842509" h="4812030">
                <a:moveTo>
                  <a:pt x="3455378" y="1445844"/>
                </a:moveTo>
                <a:lnTo>
                  <a:pt x="3449624" y="1402283"/>
                </a:lnTo>
                <a:lnTo>
                  <a:pt x="3433368" y="1363154"/>
                </a:lnTo>
                <a:lnTo>
                  <a:pt x="3408159" y="1329994"/>
                </a:lnTo>
                <a:lnTo>
                  <a:pt x="3375533" y="1304378"/>
                </a:lnTo>
                <a:lnTo>
                  <a:pt x="3337026" y="1287868"/>
                </a:lnTo>
                <a:lnTo>
                  <a:pt x="3294164" y="1282014"/>
                </a:lnTo>
                <a:lnTo>
                  <a:pt x="3251314" y="1287868"/>
                </a:lnTo>
                <a:lnTo>
                  <a:pt x="3212795" y="1304378"/>
                </a:lnTo>
                <a:lnTo>
                  <a:pt x="3180169" y="1329994"/>
                </a:lnTo>
                <a:lnTo>
                  <a:pt x="3154959" y="1363154"/>
                </a:lnTo>
                <a:lnTo>
                  <a:pt x="3138716" y="1402283"/>
                </a:lnTo>
                <a:lnTo>
                  <a:pt x="3132950" y="1445844"/>
                </a:lnTo>
                <a:lnTo>
                  <a:pt x="3138716" y="1489392"/>
                </a:lnTo>
                <a:lnTo>
                  <a:pt x="3154959" y="1528533"/>
                </a:lnTo>
                <a:lnTo>
                  <a:pt x="3180169" y="1561680"/>
                </a:lnTo>
                <a:lnTo>
                  <a:pt x="3212795" y="1587309"/>
                </a:lnTo>
                <a:lnTo>
                  <a:pt x="3251314" y="1603819"/>
                </a:lnTo>
                <a:lnTo>
                  <a:pt x="3294164" y="1609674"/>
                </a:lnTo>
                <a:lnTo>
                  <a:pt x="3337026" y="1603819"/>
                </a:lnTo>
                <a:lnTo>
                  <a:pt x="3375533" y="1587309"/>
                </a:lnTo>
                <a:lnTo>
                  <a:pt x="3408159" y="1561680"/>
                </a:lnTo>
                <a:lnTo>
                  <a:pt x="3433368" y="1528533"/>
                </a:lnTo>
                <a:lnTo>
                  <a:pt x="3449624" y="1489392"/>
                </a:lnTo>
                <a:lnTo>
                  <a:pt x="3455378" y="1445844"/>
                </a:lnTo>
                <a:close/>
              </a:path>
              <a:path w="4842509" h="4812030">
                <a:moveTo>
                  <a:pt x="3677882" y="150622"/>
                </a:moveTo>
                <a:lnTo>
                  <a:pt x="3669868" y="100114"/>
                </a:lnTo>
                <a:lnTo>
                  <a:pt x="3647541" y="56248"/>
                </a:lnTo>
                <a:lnTo>
                  <a:pt x="3613505" y="21653"/>
                </a:lnTo>
                <a:lnTo>
                  <a:pt x="3572306" y="0"/>
                </a:lnTo>
                <a:lnTo>
                  <a:pt x="3468979" y="0"/>
                </a:lnTo>
                <a:lnTo>
                  <a:pt x="3427780" y="21653"/>
                </a:lnTo>
                <a:lnTo>
                  <a:pt x="3393744" y="56248"/>
                </a:lnTo>
                <a:lnTo>
                  <a:pt x="3371418" y="100114"/>
                </a:lnTo>
                <a:lnTo>
                  <a:pt x="3363404" y="150622"/>
                </a:lnTo>
                <a:lnTo>
                  <a:pt x="3371418" y="201129"/>
                </a:lnTo>
                <a:lnTo>
                  <a:pt x="3393744" y="244995"/>
                </a:lnTo>
                <a:lnTo>
                  <a:pt x="3427780" y="279577"/>
                </a:lnTo>
                <a:lnTo>
                  <a:pt x="3470935" y="302260"/>
                </a:lnTo>
                <a:lnTo>
                  <a:pt x="3520643" y="310413"/>
                </a:lnTo>
                <a:lnTo>
                  <a:pt x="3570338" y="302260"/>
                </a:lnTo>
                <a:lnTo>
                  <a:pt x="3613505" y="279577"/>
                </a:lnTo>
                <a:lnTo>
                  <a:pt x="3647541" y="244995"/>
                </a:lnTo>
                <a:lnTo>
                  <a:pt x="3669868" y="201129"/>
                </a:lnTo>
                <a:lnTo>
                  <a:pt x="3677882" y="150622"/>
                </a:lnTo>
                <a:close/>
              </a:path>
              <a:path w="4842509" h="4812030">
                <a:moveTo>
                  <a:pt x="3887127" y="718464"/>
                </a:moveTo>
                <a:lnTo>
                  <a:pt x="3882085" y="673912"/>
                </a:lnTo>
                <a:lnTo>
                  <a:pt x="3867696" y="633006"/>
                </a:lnTo>
                <a:lnTo>
                  <a:pt x="3845128" y="596925"/>
                </a:lnTo>
                <a:lnTo>
                  <a:pt x="3815524" y="566839"/>
                </a:lnTo>
                <a:lnTo>
                  <a:pt x="3780015" y="543902"/>
                </a:lnTo>
                <a:lnTo>
                  <a:pt x="3739769" y="529285"/>
                </a:lnTo>
                <a:lnTo>
                  <a:pt x="3695928" y="524154"/>
                </a:lnTo>
                <a:lnTo>
                  <a:pt x="3652101" y="529285"/>
                </a:lnTo>
                <a:lnTo>
                  <a:pt x="3611854" y="543902"/>
                </a:lnTo>
                <a:lnTo>
                  <a:pt x="3576345" y="566839"/>
                </a:lnTo>
                <a:lnTo>
                  <a:pt x="3546741" y="596925"/>
                </a:lnTo>
                <a:lnTo>
                  <a:pt x="3524173" y="633006"/>
                </a:lnTo>
                <a:lnTo>
                  <a:pt x="3509784" y="673912"/>
                </a:lnTo>
                <a:lnTo>
                  <a:pt x="3504730" y="718464"/>
                </a:lnTo>
                <a:lnTo>
                  <a:pt x="3509784" y="763016"/>
                </a:lnTo>
                <a:lnTo>
                  <a:pt x="3524173" y="803910"/>
                </a:lnTo>
                <a:lnTo>
                  <a:pt x="3546741" y="839990"/>
                </a:lnTo>
                <a:lnTo>
                  <a:pt x="3576345" y="870089"/>
                </a:lnTo>
                <a:lnTo>
                  <a:pt x="3611854" y="893025"/>
                </a:lnTo>
                <a:lnTo>
                  <a:pt x="3652101" y="907643"/>
                </a:lnTo>
                <a:lnTo>
                  <a:pt x="3695928" y="912774"/>
                </a:lnTo>
                <a:lnTo>
                  <a:pt x="3739769" y="907643"/>
                </a:lnTo>
                <a:lnTo>
                  <a:pt x="3780015" y="893025"/>
                </a:lnTo>
                <a:lnTo>
                  <a:pt x="3815524" y="870089"/>
                </a:lnTo>
                <a:lnTo>
                  <a:pt x="3845128" y="839990"/>
                </a:lnTo>
                <a:lnTo>
                  <a:pt x="3867696" y="803910"/>
                </a:lnTo>
                <a:lnTo>
                  <a:pt x="3882085" y="763016"/>
                </a:lnTo>
                <a:lnTo>
                  <a:pt x="3887127" y="718464"/>
                </a:lnTo>
                <a:close/>
              </a:path>
              <a:path w="4842509" h="4812030">
                <a:moveTo>
                  <a:pt x="4802949" y="2826423"/>
                </a:moveTo>
                <a:lnTo>
                  <a:pt x="4797895" y="2781871"/>
                </a:lnTo>
                <a:lnTo>
                  <a:pt x="4783518" y="2740977"/>
                </a:lnTo>
                <a:lnTo>
                  <a:pt x="4760950" y="2704896"/>
                </a:lnTo>
                <a:lnTo>
                  <a:pt x="4731334" y="2674810"/>
                </a:lnTo>
                <a:lnTo>
                  <a:pt x="4695837" y="2651874"/>
                </a:lnTo>
                <a:lnTo>
                  <a:pt x="4655591" y="2637256"/>
                </a:lnTo>
                <a:lnTo>
                  <a:pt x="4611751" y="2632113"/>
                </a:lnTo>
                <a:lnTo>
                  <a:pt x="4567910" y="2637256"/>
                </a:lnTo>
                <a:lnTo>
                  <a:pt x="4527664" y="2651874"/>
                </a:lnTo>
                <a:lnTo>
                  <a:pt x="4492168" y="2674810"/>
                </a:lnTo>
                <a:lnTo>
                  <a:pt x="4462551" y="2704896"/>
                </a:lnTo>
                <a:lnTo>
                  <a:pt x="4439983" y="2740977"/>
                </a:lnTo>
                <a:lnTo>
                  <a:pt x="4425607" y="2781871"/>
                </a:lnTo>
                <a:lnTo>
                  <a:pt x="4420552" y="2826423"/>
                </a:lnTo>
                <a:lnTo>
                  <a:pt x="4425607" y="2870987"/>
                </a:lnTo>
                <a:lnTo>
                  <a:pt x="4439983" y="2911881"/>
                </a:lnTo>
                <a:lnTo>
                  <a:pt x="4462551" y="2947962"/>
                </a:lnTo>
                <a:lnTo>
                  <a:pt x="4492168" y="2978048"/>
                </a:lnTo>
                <a:lnTo>
                  <a:pt x="4527664" y="3000984"/>
                </a:lnTo>
                <a:lnTo>
                  <a:pt x="4567910" y="3015602"/>
                </a:lnTo>
                <a:lnTo>
                  <a:pt x="4611751" y="3020733"/>
                </a:lnTo>
                <a:lnTo>
                  <a:pt x="4655591" y="3015602"/>
                </a:lnTo>
                <a:lnTo>
                  <a:pt x="4695837" y="3000984"/>
                </a:lnTo>
                <a:lnTo>
                  <a:pt x="4731334" y="2978048"/>
                </a:lnTo>
                <a:lnTo>
                  <a:pt x="4760950" y="2947962"/>
                </a:lnTo>
                <a:lnTo>
                  <a:pt x="4783518" y="2911881"/>
                </a:lnTo>
                <a:lnTo>
                  <a:pt x="4797895" y="2870987"/>
                </a:lnTo>
                <a:lnTo>
                  <a:pt x="4802949" y="2826423"/>
                </a:lnTo>
                <a:close/>
              </a:path>
              <a:path w="4842509" h="4812030">
                <a:moveTo>
                  <a:pt x="4841951" y="3211792"/>
                </a:moveTo>
                <a:lnTo>
                  <a:pt x="4773104" y="3214001"/>
                </a:lnTo>
                <a:lnTo>
                  <a:pt x="4732858" y="3228619"/>
                </a:lnTo>
                <a:lnTo>
                  <a:pt x="4697349" y="3251555"/>
                </a:lnTo>
                <a:lnTo>
                  <a:pt x="4667745" y="3281642"/>
                </a:lnTo>
                <a:lnTo>
                  <a:pt x="4645177" y="3317722"/>
                </a:lnTo>
                <a:lnTo>
                  <a:pt x="4630788" y="3358629"/>
                </a:lnTo>
                <a:lnTo>
                  <a:pt x="4625746" y="3403181"/>
                </a:lnTo>
                <a:lnTo>
                  <a:pt x="4630788" y="3447732"/>
                </a:lnTo>
                <a:lnTo>
                  <a:pt x="4645177" y="3488626"/>
                </a:lnTo>
                <a:lnTo>
                  <a:pt x="4667745" y="3524707"/>
                </a:lnTo>
                <a:lnTo>
                  <a:pt x="4697349" y="3554806"/>
                </a:lnTo>
                <a:lnTo>
                  <a:pt x="4732858" y="3577742"/>
                </a:lnTo>
                <a:lnTo>
                  <a:pt x="4773104" y="3592360"/>
                </a:lnTo>
                <a:lnTo>
                  <a:pt x="4816945" y="3597491"/>
                </a:lnTo>
                <a:lnTo>
                  <a:pt x="4841951" y="3594557"/>
                </a:lnTo>
                <a:lnTo>
                  <a:pt x="4841951" y="3211792"/>
                </a:lnTo>
                <a:close/>
              </a:path>
              <a:path w="4842509" h="4812030">
                <a:moveTo>
                  <a:pt x="4841951" y="1851342"/>
                </a:moveTo>
                <a:lnTo>
                  <a:pt x="4807712" y="1884832"/>
                </a:lnTo>
                <a:lnTo>
                  <a:pt x="4783315" y="1919909"/>
                </a:lnTo>
                <a:lnTo>
                  <a:pt x="4765014" y="1959063"/>
                </a:lnTo>
                <a:lnTo>
                  <a:pt x="4753534" y="2001583"/>
                </a:lnTo>
                <a:lnTo>
                  <a:pt x="4749546" y="2046757"/>
                </a:lnTo>
                <a:lnTo>
                  <a:pt x="4753534" y="2091944"/>
                </a:lnTo>
                <a:lnTo>
                  <a:pt x="4765014" y="2134463"/>
                </a:lnTo>
                <a:lnTo>
                  <a:pt x="4783315" y="2173617"/>
                </a:lnTo>
                <a:lnTo>
                  <a:pt x="4807712" y="2208695"/>
                </a:lnTo>
                <a:lnTo>
                  <a:pt x="4837519" y="2238997"/>
                </a:lnTo>
                <a:lnTo>
                  <a:pt x="4841951" y="2242185"/>
                </a:lnTo>
                <a:lnTo>
                  <a:pt x="4841951" y="1851342"/>
                </a:lnTo>
                <a:close/>
              </a:path>
              <a:path w="4842509" h="4812030">
                <a:moveTo>
                  <a:pt x="4841951" y="582485"/>
                </a:moveTo>
                <a:lnTo>
                  <a:pt x="4189387" y="582485"/>
                </a:lnTo>
                <a:lnTo>
                  <a:pt x="4140073" y="592455"/>
                </a:lnTo>
                <a:lnTo>
                  <a:pt x="4099814" y="619594"/>
                </a:lnTo>
                <a:lnTo>
                  <a:pt x="4072674" y="659866"/>
                </a:lnTo>
                <a:lnTo>
                  <a:pt x="4062730" y="709168"/>
                </a:lnTo>
                <a:lnTo>
                  <a:pt x="4072674" y="758482"/>
                </a:lnTo>
                <a:lnTo>
                  <a:pt x="4099814" y="798753"/>
                </a:lnTo>
                <a:lnTo>
                  <a:pt x="4140073" y="825906"/>
                </a:lnTo>
                <a:lnTo>
                  <a:pt x="4189387" y="835850"/>
                </a:lnTo>
                <a:lnTo>
                  <a:pt x="4767542" y="835850"/>
                </a:lnTo>
                <a:lnTo>
                  <a:pt x="4736668" y="873556"/>
                </a:lnTo>
                <a:lnTo>
                  <a:pt x="4705045" y="911199"/>
                </a:lnTo>
                <a:lnTo>
                  <a:pt x="4672723" y="948778"/>
                </a:lnTo>
                <a:lnTo>
                  <a:pt x="4639742" y="986294"/>
                </a:lnTo>
                <a:lnTo>
                  <a:pt x="4606137" y="1023747"/>
                </a:lnTo>
                <a:lnTo>
                  <a:pt x="4571949" y="1061110"/>
                </a:lnTo>
                <a:lnTo>
                  <a:pt x="4537214" y="1098384"/>
                </a:lnTo>
                <a:lnTo>
                  <a:pt x="4501985" y="1135583"/>
                </a:lnTo>
                <a:lnTo>
                  <a:pt x="4466285" y="1172667"/>
                </a:lnTo>
                <a:lnTo>
                  <a:pt x="4430166" y="1209662"/>
                </a:lnTo>
                <a:lnTo>
                  <a:pt x="4393654" y="1246543"/>
                </a:lnTo>
                <a:lnTo>
                  <a:pt x="4356811" y="1283309"/>
                </a:lnTo>
                <a:lnTo>
                  <a:pt x="4319663" y="1319961"/>
                </a:lnTo>
                <a:lnTo>
                  <a:pt x="4282249" y="1356474"/>
                </a:lnTo>
                <a:lnTo>
                  <a:pt x="4206786" y="1429118"/>
                </a:lnTo>
                <a:lnTo>
                  <a:pt x="4092625" y="1536966"/>
                </a:lnTo>
                <a:lnTo>
                  <a:pt x="3735552" y="1867319"/>
                </a:lnTo>
                <a:lnTo>
                  <a:pt x="3567468" y="2024532"/>
                </a:lnTo>
                <a:lnTo>
                  <a:pt x="3485985" y="2102446"/>
                </a:lnTo>
                <a:lnTo>
                  <a:pt x="3446056" y="2141245"/>
                </a:lnTo>
                <a:lnTo>
                  <a:pt x="3406711" y="2179929"/>
                </a:lnTo>
                <a:lnTo>
                  <a:pt x="3368014" y="2218512"/>
                </a:lnTo>
                <a:lnTo>
                  <a:pt x="3330003" y="2256993"/>
                </a:lnTo>
                <a:lnTo>
                  <a:pt x="3292716" y="2295372"/>
                </a:lnTo>
                <a:lnTo>
                  <a:pt x="3256216" y="2333663"/>
                </a:lnTo>
                <a:lnTo>
                  <a:pt x="3220529" y="2371852"/>
                </a:lnTo>
                <a:lnTo>
                  <a:pt x="3185718" y="2409952"/>
                </a:lnTo>
                <a:lnTo>
                  <a:pt x="3151809" y="2447963"/>
                </a:lnTo>
                <a:lnTo>
                  <a:pt x="3118866" y="2485885"/>
                </a:lnTo>
                <a:lnTo>
                  <a:pt x="3086925" y="2523731"/>
                </a:lnTo>
                <a:lnTo>
                  <a:pt x="3056039" y="2561488"/>
                </a:lnTo>
                <a:lnTo>
                  <a:pt x="3026245" y="2599169"/>
                </a:lnTo>
                <a:lnTo>
                  <a:pt x="2997581" y="2636761"/>
                </a:lnTo>
                <a:lnTo>
                  <a:pt x="2970111" y="2674289"/>
                </a:lnTo>
                <a:lnTo>
                  <a:pt x="2943860" y="2711742"/>
                </a:lnTo>
                <a:lnTo>
                  <a:pt x="2918904" y="2749118"/>
                </a:lnTo>
                <a:lnTo>
                  <a:pt x="2895257" y="2786430"/>
                </a:lnTo>
                <a:lnTo>
                  <a:pt x="2872981" y="2823680"/>
                </a:lnTo>
                <a:lnTo>
                  <a:pt x="2852102" y="2860865"/>
                </a:lnTo>
                <a:lnTo>
                  <a:pt x="2832697" y="2898000"/>
                </a:lnTo>
                <a:lnTo>
                  <a:pt x="2814790" y="2935059"/>
                </a:lnTo>
                <a:lnTo>
                  <a:pt x="2798432" y="2972066"/>
                </a:lnTo>
                <a:lnTo>
                  <a:pt x="2783662" y="3009023"/>
                </a:lnTo>
                <a:lnTo>
                  <a:pt x="2770543" y="3045930"/>
                </a:lnTo>
                <a:lnTo>
                  <a:pt x="2749334" y="3114700"/>
                </a:lnTo>
                <a:lnTo>
                  <a:pt x="2731732" y="3182582"/>
                </a:lnTo>
                <a:lnTo>
                  <a:pt x="2717584" y="3249536"/>
                </a:lnTo>
                <a:lnTo>
                  <a:pt x="2706751" y="3315551"/>
                </a:lnTo>
                <a:lnTo>
                  <a:pt x="2699054" y="3380562"/>
                </a:lnTo>
                <a:lnTo>
                  <a:pt x="2694368" y="3444557"/>
                </a:lnTo>
                <a:lnTo>
                  <a:pt x="2692539" y="3507486"/>
                </a:lnTo>
                <a:lnTo>
                  <a:pt x="2693416" y="3569322"/>
                </a:lnTo>
                <a:lnTo>
                  <a:pt x="2696845" y="3630015"/>
                </a:lnTo>
                <a:lnTo>
                  <a:pt x="2702687" y="3689553"/>
                </a:lnTo>
                <a:lnTo>
                  <a:pt x="2710777" y="3747884"/>
                </a:lnTo>
                <a:lnTo>
                  <a:pt x="2720975" y="3804970"/>
                </a:lnTo>
                <a:lnTo>
                  <a:pt x="2733116" y="3860787"/>
                </a:lnTo>
                <a:lnTo>
                  <a:pt x="2747073" y="3915295"/>
                </a:lnTo>
                <a:lnTo>
                  <a:pt x="2762681" y="3968458"/>
                </a:lnTo>
                <a:lnTo>
                  <a:pt x="2779801" y="4020235"/>
                </a:lnTo>
                <a:lnTo>
                  <a:pt x="2798267" y="4070591"/>
                </a:lnTo>
                <a:lnTo>
                  <a:pt x="2817952" y="4119499"/>
                </a:lnTo>
                <a:lnTo>
                  <a:pt x="2838678" y="4166908"/>
                </a:lnTo>
                <a:lnTo>
                  <a:pt x="2860319" y="4212806"/>
                </a:lnTo>
                <a:lnTo>
                  <a:pt x="2882709" y="4257129"/>
                </a:lnTo>
                <a:lnTo>
                  <a:pt x="2905709" y="4299864"/>
                </a:lnTo>
                <a:lnTo>
                  <a:pt x="2929166" y="4340974"/>
                </a:lnTo>
                <a:lnTo>
                  <a:pt x="2952927" y="4380408"/>
                </a:lnTo>
                <a:lnTo>
                  <a:pt x="2976854" y="4418139"/>
                </a:lnTo>
                <a:lnTo>
                  <a:pt x="3000768" y="4454131"/>
                </a:lnTo>
                <a:lnTo>
                  <a:pt x="3024555" y="4488345"/>
                </a:lnTo>
                <a:lnTo>
                  <a:pt x="3048038" y="4520755"/>
                </a:lnTo>
                <a:lnTo>
                  <a:pt x="3071076" y="4551324"/>
                </a:lnTo>
                <a:lnTo>
                  <a:pt x="3115233" y="4606772"/>
                </a:lnTo>
                <a:lnTo>
                  <a:pt x="3155810" y="4654410"/>
                </a:lnTo>
                <a:lnTo>
                  <a:pt x="3191624" y="4693945"/>
                </a:lnTo>
                <a:lnTo>
                  <a:pt x="3221456" y="4725098"/>
                </a:lnTo>
                <a:lnTo>
                  <a:pt x="3252393" y="4755489"/>
                </a:lnTo>
                <a:lnTo>
                  <a:pt x="3289871" y="4785195"/>
                </a:lnTo>
                <a:lnTo>
                  <a:pt x="3352101" y="4808791"/>
                </a:lnTo>
                <a:lnTo>
                  <a:pt x="3384816" y="4811725"/>
                </a:lnTo>
                <a:lnTo>
                  <a:pt x="3422065" y="4807928"/>
                </a:lnTo>
                <a:lnTo>
                  <a:pt x="3491369" y="4777714"/>
                </a:lnTo>
                <a:lnTo>
                  <a:pt x="3520922" y="4751438"/>
                </a:lnTo>
                <a:lnTo>
                  <a:pt x="3548837" y="4710963"/>
                </a:lnTo>
                <a:lnTo>
                  <a:pt x="3564598" y="4666081"/>
                </a:lnTo>
                <a:lnTo>
                  <a:pt x="3568331" y="4619295"/>
                </a:lnTo>
                <a:lnTo>
                  <a:pt x="3560165" y="4573067"/>
                </a:lnTo>
                <a:lnTo>
                  <a:pt x="3540239" y="4529861"/>
                </a:lnTo>
                <a:lnTo>
                  <a:pt x="3508654" y="4492129"/>
                </a:lnTo>
                <a:lnTo>
                  <a:pt x="3500399" y="4484382"/>
                </a:lnTo>
                <a:lnTo>
                  <a:pt x="3484295" y="4468546"/>
                </a:lnTo>
                <a:lnTo>
                  <a:pt x="3433026" y="4413796"/>
                </a:lnTo>
                <a:lnTo>
                  <a:pt x="3400107" y="4375455"/>
                </a:lnTo>
                <a:lnTo>
                  <a:pt x="3363798" y="4330217"/>
                </a:lnTo>
                <a:lnTo>
                  <a:pt x="3325253" y="4278363"/>
                </a:lnTo>
                <a:lnTo>
                  <a:pt x="3285566" y="4220172"/>
                </a:lnTo>
                <a:lnTo>
                  <a:pt x="3245878" y="4155960"/>
                </a:lnTo>
                <a:lnTo>
                  <a:pt x="3207283" y="4085996"/>
                </a:lnTo>
                <a:lnTo>
                  <a:pt x="3803065" y="4085996"/>
                </a:lnTo>
                <a:lnTo>
                  <a:pt x="3852380" y="4076039"/>
                </a:lnTo>
                <a:lnTo>
                  <a:pt x="3892639" y="4048887"/>
                </a:lnTo>
                <a:lnTo>
                  <a:pt x="3919766" y="4008628"/>
                </a:lnTo>
                <a:lnTo>
                  <a:pt x="3929723" y="3959314"/>
                </a:lnTo>
                <a:lnTo>
                  <a:pt x="3919766" y="3910012"/>
                </a:lnTo>
                <a:lnTo>
                  <a:pt x="3892639" y="3869740"/>
                </a:lnTo>
                <a:lnTo>
                  <a:pt x="3852380" y="3842588"/>
                </a:lnTo>
                <a:lnTo>
                  <a:pt x="3803065" y="3832631"/>
                </a:lnTo>
                <a:lnTo>
                  <a:pt x="3106051" y="3832631"/>
                </a:lnTo>
                <a:lnTo>
                  <a:pt x="3093821" y="3786289"/>
                </a:lnTo>
                <a:lnTo>
                  <a:pt x="3083318" y="3738765"/>
                </a:lnTo>
                <a:lnTo>
                  <a:pt x="3074657" y="3690099"/>
                </a:lnTo>
                <a:lnTo>
                  <a:pt x="3068002" y="3640340"/>
                </a:lnTo>
                <a:lnTo>
                  <a:pt x="3063494" y="3589528"/>
                </a:lnTo>
                <a:lnTo>
                  <a:pt x="3061284" y="3537686"/>
                </a:lnTo>
                <a:lnTo>
                  <a:pt x="4186415" y="3537686"/>
                </a:lnTo>
                <a:lnTo>
                  <a:pt x="4235729" y="3527742"/>
                </a:lnTo>
                <a:lnTo>
                  <a:pt x="4275988" y="3500590"/>
                </a:lnTo>
                <a:lnTo>
                  <a:pt x="4303128" y="3460318"/>
                </a:lnTo>
                <a:lnTo>
                  <a:pt x="4313072" y="3411004"/>
                </a:lnTo>
                <a:lnTo>
                  <a:pt x="4303128" y="3361702"/>
                </a:lnTo>
                <a:lnTo>
                  <a:pt x="4275988" y="3321431"/>
                </a:lnTo>
                <a:lnTo>
                  <a:pt x="4235729" y="3294291"/>
                </a:lnTo>
                <a:lnTo>
                  <a:pt x="4186415" y="3284321"/>
                </a:lnTo>
                <a:lnTo>
                  <a:pt x="3085935" y="3284321"/>
                </a:lnTo>
                <a:lnTo>
                  <a:pt x="3092831" y="3254083"/>
                </a:lnTo>
                <a:lnTo>
                  <a:pt x="3109315" y="3192983"/>
                </a:lnTo>
                <a:lnTo>
                  <a:pt x="3133902" y="3122079"/>
                </a:lnTo>
                <a:lnTo>
                  <a:pt x="3151809" y="3081401"/>
                </a:lnTo>
                <a:lnTo>
                  <a:pt x="3172637" y="3040075"/>
                </a:lnTo>
                <a:lnTo>
                  <a:pt x="3196209" y="2998165"/>
                </a:lnTo>
                <a:lnTo>
                  <a:pt x="3222371" y="2955658"/>
                </a:lnTo>
                <a:lnTo>
                  <a:pt x="3222929" y="2955658"/>
                </a:lnTo>
                <a:lnTo>
                  <a:pt x="3223450" y="2955823"/>
                </a:lnTo>
                <a:lnTo>
                  <a:pt x="4085818" y="2955823"/>
                </a:lnTo>
                <a:lnTo>
                  <a:pt x="4086631" y="2955658"/>
                </a:lnTo>
                <a:lnTo>
                  <a:pt x="4135132" y="2945866"/>
                </a:lnTo>
                <a:lnTo>
                  <a:pt x="4175391" y="2918714"/>
                </a:lnTo>
                <a:lnTo>
                  <a:pt x="4202519" y="2878455"/>
                </a:lnTo>
                <a:lnTo>
                  <a:pt x="4212475" y="2829141"/>
                </a:lnTo>
                <a:lnTo>
                  <a:pt x="4202519" y="2779839"/>
                </a:lnTo>
                <a:lnTo>
                  <a:pt x="4175391" y="2739567"/>
                </a:lnTo>
                <a:lnTo>
                  <a:pt x="4135132" y="2712415"/>
                </a:lnTo>
                <a:lnTo>
                  <a:pt x="4085818" y="2702458"/>
                </a:lnTo>
                <a:lnTo>
                  <a:pt x="3416541" y="2702458"/>
                </a:lnTo>
                <a:lnTo>
                  <a:pt x="3446754" y="2668371"/>
                </a:lnTo>
                <a:lnTo>
                  <a:pt x="3477958" y="2634030"/>
                </a:lnTo>
                <a:lnTo>
                  <a:pt x="3510102" y="2599436"/>
                </a:lnTo>
                <a:lnTo>
                  <a:pt x="3543135" y="2564612"/>
                </a:lnTo>
                <a:lnTo>
                  <a:pt x="3577018" y="2529548"/>
                </a:lnTo>
                <a:lnTo>
                  <a:pt x="3611702" y="2494267"/>
                </a:lnTo>
                <a:lnTo>
                  <a:pt x="3647122" y="2458758"/>
                </a:lnTo>
                <a:lnTo>
                  <a:pt x="3683254" y="2423045"/>
                </a:lnTo>
                <a:lnTo>
                  <a:pt x="3720046" y="2387117"/>
                </a:lnTo>
                <a:lnTo>
                  <a:pt x="3795395" y="2314702"/>
                </a:lnTo>
                <a:lnTo>
                  <a:pt x="3912184" y="2204707"/>
                </a:lnTo>
                <a:lnTo>
                  <a:pt x="4351325" y="1798180"/>
                </a:lnTo>
                <a:lnTo>
                  <a:pt x="4468863" y="1687245"/>
                </a:lnTo>
                <a:lnTo>
                  <a:pt x="4546206" y="1612912"/>
                </a:lnTo>
                <a:lnTo>
                  <a:pt x="4584484" y="1575625"/>
                </a:lnTo>
                <a:lnTo>
                  <a:pt x="4622444" y="1538236"/>
                </a:lnTo>
                <a:lnTo>
                  <a:pt x="4660087" y="1500771"/>
                </a:lnTo>
                <a:lnTo>
                  <a:pt x="4697361" y="1463205"/>
                </a:lnTo>
                <a:lnTo>
                  <a:pt x="4734242" y="1425549"/>
                </a:lnTo>
                <a:lnTo>
                  <a:pt x="4770691" y="1387792"/>
                </a:lnTo>
                <a:lnTo>
                  <a:pt x="4806696" y="1349933"/>
                </a:lnTo>
                <a:lnTo>
                  <a:pt x="4841951" y="1312240"/>
                </a:lnTo>
                <a:lnTo>
                  <a:pt x="4841951" y="582485"/>
                </a:lnTo>
                <a:close/>
              </a:path>
              <a:path w="4842509" h="4812030">
                <a:moveTo>
                  <a:pt x="4841951" y="7937"/>
                </a:moveTo>
                <a:lnTo>
                  <a:pt x="4133786" y="7937"/>
                </a:lnTo>
                <a:lnTo>
                  <a:pt x="4084472" y="17907"/>
                </a:lnTo>
                <a:lnTo>
                  <a:pt x="4044213" y="45046"/>
                </a:lnTo>
                <a:lnTo>
                  <a:pt x="4017073" y="85318"/>
                </a:lnTo>
                <a:lnTo>
                  <a:pt x="4007129" y="134620"/>
                </a:lnTo>
                <a:lnTo>
                  <a:pt x="4017073" y="183934"/>
                </a:lnTo>
                <a:lnTo>
                  <a:pt x="4044213" y="224205"/>
                </a:lnTo>
                <a:lnTo>
                  <a:pt x="4084472" y="251358"/>
                </a:lnTo>
                <a:lnTo>
                  <a:pt x="4133786" y="261315"/>
                </a:lnTo>
                <a:lnTo>
                  <a:pt x="4841951" y="261315"/>
                </a:lnTo>
                <a:lnTo>
                  <a:pt x="4841951" y="7937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C08C7F-F671-37EF-FA4F-14868BE5D34B}"/>
              </a:ext>
            </a:extLst>
          </p:cNvPr>
          <p:cNvGrpSpPr/>
          <p:nvPr userDrawn="1"/>
        </p:nvGrpSpPr>
        <p:grpSpPr>
          <a:xfrm>
            <a:off x="391375" y="5191214"/>
            <a:ext cx="2957963" cy="1664692"/>
            <a:chOff x="391375" y="5191214"/>
            <a:chExt cx="2957963" cy="1664692"/>
          </a:xfrm>
        </p:grpSpPr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7CF38E78-8B18-E2DD-57F6-5A3EBF4CFBF8}"/>
                </a:ext>
              </a:extLst>
            </p:cNvPr>
            <p:cNvSpPr/>
            <p:nvPr/>
          </p:nvSpPr>
          <p:spPr>
            <a:xfrm>
              <a:off x="1985572" y="6805678"/>
              <a:ext cx="238965" cy="50095"/>
            </a:xfrm>
            <a:custGeom>
              <a:avLst/>
              <a:gdLst/>
              <a:ahLst/>
              <a:cxnLst/>
              <a:rect l="l" t="t" r="r" b="b"/>
              <a:pathLst>
                <a:path w="263525" h="55245">
                  <a:moveTo>
                    <a:pt x="131560" y="0"/>
                  </a:moveTo>
                  <a:lnTo>
                    <a:pt x="87719" y="5131"/>
                  </a:lnTo>
                  <a:lnTo>
                    <a:pt x="47474" y="19749"/>
                  </a:lnTo>
                  <a:lnTo>
                    <a:pt x="11974" y="42686"/>
                  </a:lnTo>
                  <a:lnTo>
                    <a:pt x="0" y="54855"/>
                  </a:lnTo>
                  <a:lnTo>
                    <a:pt x="263121" y="54855"/>
                  </a:lnTo>
                  <a:lnTo>
                    <a:pt x="251147" y="42686"/>
                  </a:lnTo>
                  <a:lnTo>
                    <a:pt x="215647" y="19749"/>
                  </a:lnTo>
                  <a:lnTo>
                    <a:pt x="175402" y="5131"/>
                  </a:lnTo>
                  <a:lnTo>
                    <a:pt x="131560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01B1EF4C-ACBC-8DF2-F98F-A520632D49A8}"/>
                </a:ext>
              </a:extLst>
            </p:cNvPr>
            <p:cNvSpPr/>
            <p:nvPr/>
          </p:nvSpPr>
          <p:spPr>
            <a:xfrm>
              <a:off x="3002119" y="6641559"/>
              <a:ext cx="347219" cy="214205"/>
            </a:xfrm>
            <a:custGeom>
              <a:avLst/>
              <a:gdLst/>
              <a:ahLst/>
              <a:cxnLst/>
              <a:rect l="l" t="t" r="r" b="b"/>
              <a:pathLst>
                <a:path w="382904" h="2362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4706" y="235840"/>
                  </a:lnTo>
                  <a:lnTo>
                    <a:pt x="377689" y="235840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C69F5CB4-EE4D-3E00-9E24-A5394A4C5C0E}"/>
                </a:ext>
              </a:extLst>
            </p:cNvPr>
            <p:cNvSpPr/>
            <p:nvPr/>
          </p:nvSpPr>
          <p:spPr>
            <a:xfrm>
              <a:off x="2877401" y="6040817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4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D5CB64B5-EAB4-764D-E33F-11B3A4C5099E}"/>
                </a:ext>
              </a:extLst>
            </p:cNvPr>
            <p:cNvSpPr/>
            <p:nvPr/>
          </p:nvSpPr>
          <p:spPr>
            <a:xfrm>
              <a:off x="2210807" y="6183673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90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9">
              <a:extLst>
                <a:ext uri="{FF2B5EF4-FFF2-40B4-BE49-F238E27FC236}">
                  <a16:creationId xmlns:a16="http://schemas.microsoft.com/office/drawing/2014/main" id="{544E0DFF-B974-C185-F664-2BB8D65D3E1C}"/>
                </a:ext>
              </a:extLst>
            </p:cNvPr>
            <p:cNvSpPr/>
            <p:nvPr/>
          </p:nvSpPr>
          <p:spPr>
            <a:xfrm>
              <a:off x="1993834" y="5340502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0">
              <a:extLst>
                <a:ext uri="{FF2B5EF4-FFF2-40B4-BE49-F238E27FC236}">
                  <a16:creationId xmlns:a16="http://schemas.microsoft.com/office/drawing/2014/main" id="{BAF8C586-5508-CCC1-A9F6-94AC7AFA27D1}"/>
                </a:ext>
              </a:extLst>
            </p:cNvPr>
            <p:cNvSpPr/>
            <p:nvPr/>
          </p:nvSpPr>
          <p:spPr>
            <a:xfrm>
              <a:off x="391375" y="5191214"/>
              <a:ext cx="1400967" cy="1664692"/>
            </a:xfrm>
            <a:custGeom>
              <a:avLst/>
              <a:gdLst/>
              <a:ahLst/>
              <a:cxnLst/>
              <a:rect l="l" t="t" r="r" b="b"/>
              <a:pathLst>
                <a:path w="1544955" h="1835784">
                  <a:moveTo>
                    <a:pt x="925999" y="0"/>
                  </a:moveTo>
                  <a:lnTo>
                    <a:pt x="880349" y="10091"/>
                  </a:lnTo>
                  <a:lnTo>
                    <a:pt x="838161" y="31783"/>
                  </a:lnTo>
                  <a:lnTo>
                    <a:pt x="801852" y="64835"/>
                  </a:lnTo>
                  <a:lnTo>
                    <a:pt x="775520" y="106276"/>
                  </a:lnTo>
                  <a:lnTo>
                    <a:pt x="761475" y="151656"/>
                  </a:lnTo>
                  <a:lnTo>
                    <a:pt x="759491" y="198513"/>
                  </a:lnTo>
                  <a:lnTo>
                    <a:pt x="769344" y="244387"/>
                  </a:lnTo>
                  <a:lnTo>
                    <a:pt x="790808" y="286817"/>
                  </a:lnTo>
                  <a:lnTo>
                    <a:pt x="823658" y="323343"/>
                  </a:lnTo>
                  <a:lnTo>
                    <a:pt x="831988" y="330759"/>
                  </a:lnTo>
                  <a:lnTo>
                    <a:pt x="849099" y="347051"/>
                  </a:lnTo>
                  <a:lnTo>
                    <a:pt x="903479" y="405526"/>
                  </a:lnTo>
                  <a:lnTo>
                    <a:pt x="937656" y="447339"/>
                  </a:lnTo>
                  <a:lnTo>
                    <a:pt x="974430" y="497291"/>
                  </a:lnTo>
                  <a:lnTo>
                    <a:pt x="1012254" y="555196"/>
                  </a:lnTo>
                  <a:lnTo>
                    <a:pt x="1049583" y="620872"/>
                  </a:lnTo>
                  <a:lnTo>
                    <a:pt x="1084872" y="694132"/>
                  </a:lnTo>
                  <a:lnTo>
                    <a:pt x="513257" y="694132"/>
                  </a:lnTo>
                  <a:lnTo>
                    <a:pt x="463952" y="704088"/>
                  </a:lnTo>
                  <a:lnTo>
                    <a:pt x="423684" y="731237"/>
                  </a:lnTo>
                  <a:lnTo>
                    <a:pt x="396532" y="771504"/>
                  </a:lnTo>
                  <a:lnTo>
                    <a:pt x="386575" y="820815"/>
                  </a:lnTo>
                  <a:lnTo>
                    <a:pt x="396532" y="870120"/>
                  </a:lnTo>
                  <a:lnTo>
                    <a:pt x="423684" y="910388"/>
                  </a:lnTo>
                  <a:lnTo>
                    <a:pt x="463952" y="937540"/>
                  </a:lnTo>
                  <a:lnTo>
                    <a:pt x="513257" y="947497"/>
                  </a:lnTo>
                  <a:lnTo>
                    <a:pt x="1161059" y="947497"/>
                  </a:lnTo>
                  <a:lnTo>
                    <a:pt x="1168059" y="994539"/>
                  </a:lnTo>
                  <a:lnTo>
                    <a:pt x="1173078" y="1043098"/>
                  </a:lnTo>
                  <a:lnTo>
                    <a:pt x="1175954" y="1093166"/>
                  </a:lnTo>
                  <a:lnTo>
                    <a:pt x="1176527" y="1144733"/>
                  </a:lnTo>
                  <a:lnTo>
                    <a:pt x="1174633" y="1197788"/>
                  </a:lnTo>
                  <a:lnTo>
                    <a:pt x="1170114" y="1252323"/>
                  </a:lnTo>
                  <a:lnTo>
                    <a:pt x="1163053" y="1251103"/>
                  </a:lnTo>
                  <a:lnTo>
                    <a:pt x="1155890" y="1250138"/>
                  </a:lnTo>
                  <a:lnTo>
                    <a:pt x="126682" y="1250138"/>
                  </a:lnTo>
                  <a:lnTo>
                    <a:pt x="77372" y="1260095"/>
                  </a:lnTo>
                  <a:lnTo>
                    <a:pt x="37104" y="1287248"/>
                  </a:lnTo>
                  <a:lnTo>
                    <a:pt x="9955" y="1327516"/>
                  </a:lnTo>
                  <a:lnTo>
                    <a:pt x="0" y="1376821"/>
                  </a:lnTo>
                  <a:lnTo>
                    <a:pt x="9955" y="1426133"/>
                  </a:lnTo>
                  <a:lnTo>
                    <a:pt x="37104" y="1466405"/>
                  </a:lnTo>
                  <a:lnTo>
                    <a:pt x="77372" y="1493559"/>
                  </a:lnTo>
                  <a:lnTo>
                    <a:pt x="126682" y="1503516"/>
                  </a:lnTo>
                  <a:lnTo>
                    <a:pt x="1109611" y="1503516"/>
                  </a:lnTo>
                  <a:lnTo>
                    <a:pt x="1091637" y="1549292"/>
                  </a:lnTo>
                  <a:lnTo>
                    <a:pt x="1071709" y="1595118"/>
                  </a:lnTo>
                  <a:lnTo>
                    <a:pt x="1049893" y="1640986"/>
                  </a:lnTo>
                  <a:lnTo>
                    <a:pt x="1026255" y="1686883"/>
                  </a:lnTo>
                  <a:lnTo>
                    <a:pt x="1000859" y="1732802"/>
                  </a:lnTo>
                  <a:lnTo>
                    <a:pt x="973771" y="1778731"/>
                  </a:lnTo>
                  <a:lnTo>
                    <a:pt x="945057" y="1824661"/>
                  </a:lnTo>
                  <a:lnTo>
                    <a:pt x="182283" y="1824661"/>
                  </a:lnTo>
                  <a:lnTo>
                    <a:pt x="132972" y="1834618"/>
                  </a:lnTo>
                  <a:lnTo>
                    <a:pt x="132035" y="1835250"/>
                  </a:lnTo>
                  <a:lnTo>
                    <a:pt x="1365030" y="1835250"/>
                  </a:lnTo>
                  <a:lnTo>
                    <a:pt x="1398211" y="1767887"/>
                  </a:lnTo>
                  <a:lnTo>
                    <a:pt x="1416703" y="1726988"/>
                  </a:lnTo>
                  <a:lnTo>
                    <a:pt x="1434056" y="1685916"/>
                  </a:lnTo>
                  <a:lnTo>
                    <a:pt x="1450240" y="1644667"/>
                  </a:lnTo>
                  <a:lnTo>
                    <a:pt x="1465225" y="1603237"/>
                  </a:lnTo>
                  <a:lnTo>
                    <a:pt x="1478982" y="1561625"/>
                  </a:lnTo>
                  <a:lnTo>
                    <a:pt x="1491481" y="1519827"/>
                  </a:lnTo>
                  <a:lnTo>
                    <a:pt x="1502692" y="1477840"/>
                  </a:lnTo>
                  <a:lnTo>
                    <a:pt x="1512585" y="1435660"/>
                  </a:lnTo>
                  <a:lnTo>
                    <a:pt x="1521130" y="1393285"/>
                  </a:lnTo>
                  <a:lnTo>
                    <a:pt x="1528298" y="1350711"/>
                  </a:lnTo>
                  <a:lnTo>
                    <a:pt x="1534058" y="1307936"/>
                  </a:lnTo>
                  <a:lnTo>
                    <a:pt x="1541211" y="1230596"/>
                  </a:lnTo>
                  <a:lnTo>
                    <a:pt x="1544382" y="1155425"/>
                  </a:lnTo>
                  <a:lnTo>
                    <a:pt x="1543828" y="1082452"/>
                  </a:lnTo>
                  <a:lnTo>
                    <a:pt x="1539804" y="1011702"/>
                  </a:lnTo>
                  <a:lnTo>
                    <a:pt x="1532569" y="943204"/>
                  </a:lnTo>
                  <a:lnTo>
                    <a:pt x="1522380" y="876984"/>
                  </a:lnTo>
                  <a:lnTo>
                    <a:pt x="1509492" y="813069"/>
                  </a:lnTo>
                  <a:lnTo>
                    <a:pt x="1494164" y="751487"/>
                  </a:lnTo>
                  <a:lnTo>
                    <a:pt x="1476653" y="692264"/>
                  </a:lnTo>
                  <a:lnTo>
                    <a:pt x="1457214" y="635429"/>
                  </a:lnTo>
                  <a:lnTo>
                    <a:pt x="1436106" y="581007"/>
                  </a:lnTo>
                  <a:lnTo>
                    <a:pt x="1413584" y="529026"/>
                  </a:lnTo>
                  <a:lnTo>
                    <a:pt x="1389907" y="479514"/>
                  </a:lnTo>
                  <a:lnTo>
                    <a:pt x="1365331" y="432497"/>
                  </a:lnTo>
                  <a:lnTo>
                    <a:pt x="1340113" y="388002"/>
                  </a:lnTo>
                  <a:lnTo>
                    <a:pt x="1314510" y="346057"/>
                  </a:lnTo>
                  <a:lnTo>
                    <a:pt x="1288779" y="306688"/>
                  </a:lnTo>
                  <a:lnTo>
                    <a:pt x="1263177" y="269924"/>
                  </a:lnTo>
                  <a:lnTo>
                    <a:pt x="1237961" y="235790"/>
                  </a:lnTo>
                  <a:lnTo>
                    <a:pt x="1213388" y="204314"/>
                  </a:lnTo>
                  <a:lnTo>
                    <a:pt x="1167198" y="149446"/>
                  </a:lnTo>
                  <a:lnTo>
                    <a:pt x="1126663" y="105535"/>
                  </a:lnTo>
                  <a:lnTo>
                    <a:pt x="1093839" y="72800"/>
                  </a:lnTo>
                  <a:lnTo>
                    <a:pt x="1059548" y="41721"/>
                  </a:lnTo>
                  <a:lnTo>
                    <a:pt x="1018016" y="15575"/>
                  </a:lnTo>
                  <a:lnTo>
                    <a:pt x="972694" y="1748"/>
                  </a:lnTo>
                  <a:lnTo>
                    <a:pt x="925999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1520" y="1882770"/>
            <a:ext cx="8910320" cy="3872235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" y="6114954"/>
            <a:ext cx="8924387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4" name="object 41">
            <a:extLst>
              <a:ext uri="{FF2B5EF4-FFF2-40B4-BE49-F238E27FC236}">
                <a16:creationId xmlns:a16="http://schemas.microsoft.com/office/drawing/2014/main" id="{4AA4F7D3-F6E8-EAB2-F7FF-BD27C0DB60AC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5" name="object 42">
              <a:extLst>
                <a:ext uri="{FF2B5EF4-FFF2-40B4-BE49-F238E27FC236}">
                  <a16:creationId xmlns:a16="http://schemas.microsoft.com/office/drawing/2014/main" id="{E917381C-8FE5-3CAD-273B-51DCDB6727F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6" name="object 43">
              <a:extLst>
                <a:ext uri="{FF2B5EF4-FFF2-40B4-BE49-F238E27FC236}">
                  <a16:creationId xmlns:a16="http://schemas.microsoft.com/office/drawing/2014/main" id="{6EC3B691-15D3-272C-C984-5D8D7AB4D44B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7" name="object 44">
              <a:extLst>
                <a:ext uri="{FF2B5EF4-FFF2-40B4-BE49-F238E27FC236}">
                  <a16:creationId xmlns:a16="http://schemas.microsoft.com/office/drawing/2014/main" id="{26C44628-116B-F318-B8E0-DE32F2332BC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5" name="object 14">
            <a:extLst>
              <a:ext uri="{FF2B5EF4-FFF2-40B4-BE49-F238E27FC236}">
                <a16:creationId xmlns:a16="http://schemas.microsoft.com/office/drawing/2014/main" id="{45F4DC08-150F-4A25-716A-90191F21FDC9}"/>
              </a:ext>
            </a:extLst>
          </p:cNvPr>
          <p:cNvSpPr/>
          <p:nvPr userDrawn="1"/>
        </p:nvSpPr>
        <p:spPr>
          <a:xfrm rot="10800000">
            <a:off x="-308147" y="5862122"/>
            <a:ext cx="562114" cy="584428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4">
            <a:extLst>
              <a:ext uri="{FF2B5EF4-FFF2-40B4-BE49-F238E27FC236}">
                <a16:creationId xmlns:a16="http://schemas.microsoft.com/office/drawing/2014/main" id="{01D5C4C6-F307-4C2A-EEA2-C7230077C63A}"/>
              </a:ext>
            </a:extLst>
          </p:cNvPr>
          <p:cNvSpPr/>
          <p:nvPr userDrawn="1"/>
        </p:nvSpPr>
        <p:spPr>
          <a:xfrm rot="10800000">
            <a:off x="-650" y="6776735"/>
            <a:ext cx="360745" cy="37506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ED0436A5-966C-D05D-FD27-2ED35FF09750}"/>
              </a:ext>
            </a:extLst>
          </p:cNvPr>
          <p:cNvSpPr/>
          <p:nvPr userDrawn="1"/>
        </p:nvSpPr>
        <p:spPr>
          <a:xfrm rot="10800000">
            <a:off x="8761227" y="264563"/>
            <a:ext cx="262322" cy="27273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B1D59208-AF3F-67F9-AFEE-0B79028CDC85}"/>
              </a:ext>
            </a:extLst>
          </p:cNvPr>
          <p:cNvSpPr/>
          <p:nvPr userDrawn="1"/>
        </p:nvSpPr>
        <p:spPr>
          <a:xfrm rot="10800000">
            <a:off x="8268251" y="-287815"/>
            <a:ext cx="492976" cy="51254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870" y="593213"/>
            <a:ext cx="8910320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72628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520" y="365125"/>
            <a:ext cx="6475989" cy="4355493"/>
          </a:xfrm>
        </p:spPr>
        <p:txBody>
          <a:bodyPr anchor="t" anchorCtr="0">
            <a:normAutofit/>
          </a:bodyPr>
          <a:lstStyle>
            <a:lvl1pPr>
              <a:defRPr sz="44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520" y="4862945"/>
            <a:ext cx="6475989" cy="491375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6347" y="6127750"/>
            <a:ext cx="892732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F387DD09-C436-5F8E-8C10-75D345EE965A}"/>
              </a:ext>
            </a:extLst>
          </p:cNvPr>
          <p:cNvSpPr/>
          <p:nvPr userDrawn="1"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86415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1835" y="365125"/>
            <a:ext cx="7232073" cy="4355493"/>
          </a:xfrm>
        </p:spPr>
        <p:txBody>
          <a:bodyPr anchor="t" anchorCtr="0">
            <a:normAutofit/>
          </a:bodyPr>
          <a:lstStyle>
            <a:lvl1pPr algn="r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01836" y="4862945"/>
            <a:ext cx="7232072" cy="440575"/>
          </a:xfrm>
        </p:spPr>
        <p:txBody>
          <a:bodyPr anchor="t" anchorCtr="0">
            <a:normAutofit/>
          </a:bodyPr>
          <a:lstStyle>
            <a:lvl1pPr marL="0" indent="0" algn="r"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1840" y="6127750"/>
            <a:ext cx="88900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FB453B0D-C8DF-80FC-EEDE-35EBA33A3EB9}"/>
              </a:ext>
            </a:extLst>
          </p:cNvPr>
          <p:cNvSpPr/>
          <p:nvPr userDrawn="1"/>
        </p:nvSpPr>
        <p:spPr>
          <a:xfrm>
            <a:off x="108938" y="-20309"/>
            <a:ext cx="3349537" cy="4281787"/>
          </a:xfrm>
          <a:custGeom>
            <a:avLst/>
            <a:gdLst/>
            <a:ahLst/>
            <a:cxnLst/>
            <a:rect l="l" t="t" r="r" b="b"/>
            <a:pathLst>
              <a:path w="3693795" h="4721860">
                <a:moveTo>
                  <a:pt x="985329" y="60604"/>
                </a:moveTo>
                <a:lnTo>
                  <a:pt x="977315" y="10096"/>
                </a:lnTo>
                <a:lnTo>
                  <a:pt x="972172" y="0"/>
                </a:lnTo>
                <a:lnTo>
                  <a:pt x="684009" y="0"/>
                </a:lnTo>
                <a:lnTo>
                  <a:pt x="678865" y="10096"/>
                </a:lnTo>
                <a:lnTo>
                  <a:pt x="670852" y="60604"/>
                </a:lnTo>
                <a:lnTo>
                  <a:pt x="678865" y="111112"/>
                </a:lnTo>
                <a:lnTo>
                  <a:pt x="701192" y="154978"/>
                </a:lnTo>
                <a:lnTo>
                  <a:pt x="735228" y="189572"/>
                </a:lnTo>
                <a:lnTo>
                  <a:pt x="778395" y="212255"/>
                </a:lnTo>
                <a:lnTo>
                  <a:pt x="828090" y="220395"/>
                </a:lnTo>
                <a:lnTo>
                  <a:pt x="877785" y="212255"/>
                </a:lnTo>
                <a:lnTo>
                  <a:pt x="920953" y="189572"/>
                </a:lnTo>
                <a:lnTo>
                  <a:pt x="954989" y="154978"/>
                </a:lnTo>
                <a:lnTo>
                  <a:pt x="977315" y="111112"/>
                </a:lnTo>
                <a:lnTo>
                  <a:pt x="985329" y="60604"/>
                </a:lnTo>
                <a:close/>
              </a:path>
              <a:path w="3693795" h="4721860">
                <a:moveTo>
                  <a:pt x="1194587" y="628446"/>
                </a:moveTo>
                <a:lnTo>
                  <a:pt x="1189532" y="583895"/>
                </a:lnTo>
                <a:lnTo>
                  <a:pt x="1175143" y="543001"/>
                </a:lnTo>
                <a:lnTo>
                  <a:pt x="1152575" y="506920"/>
                </a:lnTo>
                <a:lnTo>
                  <a:pt x="1122972" y="476821"/>
                </a:lnTo>
                <a:lnTo>
                  <a:pt x="1087462" y="453885"/>
                </a:lnTo>
                <a:lnTo>
                  <a:pt x="1047229" y="439267"/>
                </a:lnTo>
                <a:lnTo>
                  <a:pt x="1003388" y="434136"/>
                </a:lnTo>
                <a:lnTo>
                  <a:pt x="959548" y="439267"/>
                </a:lnTo>
                <a:lnTo>
                  <a:pt x="919302" y="453885"/>
                </a:lnTo>
                <a:lnTo>
                  <a:pt x="883805" y="476821"/>
                </a:lnTo>
                <a:lnTo>
                  <a:pt x="854189" y="506920"/>
                </a:lnTo>
                <a:lnTo>
                  <a:pt x="831621" y="543001"/>
                </a:lnTo>
                <a:lnTo>
                  <a:pt x="817232" y="583895"/>
                </a:lnTo>
                <a:lnTo>
                  <a:pt x="812190" y="628446"/>
                </a:lnTo>
                <a:lnTo>
                  <a:pt x="817232" y="672998"/>
                </a:lnTo>
                <a:lnTo>
                  <a:pt x="831621" y="713905"/>
                </a:lnTo>
                <a:lnTo>
                  <a:pt x="854189" y="749973"/>
                </a:lnTo>
                <a:lnTo>
                  <a:pt x="883805" y="780072"/>
                </a:lnTo>
                <a:lnTo>
                  <a:pt x="919302" y="803008"/>
                </a:lnTo>
                <a:lnTo>
                  <a:pt x="959548" y="817626"/>
                </a:lnTo>
                <a:lnTo>
                  <a:pt x="1003388" y="822756"/>
                </a:lnTo>
                <a:lnTo>
                  <a:pt x="1047229" y="817626"/>
                </a:lnTo>
                <a:lnTo>
                  <a:pt x="1087462" y="803008"/>
                </a:lnTo>
                <a:lnTo>
                  <a:pt x="1122972" y="780072"/>
                </a:lnTo>
                <a:lnTo>
                  <a:pt x="1152575" y="749973"/>
                </a:lnTo>
                <a:lnTo>
                  <a:pt x="1175143" y="713905"/>
                </a:lnTo>
                <a:lnTo>
                  <a:pt x="1189532" y="672998"/>
                </a:lnTo>
                <a:lnTo>
                  <a:pt x="1194587" y="628446"/>
                </a:lnTo>
                <a:close/>
              </a:path>
              <a:path w="3693795" h="4721860">
                <a:moveTo>
                  <a:pt x="2110397" y="2736418"/>
                </a:moveTo>
                <a:lnTo>
                  <a:pt x="2105355" y="2691866"/>
                </a:lnTo>
                <a:lnTo>
                  <a:pt x="2090966" y="2650960"/>
                </a:lnTo>
                <a:lnTo>
                  <a:pt x="2068398" y="2614892"/>
                </a:lnTo>
                <a:lnTo>
                  <a:pt x="2038781" y="2584793"/>
                </a:lnTo>
                <a:lnTo>
                  <a:pt x="2003285" y="2561856"/>
                </a:lnTo>
                <a:lnTo>
                  <a:pt x="1963039" y="2547239"/>
                </a:lnTo>
                <a:lnTo>
                  <a:pt x="1919198" y="2542108"/>
                </a:lnTo>
                <a:lnTo>
                  <a:pt x="1875358" y="2547239"/>
                </a:lnTo>
                <a:lnTo>
                  <a:pt x="1835111" y="2561856"/>
                </a:lnTo>
                <a:lnTo>
                  <a:pt x="1799615" y="2584793"/>
                </a:lnTo>
                <a:lnTo>
                  <a:pt x="1770011" y="2614892"/>
                </a:lnTo>
                <a:lnTo>
                  <a:pt x="1747431" y="2650960"/>
                </a:lnTo>
                <a:lnTo>
                  <a:pt x="1733054" y="2691866"/>
                </a:lnTo>
                <a:lnTo>
                  <a:pt x="1728000" y="2736418"/>
                </a:lnTo>
                <a:lnTo>
                  <a:pt x="1733054" y="2780969"/>
                </a:lnTo>
                <a:lnTo>
                  <a:pt x="1747431" y="2821863"/>
                </a:lnTo>
                <a:lnTo>
                  <a:pt x="1770011" y="2857944"/>
                </a:lnTo>
                <a:lnTo>
                  <a:pt x="1799615" y="2888043"/>
                </a:lnTo>
                <a:lnTo>
                  <a:pt x="1835111" y="2910979"/>
                </a:lnTo>
                <a:lnTo>
                  <a:pt x="1875358" y="2925597"/>
                </a:lnTo>
                <a:lnTo>
                  <a:pt x="1919198" y="2930728"/>
                </a:lnTo>
                <a:lnTo>
                  <a:pt x="1963039" y="2925597"/>
                </a:lnTo>
                <a:lnTo>
                  <a:pt x="2003285" y="2910979"/>
                </a:lnTo>
                <a:lnTo>
                  <a:pt x="2038781" y="2888043"/>
                </a:lnTo>
                <a:lnTo>
                  <a:pt x="2068398" y="2857944"/>
                </a:lnTo>
                <a:lnTo>
                  <a:pt x="2090966" y="2821863"/>
                </a:lnTo>
                <a:lnTo>
                  <a:pt x="2105355" y="2780969"/>
                </a:lnTo>
                <a:lnTo>
                  <a:pt x="2110397" y="2736418"/>
                </a:lnTo>
                <a:close/>
              </a:path>
              <a:path w="3693795" h="4721860">
                <a:moveTo>
                  <a:pt x="2315591" y="3313163"/>
                </a:moveTo>
                <a:lnTo>
                  <a:pt x="2310536" y="3268611"/>
                </a:lnTo>
                <a:lnTo>
                  <a:pt x="2296160" y="3227717"/>
                </a:lnTo>
                <a:lnTo>
                  <a:pt x="2273592" y="3191637"/>
                </a:lnTo>
                <a:lnTo>
                  <a:pt x="2243975" y="3161538"/>
                </a:lnTo>
                <a:lnTo>
                  <a:pt x="2208479" y="3138601"/>
                </a:lnTo>
                <a:lnTo>
                  <a:pt x="2168233" y="3123984"/>
                </a:lnTo>
                <a:lnTo>
                  <a:pt x="2124392" y="3118853"/>
                </a:lnTo>
                <a:lnTo>
                  <a:pt x="2080552" y="3123984"/>
                </a:lnTo>
                <a:lnTo>
                  <a:pt x="2040305" y="3138601"/>
                </a:lnTo>
                <a:lnTo>
                  <a:pt x="2004809" y="3161538"/>
                </a:lnTo>
                <a:lnTo>
                  <a:pt x="1975192" y="3191637"/>
                </a:lnTo>
                <a:lnTo>
                  <a:pt x="1952625" y="3227717"/>
                </a:lnTo>
                <a:lnTo>
                  <a:pt x="1938235" y="3268611"/>
                </a:lnTo>
                <a:lnTo>
                  <a:pt x="1933194" y="3313163"/>
                </a:lnTo>
                <a:lnTo>
                  <a:pt x="1938235" y="3357715"/>
                </a:lnTo>
                <a:lnTo>
                  <a:pt x="1952625" y="3398621"/>
                </a:lnTo>
                <a:lnTo>
                  <a:pt x="1975192" y="3434689"/>
                </a:lnTo>
                <a:lnTo>
                  <a:pt x="2004809" y="3464788"/>
                </a:lnTo>
                <a:lnTo>
                  <a:pt x="2040305" y="3487724"/>
                </a:lnTo>
                <a:lnTo>
                  <a:pt x="2080552" y="3502342"/>
                </a:lnTo>
                <a:lnTo>
                  <a:pt x="2124392" y="3507473"/>
                </a:lnTo>
                <a:lnTo>
                  <a:pt x="2168233" y="3502342"/>
                </a:lnTo>
                <a:lnTo>
                  <a:pt x="2208479" y="3487724"/>
                </a:lnTo>
                <a:lnTo>
                  <a:pt x="2243975" y="3464788"/>
                </a:lnTo>
                <a:lnTo>
                  <a:pt x="2273592" y="3434689"/>
                </a:lnTo>
                <a:lnTo>
                  <a:pt x="2296160" y="3398621"/>
                </a:lnTo>
                <a:lnTo>
                  <a:pt x="2310536" y="3357715"/>
                </a:lnTo>
                <a:lnTo>
                  <a:pt x="2315591" y="3313163"/>
                </a:lnTo>
                <a:close/>
              </a:path>
              <a:path w="3693795" h="4721860">
                <a:moveTo>
                  <a:pt x="2551633" y="1956752"/>
                </a:moveTo>
                <a:lnTo>
                  <a:pt x="2547645" y="1911578"/>
                </a:lnTo>
                <a:lnTo>
                  <a:pt x="2536164" y="1869046"/>
                </a:lnTo>
                <a:lnTo>
                  <a:pt x="2517864" y="1829892"/>
                </a:lnTo>
                <a:lnTo>
                  <a:pt x="2493467" y="1794814"/>
                </a:lnTo>
                <a:lnTo>
                  <a:pt x="2463660" y="1764525"/>
                </a:lnTo>
                <a:lnTo>
                  <a:pt x="2429141" y="1739722"/>
                </a:lnTo>
                <a:lnTo>
                  <a:pt x="2390610" y="1721129"/>
                </a:lnTo>
                <a:lnTo>
                  <a:pt x="2348776" y="1709458"/>
                </a:lnTo>
                <a:lnTo>
                  <a:pt x="2304313" y="1705406"/>
                </a:lnTo>
                <a:lnTo>
                  <a:pt x="2259863" y="1709458"/>
                </a:lnTo>
                <a:lnTo>
                  <a:pt x="2218017" y="1721129"/>
                </a:lnTo>
                <a:lnTo>
                  <a:pt x="2179485" y="1739722"/>
                </a:lnTo>
                <a:lnTo>
                  <a:pt x="2144966" y="1764525"/>
                </a:lnTo>
                <a:lnTo>
                  <a:pt x="2115159" y="1794814"/>
                </a:lnTo>
                <a:lnTo>
                  <a:pt x="2090762" y="1829892"/>
                </a:lnTo>
                <a:lnTo>
                  <a:pt x="2072474" y="1869046"/>
                </a:lnTo>
                <a:lnTo>
                  <a:pt x="2060981" y="1911578"/>
                </a:lnTo>
                <a:lnTo>
                  <a:pt x="2056993" y="1956752"/>
                </a:lnTo>
                <a:lnTo>
                  <a:pt x="2060981" y="2001926"/>
                </a:lnTo>
                <a:lnTo>
                  <a:pt x="2072474" y="2044458"/>
                </a:lnTo>
                <a:lnTo>
                  <a:pt x="2090762" y="2083612"/>
                </a:lnTo>
                <a:lnTo>
                  <a:pt x="2115159" y="2118690"/>
                </a:lnTo>
                <a:lnTo>
                  <a:pt x="2144966" y="2148979"/>
                </a:lnTo>
                <a:lnTo>
                  <a:pt x="2179485" y="2173782"/>
                </a:lnTo>
                <a:lnTo>
                  <a:pt x="2218017" y="2192375"/>
                </a:lnTo>
                <a:lnTo>
                  <a:pt x="2259863" y="2204047"/>
                </a:lnTo>
                <a:lnTo>
                  <a:pt x="2304313" y="2208098"/>
                </a:lnTo>
                <a:lnTo>
                  <a:pt x="2348776" y="2204047"/>
                </a:lnTo>
                <a:lnTo>
                  <a:pt x="2390610" y="2192375"/>
                </a:lnTo>
                <a:lnTo>
                  <a:pt x="2429141" y="2173782"/>
                </a:lnTo>
                <a:lnTo>
                  <a:pt x="2463660" y="2148979"/>
                </a:lnTo>
                <a:lnTo>
                  <a:pt x="2493467" y="2118690"/>
                </a:lnTo>
                <a:lnTo>
                  <a:pt x="2517864" y="2083612"/>
                </a:lnTo>
                <a:lnTo>
                  <a:pt x="2536164" y="2044458"/>
                </a:lnTo>
                <a:lnTo>
                  <a:pt x="2547645" y="2001926"/>
                </a:lnTo>
                <a:lnTo>
                  <a:pt x="2551633" y="1956752"/>
                </a:lnTo>
                <a:close/>
              </a:path>
              <a:path w="3693795" h="4721860">
                <a:moveTo>
                  <a:pt x="2845346" y="10020"/>
                </a:moveTo>
                <a:lnTo>
                  <a:pt x="1323581" y="10020"/>
                </a:lnTo>
                <a:lnTo>
                  <a:pt x="1314577" y="48120"/>
                </a:lnTo>
                <a:lnTo>
                  <a:pt x="1324521" y="98920"/>
                </a:lnTo>
                <a:lnTo>
                  <a:pt x="1351661" y="137020"/>
                </a:lnTo>
                <a:lnTo>
                  <a:pt x="1391920" y="162420"/>
                </a:lnTo>
                <a:lnTo>
                  <a:pt x="1441234" y="175120"/>
                </a:lnTo>
                <a:lnTo>
                  <a:pt x="2424163" y="175120"/>
                </a:lnTo>
                <a:lnTo>
                  <a:pt x="2406192" y="225920"/>
                </a:lnTo>
                <a:lnTo>
                  <a:pt x="2386253" y="264020"/>
                </a:lnTo>
                <a:lnTo>
                  <a:pt x="2364435" y="314820"/>
                </a:lnTo>
                <a:lnTo>
                  <a:pt x="2340800" y="365620"/>
                </a:lnTo>
                <a:lnTo>
                  <a:pt x="2315400" y="403720"/>
                </a:lnTo>
                <a:lnTo>
                  <a:pt x="2288298" y="454520"/>
                </a:lnTo>
                <a:lnTo>
                  <a:pt x="2259584" y="492620"/>
                </a:lnTo>
                <a:lnTo>
                  <a:pt x="1496834" y="492620"/>
                </a:lnTo>
                <a:lnTo>
                  <a:pt x="1447520" y="505320"/>
                </a:lnTo>
                <a:lnTo>
                  <a:pt x="1407261" y="530720"/>
                </a:lnTo>
                <a:lnTo>
                  <a:pt x="1380121" y="581520"/>
                </a:lnTo>
                <a:lnTo>
                  <a:pt x="1370177" y="619620"/>
                </a:lnTo>
                <a:lnTo>
                  <a:pt x="1380121" y="670420"/>
                </a:lnTo>
                <a:lnTo>
                  <a:pt x="1407261" y="721220"/>
                </a:lnTo>
                <a:lnTo>
                  <a:pt x="1447520" y="746620"/>
                </a:lnTo>
                <a:lnTo>
                  <a:pt x="2074989" y="746620"/>
                </a:lnTo>
                <a:lnTo>
                  <a:pt x="2044115" y="784720"/>
                </a:lnTo>
                <a:lnTo>
                  <a:pt x="2012492" y="822820"/>
                </a:lnTo>
                <a:lnTo>
                  <a:pt x="1980171" y="860920"/>
                </a:lnTo>
                <a:lnTo>
                  <a:pt x="1947189" y="899020"/>
                </a:lnTo>
                <a:lnTo>
                  <a:pt x="1913585" y="937120"/>
                </a:lnTo>
                <a:lnTo>
                  <a:pt x="1879396" y="975220"/>
                </a:lnTo>
                <a:lnTo>
                  <a:pt x="1844662" y="1013320"/>
                </a:lnTo>
                <a:lnTo>
                  <a:pt x="1809432" y="1051420"/>
                </a:lnTo>
                <a:lnTo>
                  <a:pt x="1773732" y="1089520"/>
                </a:lnTo>
                <a:lnTo>
                  <a:pt x="1737614" y="1127620"/>
                </a:lnTo>
                <a:lnTo>
                  <a:pt x="1701114" y="1165720"/>
                </a:lnTo>
                <a:lnTo>
                  <a:pt x="1627111" y="1241920"/>
                </a:lnTo>
                <a:lnTo>
                  <a:pt x="1589697" y="1267320"/>
                </a:lnTo>
                <a:lnTo>
                  <a:pt x="1400073" y="1457820"/>
                </a:lnTo>
                <a:lnTo>
                  <a:pt x="1361909" y="1483220"/>
                </a:lnTo>
                <a:lnTo>
                  <a:pt x="1247686" y="1597520"/>
                </a:lnTo>
                <a:lnTo>
                  <a:pt x="1128903" y="1699120"/>
                </a:lnTo>
                <a:lnTo>
                  <a:pt x="1085837" y="1749920"/>
                </a:lnTo>
                <a:lnTo>
                  <a:pt x="958227" y="1864220"/>
                </a:lnTo>
                <a:lnTo>
                  <a:pt x="874915" y="1940420"/>
                </a:lnTo>
                <a:lnTo>
                  <a:pt x="833920" y="1978520"/>
                </a:lnTo>
                <a:lnTo>
                  <a:pt x="793445" y="2016620"/>
                </a:lnTo>
                <a:lnTo>
                  <a:pt x="753503" y="2054720"/>
                </a:lnTo>
                <a:lnTo>
                  <a:pt x="714159" y="2092820"/>
                </a:lnTo>
                <a:lnTo>
                  <a:pt x="675462" y="2130920"/>
                </a:lnTo>
                <a:lnTo>
                  <a:pt x="637451" y="2169020"/>
                </a:lnTo>
                <a:lnTo>
                  <a:pt x="600176" y="2207120"/>
                </a:lnTo>
                <a:lnTo>
                  <a:pt x="563664" y="2245220"/>
                </a:lnTo>
                <a:lnTo>
                  <a:pt x="527977" y="2283320"/>
                </a:lnTo>
                <a:lnTo>
                  <a:pt x="493166" y="2321420"/>
                </a:lnTo>
                <a:lnTo>
                  <a:pt x="459270" y="2359520"/>
                </a:lnTo>
                <a:lnTo>
                  <a:pt x="426326" y="2397620"/>
                </a:lnTo>
                <a:lnTo>
                  <a:pt x="394373" y="2435720"/>
                </a:lnTo>
                <a:lnTo>
                  <a:pt x="363486" y="2473820"/>
                </a:lnTo>
                <a:lnTo>
                  <a:pt x="333692" y="2511920"/>
                </a:lnTo>
                <a:lnTo>
                  <a:pt x="305028" y="2550020"/>
                </a:lnTo>
                <a:lnTo>
                  <a:pt x="277558" y="2588120"/>
                </a:lnTo>
                <a:lnTo>
                  <a:pt x="251320" y="2626220"/>
                </a:lnTo>
                <a:lnTo>
                  <a:pt x="226352" y="2664320"/>
                </a:lnTo>
                <a:lnTo>
                  <a:pt x="202704" y="2702420"/>
                </a:lnTo>
                <a:lnTo>
                  <a:pt x="180428" y="2740520"/>
                </a:lnTo>
                <a:lnTo>
                  <a:pt x="159562" y="2778620"/>
                </a:lnTo>
                <a:lnTo>
                  <a:pt x="140144" y="2816720"/>
                </a:lnTo>
                <a:lnTo>
                  <a:pt x="122237" y="2854820"/>
                </a:lnTo>
                <a:lnTo>
                  <a:pt x="105879" y="2892920"/>
                </a:lnTo>
                <a:lnTo>
                  <a:pt x="91122" y="2931020"/>
                </a:lnTo>
                <a:lnTo>
                  <a:pt x="77990" y="2956420"/>
                </a:lnTo>
                <a:lnTo>
                  <a:pt x="56781" y="3032620"/>
                </a:lnTo>
                <a:lnTo>
                  <a:pt x="39179" y="3096120"/>
                </a:lnTo>
                <a:lnTo>
                  <a:pt x="25031" y="3159620"/>
                </a:lnTo>
                <a:lnTo>
                  <a:pt x="14198" y="3235820"/>
                </a:lnTo>
                <a:lnTo>
                  <a:pt x="6502" y="3299320"/>
                </a:lnTo>
                <a:lnTo>
                  <a:pt x="1828" y="3362820"/>
                </a:lnTo>
                <a:lnTo>
                  <a:pt x="0" y="3426320"/>
                </a:lnTo>
                <a:lnTo>
                  <a:pt x="863" y="3489820"/>
                </a:lnTo>
                <a:lnTo>
                  <a:pt x="4305" y="3540620"/>
                </a:lnTo>
                <a:lnTo>
                  <a:pt x="10134" y="3604120"/>
                </a:lnTo>
                <a:lnTo>
                  <a:pt x="18224" y="3667620"/>
                </a:lnTo>
                <a:lnTo>
                  <a:pt x="28422" y="3718420"/>
                </a:lnTo>
                <a:lnTo>
                  <a:pt x="40576" y="3781920"/>
                </a:lnTo>
                <a:lnTo>
                  <a:pt x="54521" y="3832720"/>
                </a:lnTo>
                <a:lnTo>
                  <a:pt x="70142" y="3883520"/>
                </a:lnTo>
                <a:lnTo>
                  <a:pt x="87249" y="3934320"/>
                </a:lnTo>
                <a:lnTo>
                  <a:pt x="105727" y="3985120"/>
                </a:lnTo>
                <a:lnTo>
                  <a:pt x="125399" y="4035920"/>
                </a:lnTo>
                <a:lnTo>
                  <a:pt x="146138" y="4086720"/>
                </a:lnTo>
                <a:lnTo>
                  <a:pt x="167767" y="4124820"/>
                </a:lnTo>
                <a:lnTo>
                  <a:pt x="190169" y="4175620"/>
                </a:lnTo>
                <a:lnTo>
                  <a:pt x="213169" y="4213720"/>
                </a:lnTo>
                <a:lnTo>
                  <a:pt x="236613" y="4251820"/>
                </a:lnTo>
                <a:lnTo>
                  <a:pt x="260375" y="4302620"/>
                </a:lnTo>
                <a:lnTo>
                  <a:pt x="284302" y="4340720"/>
                </a:lnTo>
                <a:lnTo>
                  <a:pt x="308216" y="4366120"/>
                </a:lnTo>
                <a:lnTo>
                  <a:pt x="332003" y="4404220"/>
                </a:lnTo>
                <a:lnTo>
                  <a:pt x="355485" y="4442320"/>
                </a:lnTo>
                <a:lnTo>
                  <a:pt x="378536" y="4467720"/>
                </a:lnTo>
                <a:lnTo>
                  <a:pt x="400977" y="4493120"/>
                </a:lnTo>
                <a:lnTo>
                  <a:pt x="422681" y="4518520"/>
                </a:lnTo>
                <a:lnTo>
                  <a:pt x="443496" y="4543920"/>
                </a:lnTo>
                <a:lnTo>
                  <a:pt x="463270" y="4569320"/>
                </a:lnTo>
                <a:lnTo>
                  <a:pt x="481838" y="4594720"/>
                </a:lnTo>
                <a:lnTo>
                  <a:pt x="499071" y="4607420"/>
                </a:lnTo>
                <a:lnTo>
                  <a:pt x="514807" y="4632820"/>
                </a:lnTo>
                <a:lnTo>
                  <a:pt x="528904" y="4645520"/>
                </a:lnTo>
                <a:lnTo>
                  <a:pt x="541210" y="4658220"/>
                </a:lnTo>
                <a:lnTo>
                  <a:pt x="551573" y="4658220"/>
                </a:lnTo>
                <a:lnTo>
                  <a:pt x="559841" y="4670920"/>
                </a:lnTo>
                <a:lnTo>
                  <a:pt x="565861" y="4683620"/>
                </a:lnTo>
                <a:lnTo>
                  <a:pt x="569493" y="4683620"/>
                </a:lnTo>
                <a:lnTo>
                  <a:pt x="597319" y="4696320"/>
                </a:lnTo>
                <a:lnTo>
                  <a:pt x="627621" y="4721720"/>
                </a:lnTo>
                <a:lnTo>
                  <a:pt x="729513" y="4721720"/>
                </a:lnTo>
                <a:lnTo>
                  <a:pt x="765454" y="4709020"/>
                </a:lnTo>
                <a:lnTo>
                  <a:pt x="828370" y="4670920"/>
                </a:lnTo>
                <a:lnTo>
                  <a:pt x="856284" y="4632820"/>
                </a:lnTo>
                <a:lnTo>
                  <a:pt x="872045" y="4582020"/>
                </a:lnTo>
                <a:lnTo>
                  <a:pt x="875779" y="4531220"/>
                </a:lnTo>
                <a:lnTo>
                  <a:pt x="867625" y="4493120"/>
                </a:lnTo>
                <a:lnTo>
                  <a:pt x="847686" y="4442320"/>
                </a:lnTo>
                <a:lnTo>
                  <a:pt x="816102" y="4404220"/>
                </a:lnTo>
                <a:lnTo>
                  <a:pt x="807847" y="4404220"/>
                </a:lnTo>
                <a:lnTo>
                  <a:pt x="791743" y="4378820"/>
                </a:lnTo>
                <a:lnTo>
                  <a:pt x="768921" y="4366120"/>
                </a:lnTo>
                <a:lnTo>
                  <a:pt x="740473" y="4328020"/>
                </a:lnTo>
                <a:lnTo>
                  <a:pt x="707555" y="4289920"/>
                </a:lnTo>
                <a:lnTo>
                  <a:pt x="671258" y="4251820"/>
                </a:lnTo>
                <a:lnTo>
                  <a:pt x="632701" y="4201020"/>
                </a:lnTo>
                <a:lnTo>
                  <a:pt x="553326" y="4074020"/>
                </a:lnTo>
                <a:lnTo>
                  <a:pt x="514731" y="3997820"/>
                </a:lnTo>
                <a:lnTo>
                  <a:pt x="1159827" y="3997820"/>
                </a:lnTo>
                <a:lnTo>
                  <a:pt x="1200086" y="3959720"/>
                </a:lnTo>
                <a:lnTo>
                  <a:pt x="1227226" y="3921620"/>
                </a:lnTo>
                <a:lnTo>
                  <a:pt x="1237170" y="3870820"/>
                </a:lnTo>
                <a:lnTo>
                  <a:pt x="1227226" y="3820020"/>
                </a:lnTo>
                <a:lnTo>
                  <a:pt x="1200086" y="3781920"/>
                </a:lnTo>
                <a:lnTo>
                  <a:pt x="1159827" y="3756520"/>
                </a:lnTo>
                <a:lnTo>
                  <a:pt x="1110513" y="3743820"/>
                </a:lnTo>
                <a:lnTo>
                  <a:pt x="413499" y="3743820"/>
                </a:lnTo>
                <a:lnTo>
                  <a:pt x="401281" y="3705720"/>
                </a:lnTo>
                <a:lnTo>
                  <a:pt x="390766" y="3654920"/>
                </a:lnTo>
                <a:lnTo>
                  <a:pt x="382104" y="3604120"/>
                </a:lnTo>
                <a:lnTo>
                  <a:pt x="375450" y="3553320"/>
                </a:lnTo>
                <a:lnTo>
                  <a:pt x="370941" y="3502520"/>
                </a:lnTo>
                <a:lnTo>
                  <a:pt x="368731" y="3451720"/>
                </a:lnTo>
                <a:lnTo>
                  <a:pt x="1493862" y="3451720"/>
                </a:lnTo>
                <a:lnTo>
                  <a:pt x="1543177" y="3439020"/>
                </a:lnTo>
                <a:lnTo>
                  <a:pt x="1583436" y="3413620"/>
                </a:lnTo>
                <a:lnTo>
                  <a:pt x="1610575" y="3375520"/>
                </a:lnTo>
                <a:lnTo>
                  <a:pt x="1620520" y="3324720"/>
                </a:lnTo>
                <a:lnTo>
                  <a:pt x="1610575" y="3273920"/>
                </a:lnTo>
                <a:lnTo>
                  <a:pt x="1583436" y="3235820"/>
                </a:lnTo>
                <a:lnTo>
                  <a:pt x="1543177" y="3210420"/>
                </a:lnTo>
                <a:lnTo>
                  <a:pt x="1493862" y="3197720"/>
                </a:lnTo>
                <a:lnTo>
                  <a:pt x="393382" y="3197720"/>
                </a:lnTo>
                <a:lnTo>
                  <a:pt x="400278" y="3172320"/>
                </a:lnTo>
                <a:lnTo>
                  <a:pt x="408038" y="3134220"/>
                </a:lnTo>
                <a:lnTo>
                  <a:pt x="416763" y="3108820"/>
                </a:lnTo>
                <a:lnTo>
                  <a:pt x="426529" y="3083420"/>
                </a:lnTo>
                <a:lnTo>
                  <a:pt x="441350" y="3032620"/>
                </a:lnTo>
                <a:lnTo>
                  <a:pt x="459257" y="2994520"/>
                </a:lnTo>
                <a:lnTo>
                  <a:pt x="480085" y="2956420"/>
                </a:lnTo>
                <a:lnTo>
                  <a:pt x="503656" y="2918320"/>
                </a:lnTo>
                <a:lnTo>
                  <a:pt x="529818" y="2867520"/>
                </a:lnTo>
                <a:lnTo>
                  <a:pt x="1442580" y="2867520"/>
                </a:lnTo>
                <a:lnTo>
                  <a:pt x="1482839" y="2829420"/>
                </a:lnTo>
                <a:lnTo>
                  <a:pt x="1509979" y="2791320"/>
                </a:lnTo>
                <a:lnTo>
                  <a:pt x="1519923" y="2740520"/>
                </a:lnTo>
                <a:lnTo>
                  <a:pt x="1509979" y="2702420"/>
                </a:lnTo>
                <a:lnTo>
                  <a:pt x="1482839" y="2651620"/>
                </a:lnTo>
                <a:lnTo>
                  <a:pt x="1442580" y="2626220"/>
                </a:lnTo>
                <a:lnTo>
                  <a:pt x="1393266" y="2613520"/>
                </a:lnTo>
                <a:lnTo>
                  <a:pt x="723988" y="2613520"/>
                </a:lnTo>
                <a:lnTo>
                  <a:pt x="754214" y="2588120"/>
                </a:lnTo>
                <a:lnTo>
                  <a:pt x="785418" y="2550020"/>
                </a:lnTo>
                <a:lnTo>
                  <a:pt x="817549" y="2511920"/>
                </a:lnTo>
                <a:lnTo>
                  <a:pt x="850595" y="2486520"/>
                </a:lnTo>
                <a:lnTo>
                  <a:pt x="884466" y="2448420"/>
                </a:lnTo>
                <a:lnTo>
                  <a:pt x="919149" y="2410320"/>
                </a:lnTo>
                <a:lnTo>
                  <a:pt x="954570" y="2372220"/>
                </a:lnTo>
                <a:lnTo>
                  <a:pt x="990701" y="2334120"/>
                </a:lnTo>
                <a:lnTo>
                  <a:pt x="1027493" y="2308720"/>
                </a:lnTo>
                <a:lnTo>
                  <a:pt x="1064895" y="2270620"/>
                </a:lnTo>
                <a:lnTo>
                  <a:pt x="1102842" y="2232520"/>
                </a:lnTo>
                <a:lnTo>
                  <a:pt x="1141323" y="2194420"/>
                </a:lnTo>
                <a:lnTo>
                  <a:pt x="1180261" y="2156320"/>
                </a:lnTo>
                <a:lnTo>
                  <a:pt x="1259370" y="2080120"/>
                </a:lnTo>
                <a:lnTo>
                  <a:pt x="1339773" y="2003920"/>
                </a:lnTo>
                <a:lnTo>
                  <a:pt x="1380350" y="1978520"/>
                </a:lnTo>
                <a:lnTo>
                  <a:pt x="1460766" y="1902320"/>
                </a:lnTo>
                <a:lnTo>
                  <a:pt x="1737309" y="1635620"/>
                </a:lnTo>
                <a:lnTo>
                  <a:pt x="1776310" y="1597520"/>
                </a:lnTo>
                <a:lnTo>
                  <a:pt x="1815109" y="1572120"/>
                </a:lnTo>
                <a:lnTo>
                  <a:pt x="1891931" y="1495920"/>
                </a:lnTo>
                <a:lnTo>
                  <a:pt x="1967534" y="1419720"/>
                </a:lnTo>
                <a:lnTo>
                  <a:pt x="2004809" y="1381620"/>
                </a:lnTo>
                <a:lnTo>
                  <a:pt x="2041690" y="1343520"/>
                </a:lnTo>
                <a:lnTo>
                  <a:pt x="2078139" y="1305420"/>
                </a:lnTo>
                <a:lnTo>
                  <a:pt x="2114143" y="1267320"/>
                </a:lnTo>
                <a:lnTo>
                  <a:pt x="2149665" y="1229220"/>
                </a:lnTo>
                <a:lnTo>
                  <a:pt x="2184679" y="1191120"/>
                </a:lnTo>
                <a:lnTo>
                  <a:pt x="2219147" y="1153020"/>
                </a:lnTo>
                <a:lnTo>
                  <a:pt x="2253030" y="1114920"/>
                </a:lnTo>
                <a:lnTo>
                  <a:pt x="2286330" y="1076820"/>
                </a:lnTo>
                <a:lnTo>
                  <a:pt x="2318982" y="1038720"/>
                </a:lnTo>
                <a:lnTo>
                  <a:pt x="2350986" y="1000620"/>
                </a:lnTo>
                <a:lnTo>
                  <a:pt x="2382291" y="962520"/>
                </a:lnTo>
                <a:lnTo>
                  <a:pt x="2412873" y="924420"/>
                </a:lnTo>
                <a:lnTo>
                  <a:pt x="2442705" y="886320"/>
                </a:lnTo>
                <a:lnTo>
                  <a:pt x="2471763" y="848220"/>
                </a:lnTo>
                <a:lnTo>
                  <a:pt x="2499995" y="797420"/>
                </a:lnTo>
                <a:lnTo>
                  <a:pt x="2527401" y="759320"/>
                </a:lnTo>
                <a:lnTo>
                  <a:pt x="2553932" y="721220"/>
                </a:lnTo>
                <a:lnTo>
                  <a:pt x="2579560" y="683120"/>
                </a:lnTo>
                <a:lnTo>
                  <a:pt x="2604262" y="645020"/>
                </a:lnTo>
                <a:lnTo>
                  <a:pt x="2627998" y="606920"/>
                </a:lnTo>
                <a:lnTo>
                  <a:pt x="2650744" y="568820"/>
                </a:lnTo>
                <a:lnTo>
                  <a:pt x="2672473" y="518020"/>
                </a:lnTo>
                <a:lnTo>
                  <a:pt x="2693162" y="479920"/>
                </a:lnTo>
                <a:lnTo>
                  <a:pt x="2712758" y="441820"/>
                </a:lnTo>
                <a:lnTo>
                  <a:pt x="2731249" y="403720"/>
                </a:lnTo>
                <a:lnTo>
                  <a:pt x="2748610" y="365620"/>
                </a:lnTo>
                <a:lnTo>
                  <a:pt x="2764790" y="314820"/>
                </a:lnTo>
                <a:lnTo>
                  <a:pt x="2779776" y="276720"/>
                </a:lnTo>
                <a:lnTo>
                  <a:pt x="2793530" y="238620"/>
                </a:lnTo>
                <a:lnTo>
                  <a:pt x="2806039" y="187820"/>
                </a:lnTo>
                <a:lnTo>
                  <a:pt x="2817241" y="149720"/>
                </a:lnTo>
                <a:lnTo>
                  <a:pt x="2827134" y="111620"/>
                </a:lnTo>
                <a:lnTo>
                  <a:pt x="2835681" y="73520"/>
                </a:lnTo>
                <a:lnTo>
                  <a:pt x="2842857" y="22720"/>
                </a:lnTo>
                <a:lnTo>
                  <a:pt x="2845346" y="10020"/>
                </a:lnTo>
                <a:close/>
              </a:path>
              <a:path w="3693795" h="4721860">
                <a:moveTo>
                  <a:pt x="3506774" y="1344333"/>
                </a:moveTo>
                <a:lnTo>
                  <a:pt x="3503396" y="1297622"/>
                </a:lnTo>
                <a:lnTo>
                  <a:pt x="3493605" y="1253045"/>
                </a:lnTo>
                <a:lnTo>
                  <a:pt x="3477857" y="1211084"/>
                </a:lnTo>
                <a:lnTo>
                  <a:pt x="3456660" y="1172222"/>
                </a:lnTo>
                <a:lnTo>
                  <a:pt x="3430473" y="1136954"/>
                </a:lnTo>
                <a:lnTo>
                  <a:pt x="3399790" y="1105776"/>
                </a:lnTo>
                <a:lnTo>
                  <a:pt x="3365093" y="1079169"/>
                </a:lnTo>
                <a:lnTo>
                  <a:pt x="3326854" y="1057630"/>
                </a:lnTo>
                <a:lnTo>
                  <a:pt x="3285566" y="1041628"/>
                </a:lnTo>
                <a:lnTo>
                  <a:pt x="3241700" y="1031671"/>
                </a:lnTo>
                <a:lnTo>
                  <a:pt x="3195739" y="1028242"/>
                </a:lnTo>
                <a:lnTo>
                  <a:pt x="3149777" y="1031671"/>
                </a:lnTo>
                <a:lnTo>
                  <a:pt x="3105899" y="1041628"/>
                </a:lnTo>
                <a:lnTo>
                  <a:pt x="3064611" y="1057630"/>
                </a:lnTo>
                <a:lnTo>
                  <a:pt x="3026372" y="1079169"/>
                </a:lnTo>
                <a:lnTo>
                  <a:pt x="2991675" y="1105776"/>
                </a:lnTo>
                <a:lnTo>
                  <a:pt x="2960992" y="1136954"/>
                </a:lnTo>
                <a:lnTo>
                  <a:pt x="2934805" y="1172222"/>
                </a:lnTo>
                <a:lnTo>
                  <a:pt x="2913608" y="1211084"/>
                </a:lnTo>
                <a:lnTo>
                  <a:pt x="2897873" y="1253045"/>
                </a:lnTo>
                <a:lnTo>
                  <a:pt x="2888069" y="1297622"/>
                </a:lnTo>
                <a:lnTo>
                  <a:pt x="2884703" y="1344333"/>
                </a:lnTo>
                <a:lnTo>
                  <a:pt x="2888069" y="1391043"/>
                </a:lnTo>
                <a:lnTo>
                  <a:pt x="2897873" y="1435633"/>
                </a:lnTo>
                <a:lnTo>
                  <a:pt x="2913608" y="1477594"/>
                </a:lnTo>
                <a:lnTo>
                  <a:pt x="2934805" y="1516456"/>
                </a:lnTo>
                <a:lnTo>
                  <a:pt x="2960992" y="1551711"/>
                </a:lnTo>
                <a:lnTo>
                  <a:pt x="2991675" y="1582902"/>
                </a:lnTo>
                <a:lnTo>
                  <a:pt x="3026372" y="1609509"/>
                </a:lnTo>
                <a:lnTo>
                  <a:pt x="3064611" y="1631048"/>
                </a:lnTo>
                <a:lnTo>
                  <a:pt x="3105899" y="1647050"/>
                </a:lnTo>
                <a:lnTo>
                  <a:pt x="3149777" y="1657007"/>
                </a:lnTo>
                <a:lnTo>
                  <a:pt x="3195739" y="1660423"/>
                </a:lnTo>
                <a:lnTo>
                  <a:pt x="3241700" y="1657007"/>
                </a:lnTo>
                <a:lnTo>
                  <a:pt x="3285566" y="1647050"/>
                </a:lnTo>
                <a:lnTo>
                  <a:pt x="3326854" y="1631048"/>
                </a:lnTo>
                <a:lnTo>
                  <a:pt x="3365093" y="1609509"/>
                </a:lnTo>
                <a:lnTo>
                  <a:pt x="3399790" y="1582902"/>
                </a:lnTo>
                <a:lnTo>
                  <a:pt x="3430473" y="1551711"/>
                </a:lnTo>
                <a:lnTo>
                  <a:pt x="3456660" y="1516456"/>
                </a:lnTo>
                <a:lnTo>
                  <a:pt x="3477857" y="1477594"/>
                </a:lnTo>
                <a:lnTo>
                  <a:pt x="3493605" y="1435633"/>
                </a:lnTo>
                <a:lnTo>
                  <a:pt x="3503396" y="1391043"/>
                </a:lnTo>
                <a:lnTo>
                  <a:pt x="3506774" y="1344333"/>
                </a:lnTo>
                <a:close/>
              </a:path>
              <a:path w="3693795" h="4721860">
                <a:moveTo>
                  <a:pt x="3508527" y="2550566"/>
                </a:moveTo>
                <a:lnTo>
                  <a:pt x="3505873" y="2503855"/>
                </a:lnTo>
                <a:lnTo>
                  <a:pt x="3498113" y="2458732"/>
                </a:lnTo>
                <a:lnTo>
                  <a:pt x="3485540" y="2415476"/>
                </a:lnTo>
                <a:lnTo>
                  <a:pt x="3468459" y="2374417"/>
                </a:lnTo>
                <a:lnTo>
                  <a:pt x="3447161" y="2335834"/>
                </a:lnTo>
                <a:lnTo>
                  <a:pt x="3421938" y="2300046"/>
                </a:lnTo>
                <a:lnTo>
                  <a:pt x="3393084" y="2267331"/>
                </a:lnTo>
                <a:lnTo>
                  <a:pt x="3360890" y="2238006"/>
                </a:lnTo>
                <a:lnTo>
                  <a:pt x="3325672" y="2212378"/>
                </a:lnTo>
                <a:lnTo>
                  <a:pt x="3287712" y="2190724"/>
                </a:lnTo>
                <a:lnTo>
                  <a:pt x="3247301" y="2173363"/>
                </a:lnTo>
                <a:lnTo>
                  <a:pt x="3204756" y="2160587"/>
                </a:lnTo>
                <a:lnTo>
                  <a:pt x="3160344" y="2152713"/>
                </a:lnTo>
                <a:lnTo>
                  <a:pt x="3114383" y="2150008"/>
                </a:lnTo>
                <a:lnTo>
                  <a:pt x="3068409" y="2152713"/>
                </a:lnTo>
                <a:lnTo>
                  <a:pt x="3024009" y="2160587"/>
                </a:lnTo>
                <a:lnTo>
                  <a:pt x="2981452" y="2173363"/>
                </a:lnTo>
                <a:lnTo>
                  <a:pt x="2941040" y="2190724"/>
                </a:lnTo>
                <a:lnTo>
                  <a:pt x="2903080" y="2212378"/>
                </a:lnTo>
                <a:lnTo>
                  <a:pt x="2867863" y="2238006"/>
                </a:lnTo>
                <a:lnTo>
                  <a:pt x="2835681" y="2267331"/>
                </a:lnTo>
                <a:lnTo>
                  <a:pt x="2806827" y="2300046"/>
                </a:lnTo>
                <a:lnTo>
                  <a:pt x="2781604" y="2335834"/>
                </a:lnTo>
                <a:lnTo>
                  <a:pt x="2760294" y="2374417"/>
                </a:lnTo>
                <a:lnTo>
                  <a:pt x="2743212" y="2415476"/>
                </a:lnTo>
                <a:lnTo>
                  <a:pt x="2730639" y="2458732"/>
                </a:lnTo>
                <a:lnTo>
                  <a:pt x="2722880" y="2503855"/>
                </a:lnTo>
                <a:lnTo>
                  <a:pt x="2720238" y="2550566"/>
                </a:lnTo>
                <a:lnTo>
                  <a:pt x="2722880" y="2597289"/>
                </a:lnTo>
                <a:lnTo>
                  <a:pt x="2730639" y="2642412"/>
                </a:lnTo>
                <a:lnTo>
                  <a:pt x="2743212" y="2685669"/>
                </a:lnTo>
                <a:lnTo>
                  <a:pt x="2760294" y="2726728"/>
                </a:lnTo>
                <a:lnTo>
                  <a:pt x="2781604" y="2765310"/>
                </a:lnTo>
                <a:lnTo>
                  <a:pt x="2806827" y="2801099"/>
                </a:lnTo>
                <a:lnTo>
                  <a:pt x="2835681" y="2833814"/>
                </a:lnTo>
                <a:lnTo>
                  <a:pt x="2867863" y="2863126"/>
                </a:lnTo>
                <a:lnTo>
                  <a:pt x="2903080" y="2888767"/>
                </a:lnTo>
                <a:lnTo>
                  <a:pt x="2941040" y="2910421"/>
                </a:lnTo>
                <a:lnTo>
                  <a:pt x="2981452" y="2927781"/>
                </a:lnTo>
                <a:lnTo>
                  <a:pt x="3024009" y="2940545"/>
                </a:lnTo>
                <a:lnTo>
                  <a:pt x="3068409" y="2948432"/>
                </a:lnTo>
                <a:lnTo>
                  <a:pt x="3114383" y="2951124"/>
                </a:lnTo>
                <a:lnTo>
                  <a:pt x="3160344" y="2948432"/>
                </a:lnTo>
                <a:lnTo>
                  <a:pt x="3204756" y="2940545"/>
                </a:lnTo>
                <a:lnTo>
                  <a:pt x="3247301" y="2927781"/>
                </a:lnTo>
                <a:lnTo>
                  <a:pt x="3287712" y="2910421"/>
                </a:lnTo>
                <a:lnTo>
                  <a:pt x="3325672" y="2888767"/>
                </a:lnTo>
                <a:lnTo>
                  <a:pt x="3360890" y="2863126"/>
                </a:lnTo>
                <a:lnTo>
                  <a:pt x="3393084" y="2833814"/>
                </a:lnTo>
                <a:lnTo>
                  <a:pt x="3421938" y="2801099"/>
                </a:lnTo>
                <a:lnTo>
                  <a:pt x="3447161" y="2765310"/>
                </a:lnTo>
                <a:lnTo>
                  <a:pt x="3468459" y="2726728"/>
                </a:lnTo>
                <a:lnTo>
                  <a:pt x="3485540" y="2685669"/>
                </a:lnTo>
                <a:lnTo>
                  <a:pt x="3498113" y="2642412"/>
                </a:lnTo>
                <a:lnTo>
                  <a:pt x="3505873" y="2597289"/>
                </a:lnTo>
                <a:lnTo>
                  <a:pt x="3508527" y="2550566"/>
                </a:lnTo>
                <a:close/>
              </a:path>
              <a:path w="3693795" h="4721860">
                <a:moveTo>
                  <a:pt x="3693350" y="317944"/>
                </a:moveTo>
                <a:lnTo>
                  <a:pt x="3689007" y="268770"/>
                </a:lnTo>
                <a:lnTo>
                  <a:pt x="3676510" y="222491"/>
                </a:lnTo>
                <a:lnTo>
                  <a:pt x="3656596" y="179870"/>
                </a:lnTo>
                <a:lnTo>
                  <a:pt x="3630041" y="141693"/>
                </a:lnTo>
                <a:lnTo>
                  <a:pt x="3597592" y="108724"/>
                </a:lnTo>
                <a:lnTo>
                  <a:pt x="3560026" y="81737"/>
                </a:lnTo>
                <a:lnTo>
                  <a:pt x="3518090" y="61506"/>
                </a:lnTo>
                <a:lnTo>
                  <a:pt x="3472548" y="48793"/>
                </a:lnTo>
                <a:lnTo>
                  <a:pt x="3424161" y="44386"/>
                </a:lnTo>
                <a:lnTo>
                  <a:pt x="3375774" y="48793"/>
                </a:lnTo>
                <a:lnTo>
                  <a:pt x="3330232" y="61506"/>
                </a:lnTo>
                <a:lnTo>
                  <a:pt x="3288296" y="81737"/>
                </a:lnTo>
                <a:lnTo>
                  <a:pt x="3250730" y="108724"/>
                </a:lnTo>
                <a:lnTo>
                  <a:pt x="3218281" y="141693"/>
                </a:lnTo>
                <a:lnTo>
                  <a:pt x="3191726" y="179870"/>
                </a:lnTo>
                <a:lnTo>
                  <a:pt x="3171812" y="222491"/>
                </a:lnTo>
                <a:lnTo>
                  <a:pt x="3159315" y="268770"/>
                </a:lnTo>
                <a:lnTo>
                  <a:pt x="3154972" y="317944"/>
                </a:lnTo>
                <a:lnTo>
                  <a:pt x="3159315" y="367118"/>
                </a:lnTo>
                <a:lnTo>
                  <a:pt x="3171812" y="413397"/>
                </a:lnTo>
                <a:lnTo>
                  <a:pt x="3191726" y="456018"/>
                </a:lnTo>
                <a:lnTo>
                  <a:pt x="3218281" y="494207"/>
                </a:lnTo>
                <a:lnTo>
                  <a:pt x="3250730" y="527177"/>
                </a:lnTo>
                <a:lnTo>
                  <a:pt x="3288296" y="554164"/>
                </a:lnTo>
                <a:lnTo>
                  <a:pt x="3330232" y="574395"/>
                </a:lnTo>
                <a:lnTo>
                  <a:pt x="3375774" y="587108"/>
                </a:lnTo>
                <a:lnTo>
                  <a:pt x="3424161" y="591515"/>
                </a:lnTo>
                <a:lnTo>
                  <a:pt x="3472548" y="587108"/>
                </a:lnTo>
                <a:lnTo>
                  <a:pt x="3518090" y="574395"/>
                </a:lnTo>
                <a:lnTo>
                  <a:pt x="3560026" y="554164"/>
                </a:lnTo>
                <a:lnTo>
                  <a:pt x="3597592" y="527177"/>
                </a:lnTo>
                <a:lnTo>
                  <a:pt x="3630041" y="494207"/>
                </a:lnTo>
                <a:lnTo>
                  <a:pt x="3656596" y="456018"/>
                </a:lnTo>
                <a:lnTo>
                  <a:pt x="3676510" y="413397"/>
                </a:lnTo>
                <a:lnTo>
                  <a:pt x="3689007" y="367118"/>
                </a:lnTo>
                <a:lnTo>
                  <a:pt x="3693350" y="317944"/>
                </a:lnTo>
                <a:close/>
              </a:path>
            </a:pathLst>
          </a:custGeom>
          <a:solidFill>
            <a:srgbClr val="00A79D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581854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365125"/>
            <a:ext cx="6479308" cy="4355493"/>
          </a:xfrm>
        </p:spPr>
        <p:txBody>
          <a:bodyPr anchor="t" anchorCtr="0">
            <a:normAutofit/>
          </a:bodyPr>
          <a:lstStyle>
            <a:lvl1pPr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862945"/>
            <a:ext cx="6479307" cy="501535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1680" y="6127750"/>
            <a:ext cx="89306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BACCD77F-6A9E-76FD-8A3A-2FBB9E8A1FB5}"/>
              </a:ext>
            </a:extLst>
          </p:cNvPr>
          <p:cNvSpPr/>
          <p:nvPr userDrawn="1"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9D62E2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562647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FC349D-7459-4846-947D-CBE48ADB0FFC}"/>
              </a:ext>
            </a:extLst>
          </p:cNvPr>
          <p:cNvGrpSpPr/>
          <p:nvPr userDrawn="1"/>
        </p:nvGrpSpPr>
        <p:grpSpPr>
          <a:xfrm>
            <a:off x="9597" y="4222076"/>
            <a:ext cx="5495304" cy="2633814"/>
            <a:chOff x="9597" y="4222076"/>
            <a:chExt cx="5495304" cy="2633814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A1C7CB09-C480-93D4-4E86-80749DC8482D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500E5BE-1EAF-781E-4732-256336562279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704A627A-3432-816F-D27C-B13AF7896B4A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E3117CA8-C356-BDA9-FD85-2EB03B137EEA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>
              <a:extLst>
                <a:ext uri="{FF2B5EF4-FFF2-40B4-BE49-F238E27FC236}">
                  <a16:creationId xmlns:a16="http://schemas.microsoft.com/office/drawing/2014/main" id="{D63CF557-1D03-CF27-546B-1151257DE682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>
              <a:extLst>
                <a:ext uri="{FF2B5EF4-FFF2-40B4-BE49-F238E27FC236}">
                  <a16:creationId xmlns:a16="http://schemas.microsoft.com/office/drawing/2014/main" id="{E6538FF3-DDE2-42CC-7C40-B64B8CC9397A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>
              <a:extLst>
                <a:ext uri="{FF2B5EF4-FFF2-40B4-BE49-F238E27FC236}">
                  <a16:creationId xmlns:a16="http://schemas.microsoft.com/office/drawing/2014/main" id="{E0B7C2DB-A4D1-95C8-95C5-D97562B895E0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C7B287D-6B69-02D5-6050-7FEFF483FD0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254500" y="62408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EDCDDA5-3A8E-2128-C19E-103FF1AA9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649223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3412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74673720-C835-BE5C-5C80-3FD8DB241F01}"/>
              </a:ext>
            </a:extLst>
          </p:cNvPr>
          <p:cNvSpPr/>
          <p:nvPr userDrawn="1"/>
        </p:nvSpPr>
        <p:spPr>
          <a:xfrm>
            <a:off x="11017319" y="4297582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46D95486-8AE6-9324-FF15-FB06241C299A}"/>
              </a:ext>
            </a:extLst>
          </p:cNvPr>
          <p:cNvSpPr/>
          <p:nvPr userDrawn="1"/>
        </p:nvSpPr>
        <p:spPr>
          <a:xfrm>
            <a:off x="10858176" y="4794163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6EE743A1-10E0-9B86-6AD1-E9B92D62DCE7}"/>
              </a:ext>
            </a:extLst>
          </p:cNvPr>
          <p:cNvSpPr/>
          <p:nvPr userDrawn="1"/>
        </p:nvSpPr>
        <p:spPr>
          <a:xfrm>
            <a:off x="10211952" y="5003948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E8D99936-C791-EC50-A678-76F12A1EC831}"/>
              </a:ext>
            </a:extLst>
          </p:cNvPr>
          <p:cNvSpPr/>
          <p:nvPr userDrawn="1"/>
        </p:nvSpPr>
        <p:spPr>
          <a:xfrm>
            <a:off x="9239151" y="4572895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3A7B13D2-0D85-68C1-7844-658E315F6177}"/>
              </a:ext>
            </a:extLst>
          </p:cNvPr>
          <p:cNvSpPr/>
          <p:nvPr userDrawn="1"/>
        </p:nvSpPr>
        <p:spPr>
          <a:xfrm>
            <a:off x="7173395" y="6277376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01DC0EFC-6C93-BFA0-523B-FE355A921294}"/>
              </a:ext>
            </a:extLst>
          </p:cNvPr>
          <p:cNvSpPr/>
          <p:nvPr userDrawn="1"/>
        </p:nvSpPr>
        <p:spPr>
          <a:xfrm>
            <a:off x="6464955" y="5911803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id="{34D1CC05-DC4E-8B38-D132-6D0E40FCB802}"/>
              </a:ext>
            </a:extLst>
          </p:cNvPr>
          <p:cNvSpPr/>
          <p:nvPr userDrawn="1"/>
        </p:nvSpPr>
        <p:spPr>
          <a:xfrm>
            <a:off x="6826903" y="3913649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4">
            <a:extLst>
              <a:ext uri="{FF2B5EF4-FFF2-40B4-BE49-F238E27FC236}">
                <a16:creationId xmlns:a16="http://schemas.microsoft.com/office/drawing/2014/main" id="{3439139F-F645-CA8D-5BF1-27B8526442E2}"/>
              </a:ext>
            </a:extLst>
          </p:cNvPr>
          <p:cNvSpPr/>
          <p:nvPr userDrawn="1"/>
        </p:nvSpPr>
        <p:spPr>
          <a:xfrm>
            <a:off x="8852061" y="5677297"/>
            <a:ext cx="1497988" cy="149798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1C70859E-DCA5-87BD-ACBD-C84DD8CAD7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965953D-FE9D-4CC7-8DA0-75C83642EEAC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086041" y="43104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5546EC1-A810-BD21-641C-B8D3468803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103120"/>
            <a:ext cx="5634596" cy="36372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80B015F-1A06-9783-C83F-0B002E388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841" y="283845"/>
            <a:ext cx="570991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19532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0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FC349D-7459-4846-947D-CBE48ADB0FFC}"/>
              </a:ext>
            </a:extLst>
          </p:cNvPr>
          <p:cNvGrpSpPr/>
          <p:nvPr userDrawn="1"/>
        </p:nvGrpSpPr>
        <p:grpSpPr>
          <a:xfrm>
            <a:off x="9597" y="4222076"/>
            <a:ext cx="5495304" cy="2633814"/>
            <a:chOff x="9597" y="4222076"/>
            <a:chExt cx="5495304" cy="2633814"/>
          </a:xfrm>
          <a:solidFill>
            <a:srgbClr val="FFFFFF">
              <a:alpha val="14902"/>
            </a:srgbClr>
          </a:solidFill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A1C7CB09-C480-93D4-4E86-80749DC8482D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500E5BE-1EAF-781E-4732-256336562279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704A627A-3432-816F-D27C-B13AF7896B4A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E3117CA8-C356-BDA9-FD85-2EB03B137EEA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>
              <a:extLst>
                <a:ext uri="{FF2B5EF4-FFF2-40B4-BE49-F238E27FC236}">
                  <a16:creationId xmlns:a16="http://schemas.microsoft.com/office/drawing/2014/main" id="{D63CF557-1D03-CF27-546B-1151257DE682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>
              <a:extLst>
                <a:ext uri="{FF2B5EF4-FFF2-40B4-BE49-F238E27FC236}">
                  <a16:creationId xmlns:a16="http://schemas.microsoft.com/office/drawing/2014/main" id="{E6538FF3-DDE2-42CC-7C40-B64B8CC9397A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>
              <a:extLst>
                <a:ext uri="{FF2B5EF4-FFF2-40B4-BE49-F238E27FC236}">
                  <a16:creationId xmlns:a16="http://schemas.microsoft.com/office/drawing/2014/main" id="{E0B7C2DB-A4D1-95C8-95C5-D97562B895E0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40C06F99-8172-DCE1-7EFE-FF4F105EC10F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937730" y="-624301"/>
            <a:ext cx="8682510" cy="8565938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D5A134A-9500-7361-A12A-6B671873C9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B2A364B-A6CD-5EAF-DE9C-A1C82F55A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543559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69843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8709D87-BA1C-72DE-952F-21C692F1E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66238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D4B2F3-8059-DBA5-4D44-29894B41DAB0}"/>
              </a:ext>
            </a:extLst>
          </p:cNvPr>
          <p:cNvGrpSpPr/>
          <p:nvPr userDrawn="1"/>
        </p:nvGrpSpPr>
        <p:grpSpPr>
          <a:xfrm>
            <a:off x="9598" y="0"/>
            <a:ext cx="5429576" cy="1714213"/>
            <a:chOff x="9598" y="0"/>
            <a:chExt cx="5429576" cy="1714213"/>
          </a:xfrm>
        </p:grpSpPr>
        <p:sp>
          <p:nvSpPr>
            <p:cNvPr id="4" name="object 3">
              <a:extLst>
                <a:ext uri="{FF2B5EF4-FFF2-40B4-BE49-F238E27FC236}">
                  <a16:creationId xmlns:a16="http://schemas.microsoft.com/office/drawing/2014/main" id="{E252FAA9-4B96-7A6B-6755-5360E5145F5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4">
              <a:extLst>
                <a:ext uri="{FF2B5EF4-FFF2-40B4-BE49-F238E27FC236}">
                  <a16:creationId xmlns:a16="http://schemas.microsoft.com/office/drawing/2014/main" id="{56DD7027-7ED1-92CB-BE49-E54EC1CD9B2F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574E6B3C-9B13-98CF-F82C-2B284F58AF9D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E9FF9299-C740-B26B-8D45-170AAA2348AC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2B962E37-FE51-2FC3-86B1-3D569395D98C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9B2A4857-919E-A8C5-E6FC-67973FDB4AF1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E02B544-A40A-C2C8-B48C-6F244BD0DFB6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284881" y="-715900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2A84FDF-B4A9-904D-3D86-7133D1D60D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367280"/>
            <a:ext cx="5360276" cy="36576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D8A16EC-8618-0864-AC9B-EAB51A18BF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881" y="1483360"/>
            <a:ext cx="6492239" cy="755968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03707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38F56F-30C0-B8AE-9A2D-75D458292098}"/>
              </a:ext>
            </a:extLst>
          </p:cNvPr>
          <p:cNvGrpSpPr/>
          <p:nvPr userDrawn="1"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17BFCD84-F3D5-2D67-1EF1-6EA656954F9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DC5B7BD2-C012-045B-C0AE-20165117D00C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46C39FBD-DAAB-94DF-35DC-C352F1542076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5658E3DE-4D80-E3F3-9EBE-7C75B09AA30F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591B4FBF-72FE-5A76-77F5-9B370934F24C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A151A684-DA1D-804F-5426-4B4A7A6B4C86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7467FD7-B03A-A783-6DAD-BFE1F429ED7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249137" y="-881221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C0E5294-F5B4-77CF-A37F-AB562DD1B1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661920"/>
            <a:ext cx="5634596" cy="3078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39FECD-897F-06F3-56D7-FC72D58F9B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8881" y="1615440"/>
            <a:ext cx="5709919" cy="907098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15290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-121920" y="-4957"/>
            <a:ext cx="1231976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D4B2F3-8059-DBA5-4D44-29894B41DAB0}"/>
              </a:ext>
            </a:extLst>
          </p:cNvPr>
          <p:cNvGrpSpPr/>
          <p:nvPr userDrawn="1"/>
        </p:nvGrpSpPr>
        <p:grpSpPr>
          <a:xfrm>
            <a:off x="-121920" y="-389572"/>
            <a:ext cx="5429576" cy="1714213"/>
            <a:chOff x="9598" y="0"/>
            <a:chExt cx="5429576" cy="1714213"/>
          </a:xfrm>
        </p:grpSpPr>
        <p:sp>
          <p:nvSpPr>
            <p:cNvPr id="4" name="object 3">
              <a:extLst>
                <a:ext uri="{FF2B5EF4-FFF2-40B4-BE49-F238E27FC236}">
                  <a16:creationId xmlns:a16="http://schemas.microsoft.com/office/drawing/2014/main" id="{E252FAA9-4B96-7A6B-6755-5360E5145F5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4">
              <a:extLst>
                <a:ext uri="{FF2B5EF4-FFF2-40B4-BE49-F238E27FC236}">
                  <a16:creationId xmlns:a16="http://schemas.microsoft.com/office/drawing/2014/main" id="{56DD7027-7ED1-92CB-BE49-E54EC1CD9B2F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574E6B3C-9B13-98CF-F82C-2B284F58AF9D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E9FF9299-C740-B26B-8D45-170AAA2348AC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2B962E37-FE51-2FC3-86B1-3D569395D98C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9B2A4857-919E-A8C5-E6FC-67973FDB4AF1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E6294C19-5D10-1A71-B204-31C0C2A5477A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169931" y="-897413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4356BD6-1C5C-9AA4-5362-F5FAC5EFE6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6EAF454-36EC-DCFE-55B7-5195E0BEF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649223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37137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38F56F-30C0-B8AE-9A2D-75D458292098}"/>
              </a:ext>
            </a:extLst>
          </p:cNvPr>
          <p:cNvGrpSpPr/>
          <p:nvPr userDrawn="1"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17BFCD84-F3D5-2D67-1EF1-6EA656954F9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DC5B7BD2-C012-045B-C0AE-20165117D00C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46C39FBD-DAAB-94DF-35DC-C352F1542076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5658E3DE-4D80-E3F3-9EBE-7C75B09AA30F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591B4FBF-72FE-5A76-77F5-9B370934F24C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A151A684-DA1D-804F-5426-4B4A7A6B4C86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6A941DA-EEFE-1DF4-35CF-14C8B0F4F25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635760" y="-683147"/>
            <a:ext cx="7573873" cy="721259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18BAC3E-9C24-5719-CA3D-F7A0323717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103120"/>
            <a:ext cx="5634596" cy="36372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59A3552-8D5D-6609-37CC-BB86F389B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01" y="771525"/>
            <a:ext cx="570991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55508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7">
            <a:extLst>
              <a:ext uri="{FF2B5EF4-FFF2-40B4-BE49-F238E27FC236}">
                <a16:creationId xmlns:a16="http://schemas.microsoft.com/office/drawing/2014/main" id="{C5CC3C5B-20F5-EDF1-6350-FE204957F054}"/>
              </a:ext>
            </a:extLst>
          </p:cNvPr>
          <p:cNvSpPr/>
          <p:nvPr/>
        </p:nvSpPr>
        <p:spPr>
          <a:xfrm>
            <a:off x="15163" y="2303"/>
            <a:ext cx="12271379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226669" y="6831254"/>
                </a:moveTo>
                <a:lnTo>
                  <a:pt x="223977" y="6784530"/>
                </a:lnTo>
                <a:lnTo>
                  <a:pt x="216090" y="6739382"/>
                </a:lnTo>
                <a:lnTo>
                  <a:pt x="203314" y="6696126"/>
                </a:lnTo>
                <a:lnTo>
                  <a:pt x="185940" y="6655054"/>
                </a:lnTo>
                <a:lnTo>
                  <a:pt x="164287" y="6616459"/>
                </a:lnTo>
                <a:lnTo>
                  <a:pt x="138645" y="6580657"/>
                </a:lnTo>
                <a:lnTo>
                  <a:pt x="109308" y="6547929"/>
                </a:lnTo>
                <a:lnTo>
                  <a:pt x="76593" y="6518605"/>
                </a:lnTo>
                <a:lnTo>
                  <a:pt x="40792" y="6492964"/>
                </a:lnTo>
                <a:lnTo>
                  <a:pt x="2197" y="6471310"/>
                </a:lnTo>
                <a:lnTo>
                  <a:pt x="0" y="6470370"/>
                </a:lnTo>
                <a:lnTo>
                  <a:pt x="0" y="7192124"/>
                </a:lnTo>
                <a:lnTo>
                  <a:pt x="40792" y="7169531"/>
                </a:lnTo>
                <a:lnTo>
                  <a:pt x="76593" y="7143890"/>
                </a:lnTo>
                <a:lnTo>
                  <a:pt x="109308" y="7114565"/>
                </a:lnTo>
                <a:lnTo>
                  <a:pt x="138645" y="7081837"/>
                </a:lnTo>
                <a:lnTo>
                  <a:pt x="164287" y="7046036"/>
                </a:lnTo>
                <a:lnTo>
                  <a:pt x="185940" y="7007453"/>
                </a:lnTo>
                <a:lnTo>
                  <a:pt x="203314" y="6966382"/>
                </a:lnTo>
                <a:lnTo>
                  <a:pt x="216090" y="6923125"/>
                </a:lnTo>
                <a:lnTo>
                  <a:pt x="223977" y="6877977"/>
                </a:lnTo>
                <a:lnTo>
                  <a:pt x="226669" y="6831254"/>
                </a:lnTo>
                <a:close/>
              </a:path>
              <a:path w="13428344" h="7560309">
                <a:moveTo>
                  <a:pt x="570217" y="5353024"/>
                </a:moveTo>
                <a:lnTo>
                  <a:pt x="568934" y="5305234"/>
                </a:lnTo>
                <a:lnTo>
                  <a:pt x="565111" y="5258117"/>
                </a:lnTo>
                <a:lnTo>
                  <a:pt x="558812" y="5211737"/>
                </a:lnTo>
                <a:lnTo>
                  <a:pt x="550125" y="5166169"/>
                </a:lnTo>
                <a:lnTo>
                  <a:pt x="539102" y="5121478"/>
                </a:lnTo>
                <a:lnTo>
                  <a:pt x="525818" y="5077714"/>
                </a:lnTo>
                <a:lnTo>
                  <a:pt x="510324" y="5034966"/>
                </a:lnTo>
                <a:lnTo>
                  <a:pt x="492696" y="4993284"/>
                </a:lnTo>
                <a:lnTo>
                  <a:pt x="472998" y="4952746"/>
                </a:lnTo>
                <a:lnTo>
                  <a:pt x="451294" y="4913401"/>
                </a:lnTo>
                <a:lnTo>
                  <a:pt x="427659" y="4875339"/>
                </a:lnTo>
                <a:lnTo>
                  <a:pt x="402158" y="4838611"/>
                </a:lnTo>
                <a:lnTo>
                  <a:pt x="374853" y="4803292"/>
                </a:lnTo>
                <a:lnTo>
                  <a:pt x="345821" y="4769434"/>
                </a:lnTo>
                <a:lnTo>
                  <a:pt x="315099" y="4737125"/>
                </a:lnTo>
                <a:lnTo>
                  <a:pt x="282790" y="4706417"/>
                </a:lnTo>
                <a:lnTo>
                  <a:pt x="248932" y="4677372"/>
                </a:lnTo>
                <a:lnTo>
                  <a:pt x="213614" y="4650067"/>
                </a:lnTo>
                <a:lnTo>
                  <a:pt x="176885" y="4624565"/>
                </a:lnTo>
                <a:lnTo>
                  <a:pt x="138823" y="4600930"/>
                </a:lnTo>
                <a:lnTo>
                  <a:pt x="99479" y="4579226"/>
                </a:lnTo>
                <a:lnTo>
                  <a:pt x="58940" y="4559541"/>
                </a:lnTo>
                <a:lnTo>
                  <a:pt x="17259" y="4541913"/>
                </a:lnTo>
                <a:lnTo>
                  <a:pt x="0" y="4535652"/>
                </a:lnTo>
                <a:lnTo>
                  <a:pt x="0" y="6170409"/>
                </a:lnTo>
                <a:lnTo>
                  <a:pt x="58940" y="6146520"/>
                </a:lnTo>
                <a:lnTo>
                  <a:pt x="99479" y="6126823"/>
                </a:lnTo>
                <a:lnTo>
                  <a:pt x="138823" y="6105118"/>
                </a:lnTo>
                <a:lnTo>
                  <a:pt x="176885" y="6081496"/>
                </a:lnTo>
                <a:lnTo>
                  <a:pt x="213614" y="6055982"/>
                </a:lnTo>
                <a:lnTo>
                  <a:pt x="248932" y="6028677"/>
                </a:lnTo>
                <a:lnTo>
                  <a:pt x="282790" y="5999645"/>
                </a:lnTo>
                <a:lnTo>
                  <a:pt x="315099" y="5968924"/>
                </a:lnTo>
                <a:lnTo>
                  <a:pt x="345821" y="5936615"/>
                </a:lnTo>
                <a:lnTo>
                  <a:pt x="374853" y="5902757"/>
                </a:lnTo>
                <a:lnTo>
                  <a:pt x="402158" y="5867438"/>
                </a:lnTo>
                <a:lnTo>
                  <a:pt x="427659" y="5830709"/>
                </a:lnTo>
                <a:lnTo>
                  <a:pt x="451294" y="5792648"/>
                </a:lnTo>
                <a:lnTo>
                  <a:pt x="472998" y="5753316"/>
                </a:lnTo>
                <a:lnTo>
                  <a:pt x="492696" y="5712765"/>
                </a:lnTo>
                <a:lnTo>
                  <a:pt x="510324" y="5671083"/>
                </a:lnTo>
                <a:lnTo>
                  <a:pt x="525818" y="5628335"/>
                </a:lnTo>
                <a:lnTo>
                  <a:pt x="539102" y="5584583"/>
                </a:lnTo>
                <a:lnTo>
                  <a:pt x="550125" y="5539879"/>
                </a:lnTo>
                <a:lnTo>
                  <a:pt x="558812" y="5494312"/>
                </a:lnTo>
                <a:lnTo>
                  <a:pt x="565111" y="5447931"/>
                </a:lnTo>
                <a:lnTo>
                  <a:pt x="568934" y="5400814"/>
                </a:lnTo>
                <a:lnTo>
                  <a:pt x="570217" y="5353024"/>
                </a:lnTo>
                <a:close/>
              </a:path>
              <a:path w="13428344" h="7560309">
                <a:moveTo>
                  <a:pt x="2835325" y="6635394"/>
                </a:moveTo>
                <a:lnTo>
                  <a:pt x="2834322" y="6586918"/>
                </a:lnTo>
                <a:lnTo>
                  <a:pt x="2831325" y="6538963"/>
                </a:lnTo>
                <a:lnTo>
                  <a:pt x="2826397" y="6491567"/>
                </a:lnTo>
                <a:lnTo>
                  <a:pt x="2819552" y="6444755"/>
                </a:lnTo>
                <a:lnTo>
                  <a:pt x="2810840" y="6398565"/>
                </a:lnTo>
                <a:lnTo>
                  <a:pt x="2800312" y="6353061"/>
                </a:lnTo>
                <a:lnTo>
                  <a:pt x="2787980" y="6308268"/>
                </a:lnTo>
                <a:lnTo>
                  <a:pt x="2773921" y="6264224"/>
                </a:lnTo>
                <a:lnTo>
                  <a:pt x="2758148" y="6220968"/>
                </a:lnTo>
                <a:lnTo>
                  <a:pt x="2740698" y="6178550"/>
                </a:lnTo>
                <a:lnTo>
                  <a:pt x="2721635" y="6136995"/>
                </a:lnTo>
                <a:lnTo>
                  <a:pt x="2700985" y="6096355"/>
                </a:lnTo>
                <a:lnTo>
                  <a:pt x="2678773" y="6056668"/>
                </a:lnTo>
                <a:lnTo>
                  <a:pt x="2655062" y="6017971"/>
                </a:lnTo>
                <a:lnTo>
                  <a:pt x="2629890" y="5980303"/>
                </a:lnTo>
                <a:lnTo>
                  <a:pt x="2603284" y="5943701"/>
                </a:lnTo>
                <a:lnTo>
                  <a:pt x="2575293" y="5908218"/>
                </a:lnTo>
                <a:lnTo>
                  <a:pt x="2545943" y="5873877"/>
                </a:lnTo>
                <a:lnTo>
                  <a:pt x="2515298" y="5840730"/>
                </a:lnTo>
                <a:lnTo>
                  <a:pt x="2483370" y="5808802"/>
                </a:lnTo>
                <a:lnTo>
                  <a:pt x="2450223" y="5778157"/>
                </a:lnTo>
                <a:lnTo>
                  <a:pt x="2415883" y="5748807"/>
                </a:lnTo>
                <a:lnTo>
                  <a:pt x="2380399" y="5720816"/>
                </a:lnTo>
                <a:lnTo>
                  <a:pt x="2343797" y="5694210"/>
                </a:lnTo>
                <a:lnTo>
                  <a:pt x="2306129" y="5669026"/>
                </a:lnTo>
                <a:lnTo>
                  <a:pt x="2267432" y="5645315"/>
                </a:lnTo>
                <a:lnTo>
                  <a:pt x="2227732" y="5623115"/>
                </a:lnTo>
                <a:lnTo>
                  <a:pt x="2187092" y="5602465"/>
                </a:lnTo>
                <a:lnTo>
                  <a:pt x="2145550" y="5583390"/>
                </a:lnTo>
                <a:lnTo>
                  <a:pt x="2103120" y="5565953"/>
                </a:lnTo>
                <a:lnTo>
                  <a:pt x="2059876" y="5550179"/>
                </a:lnTo>
                <a:lnTo>
                  <a:pt x="2015832" y="5536108"/>
                </a:lnTo>
                <a:lnTo>
                  <a:pt x="1971040" y="5523789"/>
                </a:lnTo>
                <a:lnTo>
                  <a:pt x="1925523" y="5513260"/>
                </a:lnTo>
                <a:lnTo>
                  <a:pt x="1879346" y="5504548"/>
                </a:lnTo>
                <a:lnTo>
                  <a:pt x="1832533" y="5497703"/>
                </a:lnTo>
                <a:lnTo>
                  <a:pt x="1785137" y="5492762"/>
                </a:lnTo>
                <a:lnTo>
                  <a:pt x="1737169" y="5489778"/>
                </a:lnTo>
                <a:lnTo>
                  <a:pt x="1688706" y="5488775"/>
                </a:lnTo>
                <a:lnTo>
                  <a:pt x="1640243" y="5489778"/>
                </a:lnTo>
                <a:lnTo>
                  <a:pt x="1592275" y="5492762"/>
                </a:lnTo>
                <a:lnTo>
                  <a:pt x="1544878" y="5497703"/>
                </a:lnTo>
                <a:lnTo>
                  <a:pt x="1498066" y="5504548"/>
                </a:lnTo>
                <a:lnTo>
                  <a:pt x="1451889" y="5513260"/>
                </a:lnTo>
                <a:lnTo>
                  <a:pt x="1406372" y="5523789"/>
                </a:lnTo>
                <a:lnTo>
                  <a:pt x="1361579" y="5536108"/>
                </a:lnTo>
                <a:lnTo>
                  <a:pt x="1317536" y="5550179"/>
                </a:lnTo>
                <a:lnTo>
                  <a:pt x="1274292" y="5565953"/>
                </a:lnTo>
                <a:lnTo>
                  <a:pt x="1231861" y="5583390"/>
                </a:lnTo>
                <a:lnTo>
                  <a:pt x="1190320" y="5602465"/>
                </a:lnTo>
                <a:lnTo>
                  <a:pt x="1149680" y="5623115"/>
                </a:lnTo>
                <a:lnTo>
                  <a:pt x="1109980" y="5645315"/>
                </a:lnTo>
                <a:lnTo>
                  <a:pt x="1071283" y="5669026"/>
                </a:lnTo>
                <a:lnTo>
                  <a:pt x="1033614" y="5694210"/>
                </a:lnTo>
                <a:lnTo>
                  <a:pt x="997013" y="5720816"/>
                </a:lnTo>
                <a:lnTo>
                  <a:pt x="961529" y="5748807"/>
                </a:lnTo>
                <a:lnTo>
                  <a:pt x="927188" y="5778157"/>
                </a:lnTo>
                <a:lnTo>
                  <a:pt x="894041" y="5808802"/>
                </a:lnTo>
                <a:lnTo>
                  <a:pt x="862114" y="5840730"/>
                </a:lnTo>
                <a:lnTo>
                  <a:pt x="831469" y="5873877"/>
                </a:lnTo>
                <a:lnTo>
                  <a:pt x="802119" y="5908218"/>
                </a:lnTo>
                <a:lnTo>
                  <a:pt x="774128" y="5943701"/>
                </a:lnTo>
                <a:lnTo>
                  <a:pt x="747522" y="5980303"/>
                </a:lnTo>
                <a:lnTo>
                  <a:pt x="722350" y="6017971"/>
                </a:lnTo>
                <a:lnTo>
                  <a:pt x="698639" y="6056668"/>
                </a:lnTo>
                <a:lnTo>
                  <a:pt x="676427" y="6096355"/>
                </a:lnTo>
                <a:lnTo>
                  <a:pt x="655777" y="6136995"/>
                </a:lnTo>
                <a:lnTo>
                  <a:pt x="636714" y="6178550"/>
                </a:lnTo>
                <a:lnTo>
                  <a:pt x="619264" y="6220968"/>
                </a:lnTo>
                <a:lnTo>
                  <a:pt x="603491" y="6264224"/>
                </a:lnTo>
                <a:lnTo>
                  <a:pt x="589432" y="6308268"/>
                </a:lnTo>
                <a:lnTo>
                  <a:pt x="577100" y="6353061"/>
                </a:lnTo>
                <a:lnTo>
                  <a:pt x="566572" y="6398565"/>
                </a:lnTo>
                <a:lnTo>
                  <a:pt x="557860" y="6444755"/>
                </a:lnTo>
                <a:lnTo>
                  <a:pt x="551014" y="6491567"/>
                </a:lnTo>
                <a:lnTo>
                  <a:pt x="546087" y="6538963"/>
                </a:lnTo>
                <a:lnTo>
                  <a:pt x="543090" y="6586918"/>
                </a:lnTo>
                <a:lnTo>
                  <a:pt x="542086" y="6635394"/>
                </a:lnTo>
                <a:lnTo>
                  <a:pt x="543090" y="6683857"/>
                </a:lnTo>
                <a:lnTo>
                  <a:pt x="546087" y="6731813"/>
                </a:lnTo>
                <a:lnTo>
                  <a:pt x="551014" y="6779222"/>
                </a:lnTo>
                <a:lnTo>
                  <a:pt x="557860" y="6826034"/>
                </a:lnTo>
                <a:lnTo>
                  <a:pt x="566572" y="6872211"/>
                </a:lnTo>
                <a:lnTo>
                  <a:pt x="577100" y="6917715"/>
                </a:lnTo>
                <a:lnTo>
                  <a:pt x="589432" y="6962508"/>
                </a:lnTo>
                <a:lnTo>
                  <a:pt x="603491" y="7006552"/>
                </a:lnTo>
                <a:lnTo>
                  <a:pt x="619264" y="7049808"/>
                </a:lnTo>
                <a:lnTo>
                  <a:pt x="636714" y="7092226"/>
                </a:lnTo>
                <a:lnTo>
                  <a:pt x="655777" y="7133780"/>
                </a:lnTo>
                <a:lnTo>
                  <a:pt x="676427" y="7174420"/>
                </a:lnTo>
                <a:lnTo>
                  <a:pt x="698639" y="7214108"/>
                </a:lnTo>
                <a:lnTo>
                  <a:pt x="722350" y="7252805"/>
                </a:lnTo>
                <a:lnTo>
                  <a:pt x="747522" y="7290473"/>
                </a:lnTo>
                <a:lnTo>
                  <a:pt x="774128" y="7327074"/>
                </a:lnTo>
                <a:lnTo>
                  <a:pt x="802119" y="7362571"/>
                </a:lnTo>
                <a:lnTo>
                  <a:pt x="831469" y="7396912"/>
                </a:lnTo>
                <a:lnTo>
                  <a:pt x="862114" y="7430059"/>
                </a:lnTo>
                <a:lnTo>
                  <a:pt x="894041" y="7461974"/>
                </a:lnTo>
                <a:lnTo>
                  <a:pt x="927188" y="7492632"/>
                </a:lnTo>
                <a:lnTo>
                  <a:pt x="961529" y="7521969"/>
                </a:lnTo>
                <a:lnTo>
                  <a:pt x="997013" y="7549972"/>
                </a:lnTo>
                <a:lnTo>
                  <a:pt x="1010831" y="7560005"/>
                </a:lnTo>
                <a:lnTo>
                  <a:pt x="2366581" y="7560005"/>
                </a:lnTo>
                <a:lnTo>
                  <a:pt x="2415883" y="7521969"/>
                </a:lnTo>
                <a:lnTo>
                  <a:pt x="2450223" y="7492632"/>
                </a:lnTo>
                <a:lnTo>
                  <a:pt x="2483370" y="7461974"/>
                </a:lnTo>
                <a:lnTo>
                  <a:pt x="2515298" y="7430059"/>
                </a:lnTo>
                <a:lnTo>
                  <a:pt x="2545943" y="7396912"/>
                </a:lnTo>
                <a:lnTo>
                  <a:pt x="2575293" y="7362571"/>
                </a:lnTo>
                <a:lnTo>
                  <a:pt x="2603284" y="7327074"/>
                </a:lnTo>
                <a:lnTo>
                  <a:pt x="2629890" y="7290473"/>
                </a:lnTo>
                <a:lnTo>
                  <a:pt x="2655062" y="7252805"/>
                </a:lnTo>
                <a:lnTo>
                  <a:pt x="2678773" y="7214108"/>
                </a:lnTo>
                <a:lnTo>
                  <a:pt x="2700985" y="7174420"/>
                </a:lnTo>
                <a:lnTo>
                  <a:pt x="2721635" y="7133780"/>
                </a:lnTo>
                <a:lnTo>
                  <a:pt x="2740698" y="7092226"/>
                </a:lnTo>
                <a:lnTo>
                  <a:pt x="2758148" y="7049808"/>
                </a:lnTo>
                <a:lnTo>
                  <a:pt x="2773921" y="7006552"/>
                </a:lnTo>
                <a:lnTo>
                  <a:pt x="2787980" y="6962508"/>
                </a:lnTo>
                <a:lnTo>
                  <a:pt x="2800312" y="6917715"/>
                </a:lnTo>
                <a:lnTo>
                  <a:pt x="2810840" y="6872211"/>
                </a:lnTo>
                <a:lnTo>
                  <a:pt x="2819552" y="6826034"/>
                </a:lnTo>
                <a:lnTo>
                  <a:pt x="2826397" y="6779222"/>
                </a:lnTo>
                <a:lnTo>
                  <a:pt x="2831325" y="6731813"/>
                </a:lnTo>
                <a:lnTo>
                  <a:pt x="2834322" y="6683857"/>
                </a:lnTo>
                <a:lnTo>
                  <a:pt x="2835325" y="6635394"/>
                </a:lnTo>
                <a:close/>
              </a:path>
              <a:path w="13428344" h="7560309">
                <a:moveTo>
                  <a:pt x="2872587" y="5132197"/>
                </a:moveTo>
                <a:lnTo>
                  <a:pt x="2869895" y="5085473"/>
                </a:lnTo>
                <a:lnTo>
                  <a:pt x="2862008" y="5040338"/>
                </a:lnTo>
                <a:lnTo>
                  <a:pt x="2849232" y="4997069"/>
                </a:lnTo>
                <a:lnTo>
                  <a:pt x="2831858" y="4955997"/>
                </a:lnTo>
                <a:lnTo>
                  <a:pt x="2810205" y="4917402"/>
                </a:lnTo>
                <a:lnTo>
                  <a:pt x="2784564" y="4881600"/>
                </a:lnTo>
                <a:lnTo>
                  <a:pt x="2755239" y="4848885"/>
                </a:lnTo>
                <a:lnTo>
                  <a:pt x="2722511" y="4819548"/>
                </a:lnTo>
                <a:lnTo>
                  <a:pt x="2686710" y="4793907"/>
                </a:lnTo>
                <a:lnTo>
                  <a:pt x="2648115" y="4772253"/>
                </a:lnTo>
                <a:lnTo>
                  <a:pt x="2607043" y="4754892"/>
                </a:lnTo>
                <a:lnTo>
                  <a:pt x="2563787" y="4742116"/>
                </a:lnTo>
                <a:lnTo>
                  <a:pt x="2518638" y="4734230"/>
                </a:lnTo>
                <a:lnTo>
                  <a:pt x="2471915" y="4731524"/>
                </a:lnTo>
                <a:lnTo>
                  <a:pt x="2425192" y="4734230"/>
                </a:lnTo>
                <a:lnTo>
                  <a:pt x="2380043" y="4742116"/>
                </a:lnTo>
                <a:lnTo>
                  <a:pt x="2336787" y="4754892"/>
                </a:lnTo>
                <a:lnTo>
                  <a:pt x="2295715" y="4772253"/>
                </a:lnTo>
                <a:lnTo>
                  <a:pt x="2257120" y="4793907"/>
                </a:lnTo>
                <a:lnTo>
                  <a:pt x="2221319" y="4819548"/>
                </a:lnTo>
                <a:lnTo>
                  <a:pt x="2188603" y="4848885"/>
                </a:lnTo>
                <a:lnTo>
                  <a:pt x="2159266" y="4881600"/>
                </a:lnTo>
                <a:lnTo>
                  <a:pt x="2133625" y="4917402"/>
                </a:lnTo>
                <a:lnTo>
                  <a:pt x="2111972" y="4955997"/>
                </a:lnTo>
                <a:lnTo>
                  <a:pt x="2094598" y="4997069"/>
                </a:lnTo>
                <a:lnTo>
                  <a:pt x="2081822" y="5040338"/>
                </a:lnTo>
                <a:lnTo>
                  <a:pt x="2073935" y="5085473"/>
                </a:lnTo>
                <a:lnTo>
                  <a:pt x="2071243" y="5132197"/>
                </a:lnTo>
                <a:lnTo>
                  <a:pt x="2073935" y="5178933"/>
                </a:lnTo>
                <a:lnTo>
                  <a:pt x="2081822" y="5224069"/>
                </a:lnTo>
                <a:lnTo>
                  <a:pt x="2094598" y="5267337"/>
                </a:lnTo>
                <a:lnTo>
                  <a:pt x="2111972" y="5308409"/>
                </a:lnTo>
                <a:lnTo>
                  <a:pt x="2133625" y="5346992"/>
                </a:lnTo>
                <a:lnTo>
                  <a:pt x="2159266" y="5382793"/>
                </a:lnTo>
                <a:lnTo>
                  <a:pt x="2188603" y="5415508"/>
                </a:lnTo>
                <a:lnTo>
                  <a:pt x="2221319" y="5444845"/>
                </a:lnTo>
                <a:lnTo>
                  <a:pt x="2257120" y="5470487"/>
                </a:lnTo>
                <a:lnTo>
                  <a:pt x="2295715" y="5492140"/>
                </a:lnTo>
                <a:lnTo>
                  <a:pt x="2336787" y="5509501"/>
                </a:lnTo>
                <a:lnTo>
                  <a:pt x="2380043" y="5522277"/>
                </a:lnTo>
                <a:lnTo>
                  <a:pt x="2425192" y="5530164"/>
                </a:lnTo>
                <a:lnTo>
                  <a:pt x="2471915" y="5532856"/>
                </a:lnTo>
                <a:lnTo>
                  <a:pt x="2518638" y="5530164"/>
                </a:lnTo>
                <a:lnTo>
                  <a:pt x="2563787" y="5522277"/>
                </a:lnTo>
                <a:lnTo>
                  <a:pt x="2607043" y="5509501"/>
                </a:lnTo>
                <a:lnTo>
                  <a:pt x="2648115" y="5492140"/>
                </a:lnTo>
                <a:lnTo>
                  <a:pt x="2686710" y="5470487"/>
                </a:lnTo>
                <a:lnTo>
                  <a:pt x="2722511" y="5444845"/>
                </a:lnTo>
                <a:lnTo>
                  <a:pt x="2755239" y="5415508"/>
                </a:lnTo>
                <a:lnTo>
                  <a:pt x="2784564" y="5382793"/>
                </a:lnTo>
                <a:lnTo>
                  <a:pt x="2810205" y="5346992"/>
                </a:lnTo>
                <a:lnTo>
                  <a:pt x="2831858" y="5308409"/>
                </a:lnTo>
                <a:lnTo>
                  <a:pt x="2849232" y="5267337"/>
                </a:lnTo>
                <a:lnTo>
                  <a:pt x="2862008" y="5224069"/>
                </a:lnTo>
                <a:lnTo>
                  <a:pt x="2869895" y="5178933"/>
                </a:lnTo>
                <a:lnTo>
                  <a:pt x="2872587" y="5132197"/>
                </a:lnTo>
                <a:close/>
              </a:path>
              <a:path w="13428344" h="7560309">
                <a:moveTo>
                  <a:pt x="3311982" y="5582005"/>
                </a:moveTo>
                <a:lnTo>
                  <a:pt x="3307931" y="5536819"/>
                </a:lnTo>
                <a:lnTo>
                  <a:pt x="3296259" y="5494274"/>
                </a:lnTo>
                <a:lnTo>
                  <a:pt x="3277666" y="5455107"/>
                </a:lnTo>
                <a:lnTo>
                  <a:pt x="3252863" y="5420017"/>
                </a:lnTo>
                <a:lnTo>
                  <a:pt x="3222561" y="5389715"/>
                </a:lnTo>
                <a:lnTo>
                  <a:pt x="3187471" y="5364912"/>
                </a:lnTo>
                <a:lnTo>
                  <a:pt x="3148292" y="5346319"/>
                </a:lnTo>
                <a:lnTo>
                  <a:pt x="3105759" y="5334635"/>
                </a:lnTo>
                <a:lnTo>
                  <a:pt x="3060560" y="5330583"/>
                </a:lnTo>
                <a:lnTo>
                  <a:pt x="3015373" y="5334635"/>
                </a:lnTo>
                <a:lnTo>
                  <a:pt x="2972828" y="5346319"/>
                </a:lnTo>
                <a:lnTo>
                  <a:pt x="2933662" y="5364912"/>
                </a:lnTo>
                <a:lnTo>
                  <a:pt x="2898571" y="5389715"/>
                </a:lnTo>
                <a:lnTo>
                  <a:pt x="2868269" y="5420017"/>
                </a:lnTo>
                <a:lnTo>
                  <a:pt x="2843453" y="5455107"/>
                </a:lnTo>
                <a:lnTo>
                  <a:pt x="2824861" y="5494274"/>
                </a:lnTo>
                <a:lnTo>
                  <a:pt x="2813177" y="5536819"/>
                </a:lnTo>
                <a:lnTo>
                  <a:pt x="2809125" y="5582005"/>
                </a:lnTo>
                <a:lnTo>
                  <a:pt x="2813177" y="5627205"/>
                </a:lnTo>
                <a:lnTo>
                  <a:pt x="2824861" y="5669737"/>
                </a:lnTo>
                <a:lnTo>
                  <a:pt x="2843453" y="5708904"/>
                </a:lnTo>
                <a:lnTo>
                  <a:pt x="2868269" y="5744007"/>
                </a:lnTo>
                <a:lnTo>
                  <a:pt x="2898571" y="5774309"/>
                </a:lnTo>
                <a:lnTo>
                  <a:pt x="2933662" y="5799112"/>
                </a:lnTo>
                <a:lnTo>
                  <a:pt x="2972828" y="5817705"/>
                </a:lnTo>
                <a:lnTo>
                  <a:pt x="3015373" y="5829389"/>
                </a:lnTo>
                <a:lnTo>
                  <a:pt x="3060560" y="5833440"/>
                </a:lnTo>
                <a:lnTo>
                  <a:pt x="3105759" y="5829389"/>
                </a:lnTo>
                <a:lnTo>
                  <a:pt x="3148292" y="5817705"/>
                </a:lnTo>
                <a:lnTo>
                  <a:pt x="3187471" y="5799112"/>
                </a:lnTo>
                <a:lnTo>
                  <a:pt x="3222561" y="5774309"/>
                </a:lnTo>
                <a:lnTo>
                  <a:pt x="3252863" y="5744007"/>
                </a:lnTo>
                <a:lnTo>
                  <a:pt x="3277666" y="5708904"/>
                </a:lnTo>
                <a:lnTo>
                  <a:pt x="3296259" y="5669737"/>
                </a:lnTo>
                <a:lnTo>
                  <a:pt x="3307931" y="5627205"/>
                </a:lnTo>
                <a:lnTo>
                  <a:pt x="3311982" y="5582005"/>
                </a:lnTo>
                <a:close/>
              </a:path>
              <a:path w="13428344" h="7560309">
                <a:moveTo>
                  <a:pt x="6244856" y="2232571"/>
                </a:moveTo>
                <a:lnTo>
                  <a:pt x="6240805" y="2187384"/>
                </a:lnTo>
                <a:lnTo>
                  <a:pt x="6229121" y="2144852"/>
                </a:lnTo>
                <a:lnTo>
                  <a:pt x="6210528" y="2105685"/>
                </a:lnTo>
                <a:lnTo>
                  <a:pt x="6185725" y="2070595"/>
                </a:lnTo>
                <a:lnTo>
                  <a:pt x="6155423" y="2040280"/>
                </a:lnTo>
                <a:lnTo>
                  <a:pt x="6120320" y="2015477"/>
                </a:lnTo>
                <a:lnTo>
                  <a:pt x="6081153" y="1996884"/>
                </a:lnTo>
                <a:lnTo>
                  <a:pt x="6038621" y="1985200"/>
                </a:lnTo>
                <a:lnTo>
                  <a:pt x="5993422" y="1981149"/>
                </a:lnTo>
                <a:lnTo>
                  <a:pt x="5948223" y="1985200"/>
                </a:lnTo>
                <a:lnTo>
                  <a:pt x="5905690" y="1996884"/>
                </a:lnTo>
                <a:lnTo>
                  <a:pt x="5866523" y="2015477"/>
                </a:lnTo>
                <a:lnTo>
                  <a:pt x="5831433" y="2040280"/>
                </a:lnTo>
                <a:lnTo>
                  <a:pt x="5801118" y="2070595"/>
                </a:lnTo>
                <a:lnTo>
                  <a:pt x="5776315" y="2105685"/>
                </a:lnTo>
                <a:lnTo>
                  <a:pt x="5757723" y="2144852"/>
                </a:lnTo>
                <a:lnTo>
                  <a:pt x="5746039" y="2187384"/>
                </a:lnTo>
                <a:lnTo>
                  <a:pt x="5741987" y="2232571"/>
                </a:lnTo>
                <a:lnTo>
                  <a:pt x="5746039" y="2277770"/>
                </a:lnTo>
                <a:lnTo>
                  <a:pt x="5757723" y="2320302"/>
                </a:lnTo>
                <a:lnTo>
                  <a:pt x="5776315" y="2359482"/>
                </a:lnTo>
                <a:lnTo>
                  <a:pt x="5801118" y="2394572"/>
                </a:lnTo>
                <a:lnTo>
                  <a:pt x="5831433" y="2424874"/>
                </a:lnTo>
                <a:lnTo>
                  <a:pt x="5866523" y="2449677"/>
                </a:lnTo>
                <a:lnTo>
                  <a:pt x="5905690" y="2468283"/>
                </a:lnTo>
                <a:lnTo>
                  <a:pt x="5948223" y="2479954"/>
                </a:lnTo>
                <a:lnTo>
                  <a:pt x="5993422" y="2484005"/>
                </a:lnTo>
                <a:lnTo>
                  <a:pt x="6038621" y="2479954"/>
                </a:lnTo>
                <a:lnTo>
                  <a:pt x="6081153" y="2468283"/>
                </a:lnTo>
                <a:lnTo>
                  <a:pt x="6120320" y="2449677"/>
                </a:lnTo>
                <a:lnTo>
                  <a:pt x="6155423" y="2424874"/>
                </a:lnTo>
                <a:lnTo>
                  <a:pt x="6185725" y="2394572"/>
                </a:lnTo>
                <a:lnTo>
                  <a:pt x="6210528" y="2359482"/>
                </a:lnTo>
                <a:lnTo>
                  <a:pt x="6229121" y="2320302"/>
                </a:lnTo>
                <a:lnTo>
                  <a:pt x="6240805" y="2277770"/>
                </a:lnTo>
                <a:lnTo>
                  <a:pt x="6244856" y="2232571"/>
                </a:lnTo>
                <a:close/>
              </a:path>
              <a:path w="13428344" h="7560309">
                <a:moveTo>
                  <a:pt x="6511226" y="750633"/>
                </a:moveTo>
                <a:lnTo>
                  <a:pt x="6510223" y="702170"/>
                </a:lnTo>
                <a:lnTo>
                  <a:pt x="6507239" y="654202"/>
                </a:lnTo>
                <a:lnTo>
                  <a:pt x="6502298" y="606806"/>
                </a:lnTo>
                <a:lnTo>
                  <a:pt x="6495453" y="559993"/>
                </a:lnTo>
                <a:lnTo>
                  <a:pt x="6486741" y="513816"/>
                </a:lnTo>
                <a:lnTo>
                  <a:pt x="6476212" y="468299"/>
                </a:lnTo>
                <a:lnTo>
                  <a:pt x="6463893" y="423506"/>
                </a:lnTo>
                <a:lnTo>
                  <a:pt x="6449822" y="379463"/>
                </a:lnTo>
                <a:lnTo>
                  <a:pt x="6434048" y="336219"/>
                </a:lnTo>
                <a:lnTo>
                  <a:pt x="6416611" y="293789"/>
                </a:lnTo>
                <a:lnTo>
                  <a:pt x="6397536" y="252247"/>
                </a:lnTo>
                <a:lnTo>
                  <a:pt x="6376886" y="211607"/>
                </a:lnTo>
                <a:lnTo>
                  <a:pt x="6354686" y="171907"/>
                </a:lnTo>
                <a:lnTo>
                  <a:pt x="6330975" y="133210"/>
                </a:lnTo>
                <a:lnTo>
                  <a:pt x="6305791" y="95542"/>
                </a:lnTo>
                <a:lnTo>
                  <a:pt x="6279185" y="58940"/>
                </a:lnTo>
                <a:lnTo>
                  <a:pt x="6251194" y="23456"/>
                </a:lnTo>
                <a:lnTo>
                  <a:pt x="6231153" y="0"/>
                </a:lnTo>
                <a:lnTo>
                  <a:pt x="4498073" y="0"/>
                </a:lnTo>
                <a:lnTo>
                  <a:pt x="4450029" y="58940"/>
                </a:lnTo>
                <a:lnTo>
                  <a:pt x="4423422" y="95542"/>
                </a:lnTo>
                <a:lnTo>
                  <a:pt x="4398251" y="133210"/>
                </a:lnTo>
                <a:lnTo>
                  <a:pt x="4374540" y="171907"/>
                </a:lnTo>
                <a:lnTo>
                  <a:pt x="4352341" y="211607"/>
                </a:lnTo>
                <a:lnTo>
                  <a:pt x="4331678" y="252247"/>
                </a:lnTo>
                <a:lnTo>
                  <a:pt x="4312615" y="293789"/>
                </a:lnTo>
                <a:lnTo>
                  <a:pt x="4295178" y="336219"/>
                </a:lnTo>
                <a:lnTo>
                  <a:pt x="4279404" y="379463"/>
                </a:lnTo>
                <a:lnTo>
                  <a:pt x="4265333" y="423506"/>
                </a:lnTo>
                <a:lnTo>
                  <a:pt x="4253014" y="468299"/>
                </a:lnTo>
                <a:lnTo>
                  <a:pt x="4242473" y="513816"/>
                </a:lnTo>
                <a:lnTo>
                  <a:pt x="4233773" y="559993"/>
                </a:lnTo>
                <a:lnTo>
                  <a:pt x="4226928" y="606806"/>
                </a:lnTo>
                <a:lnTo>
                  <a:pt x="4221988" y="654202"/>
                </a:lnTo>
                <a:lnTo>
                  <a:pt x="4219003" y="702170"/>
                </a:lnTo>
                <a:lnTo>
                  <a:pt x="4217987" y="750633"/>
                </a:lnTo>
                <a:lnTo>
                  <a:pt x="4219003" y="799096"/>
                </a:lnTo>
                <a:lnTo>
                  <a:pt x="4221988" y="847064"/>
                </a:lnTo>
                <a:lnTo>
                  <a:pt x="4226928" y="894461"/>
                </a:lnTo>
                <a:lnTo>
                  <a:pt x="4233773" y="941273"/>
                </a:lnTo>
                <a:lnTo>
                  <a:pt x="4242473" y="987450"/>
                </a:lnTo>
                <a:lnTo>
                  <a:pt x="4253014" y="1032967"/>
                </a:lnTo>
                <a:lnTo>
                  <a:pt x="4265333" y="1077760"/>
                </a:lnTo>
                <a:lnTo>
                  <a:pt x="4279404" y="1121803"/>
                </a:lnTo>
                <a:lnTo>
                  <a:pt x="4295178" y="1165047"/>
                </a:lnTo>
                <a:lnTo>
                  <a:pt x="4312615" y="1207477"/>
                </a:lnTo>
                <a:lnTo>
                  <a:pt x="4331678" y="1249019"/>
                </a:lnTo>
                <a:lnTo>
                  <a:pt x="4352341" y="1289659"/>
                </a:lnTo>
                <a:lnTo>
                  <a:pt x="4374540" y="1329359"/>
                </a:lnTo>
                <a:lnTo>
                  <a:pt x="4398251" y="1368056"/>
                </a:lnTo>
                <a:lnTo>
                  <a:pt x="4423422" y="1405724"/>
                </a:lnTo>
                <a:lnTo>
                  <a:pt x="4450029" y="1442326"/>
                </a:lnTo>
                <a:lnTo>
                  <a:pt x="4478032" y="1477810"/>
                </a:lnTo>
                <a:lnTo>
                  <a:pt x="4507369" y="1512150"/>
                </a:lnTo>
                <a:lnTo>
                  <a:pt x="4538027" y="1545297"/>
                </a:lnTo>
                <a:lnTo>
                  <a:pt x="4569942" y="1577225"/>
                </a:lnTo>
                <a:lnTo>
                  <a:pt x="4603102" y="1607870"/>
                </a:lnTo>
                <a:lnTo>
                  <a:pt x="4637430" y="1637220"/>
                </a:lnTo>
                <a:lnTo>
                  <a:pt x="4672927" y="1665211"/>
                </a:lnTo>
                <a:lnTo>
                  <a:pt x="4709528" y="1691817"/>
                </a:lnTo>
                <a:lnTo>
                  <a:pt x="4747196" y="1716989"/>
                </a:lnTo>
                <a:lnTo>
                  <a:pt x="4785893" y="1740700"/>
                </a:lnTo>
                <a:lnTo>
                  <a:pt x="4825581" y="1762912"/>
                </a:lnTo>
                <a:lnTo>
                  <a:pt x="4866221" y="1783562"/>
                </a:lnTo>
                <a:lnTo>
                  <a:pt x="4907775" y="1802625"/>
                </a:lnTo>
                <a:lnTo>
                  <a:pt x="4950193" y="1820075"/>
                </a:lnTo>
                <a:lnTo>
                  <a:pt x="4993449" y="1835848"/>
                </a:lnTo>
                <a:lnTo>
                  <a:pt x="5037493" y="1849907"/>
                </a:lnTo>
                <a:lnTo>
                  <a:pt x="5082286" y="1862239"/>
                </a:lnTo>
                <a:lnTo>
                  <a:pt x="5127790" y="1872767"/>
                </a:lnTo>
                <a:lnTo>
                  <a:pt x="5173967" y="1881479"/>
                </a:lnTo>
                <a:lnTo>
                  <a:pt x="5220779" y="1888324"/>
                </a:lnTo>
                <a:lnTo>
                  <a:pt x="5268188" y="1893252"/>
                </a:lnTo>
                <a:lnTo>
                  <a:pt x="5316144" y="1896249"/>
                </a:lnTo>
                <a:lnTo>
                  <a:pt x="5364607" y="1897253"/>
                </a:lnTo>
                <a:lnTo>
                  <a:pt x="5413083" y="1896249"/>
                </a:lnTo>
                <a:lnTo>
                  <a:pt x="5461038" y="1893252"/>
                </a:lnTo>
                <a:lnTo>
                  <a:pt x="5508447" y="1888324"/>
                </a:lnTo>
                <a:lnTo>
                  <a:pt x="5555246" y="1881479"/>
                </a:lnTo>
                <a:lnTo>
                  <a:pt x="5601436" y="1872767"/>
                </a:lnTo>
                <a:lnTo>
                  <a:pt x="5646940" y="1862239"/>
                </a:lnTo>
                <a:lnTo>
                  <a:pt x="5691733" y="1849907"/>
                </a:lnTo>
                <a:lnTo>
                  <a:pt x="5735777" y="1835848"/>
                </a:lnTo>
                <a:lnTo>
                  <a:pt x="5779033" y="1820075"/>
                </a:lnTo>
                <a:lnTo>
                  <a:pt x="5821451" y="1802625"/>
                </a:lnTo>
                <a:lnTo>
                  <a:pt x="5863006" y="1783562"/>
                </a:lnTo>
                <a:lnTo>
                  <a:pt x="5903646" y="1762912"/>
                </a:lnTo>
                <a:lnTo>
                  <a:pt x="5943333" y="1740700"/>
                </a:lnTo>
                <a:lnTo>
                  <a:pt x="5982030" y="1716989"/>
                </a:lnTo>
                <a:lnTo>
                  <a:pt x="6019698" y="1691817"/>
                </a:lnTo>
                <a:lnTo>
                  <a:pt x="6056300" y="1665211"/>
                </a:lnTo>
                <a:lnTo>
                  <a:pt x="6091783" y="1637220"/>
                </a:lnTo>
                <a:lnTo>
                  <a:pt x="6126124" y="1607870"/>
                </a:lnTo>
                <a:lnTo>
                  <a:pt x="6159271" y="1577225"/>
                </a:lnTo>
                <a:lnTo>
                  <a:pt x="6191199" y="1545297"/>
                </a:lnTo>
                <a:lnTo>
                  <a:pt x="6221857" y="1512150"/>
                </a:lnTo>
                <a:lnTo>
                  <a:pt x="6251194" y="1477810"/>
                </a:lnTo>
                <a:lnTo>
                  <a:pt x="6279185" y="1442326"/>
                </a:lnTo>
                <a:lnTo>
                  <a:pt x="6305791" y="1405724"/>
                </a:lnTo>
                <a:lnTo>
                  <a:pt x="6330975" y="1368056"/>
                </a:lnTo>
                <a:lnTo>
                  <a:pt x="6354686" y="1329359"/>
                </a:lnTo>
                <a:lnTo>
                  <a:pt x="6376886" y="1289659"/>
                </a:lnTo>
                <a:lnTo>
                  <a:pt x="6397536" y="1249019"/>
                </a:lnTo>
                <a:lnTo>
                  <a:pt x="6416611" y="1207477"/>
                </a:lnTo>
                <a:lnTo>
                  <a:pt x="6434048" y="1165047"/>
                </a:lnTo>
                <a:lnTo>
                  <a:pt x="6449822" y="1121803"/>
                </a:lnTo>
                <a:lnTo>
                  <a:pt x="6463893" y="1077760"/>
                </a:lnTo>
                <a:lnTo>
                  <a:pt x="6476212" y="1032967"/>
                </a:lnTo>
                <a:lnTo>
                  <a:pt x="6486741" y="987450"/>
                </a:lnTo>
                <a:lnTo>
                  <a:pt x="6495453" y="941273"/>
                </a:lnTo>
                <a:lnTo>
                  <a:pt x="6502298" y="894461"/>
                </a:lnTo>
                <a:lnTo>
                  <a:pt x="6507239" y="847064"/>
                </a:lnTo>
                <a:lnTo>
                  <a:pt x="6510223" y="799096"/>
                </a:lnTo>
                <a:lnTo>
                  <a:pt x="6511226" y="750633"/>
                </a:lnTo>
                <a:close/>
              </a:path>
              <a:path w="13428344" h="7560309">
                <a:moveTo>
                  <a:pt x="7263955" y="2331961"/>
                </a:moveTo>
                <a:lnTo>
                  <a:pt x="7261212" y="2284628"/>
                </a:lnTo>
                <a:lnTo>
                  <a:pt x="7253224" y="2238883"/>
                </a:lnTo>
                <a:lnTo>
                  <a:pt x="7240283" y="2195055"/>
                </a:lnTo>
                <a:lnTo>
                  <a:pt x="7222693" y="2153437"/>
                </a:lnTo>
                <a:lnTo>
                  <a:pt x="7200747" y="2114334"/>
                </a:lnTo>
                <a:lnTo>
                  <a:pt x="7174763" y="2078062"/>
                </a:lnTo>
                <a:lnTo>
                  <a:pt x="7145045" y="2044915"/>
                </a:lnTo>
                <a:lnTo>
                  <a:pt x="7111898" y="2015197"/>
                </a:lnTo>
                <a:lnTo>
                  <a:pt x="7075627" y="1989213"/>
                </a:lnTo>
                <a:lnTo>
                  <a:pt x="7036524" y="1967268"/>
                </a:lnTo>
                <a:lnTo>
                  <a:pt x="6994906" y="1949678"/>
                </a:lnTo>
                <a:lnTo>
                  <a:pt x="6951078" y="1936737"/>
                </a:lnTo>
                <a:lnTo>
                  <a:pt x="6905333" y="1928736"/>
                </a:lnTo>
                <a:lnTo>
                  <a:pt x="6858000" y="1926005"/>
                </a:lnTo>
                <a:lnTo>
                  <a:pt x="6810654" y="1928736"/>
                </a:lnTo>
                <a:lnTo>
                  <a:pt x="6764909" y="1936737"/>
                </a:lnTo>
                <a:lnTo>
                  <a:pt x="6721081" y="1949678"/>
                </a:lnTo>
                <a:lnTo>
                  <a:pt x="6679463" y="1967268"/>
                </a:lnTo>
                <a:lnTo>
                  <a:pt x="6640360" y="1989213"/>
                </a:lnTo>
                <a:lnTo>
                  <a:pt x="6604089" y="2015197"/>
                </a:lnTo>
                <a:lnTo>
                  <a:pt x="6570942" y="2044915"/>
                </a:lnTo>
                <a:lnTo>
                  <a:pt x="6541224" y="2078062"/>
                </a:lnTo>
                <a:lnTo>
                  <a:pt x="6515240" y="2114334"/>
                </a:lnTo>
                <a:lnTo>
                  <a:pt x="6493294" y="2153437"/>
                </a:lnTo>
                <a:lnTo>
                  <a:pt x="6475704" y="2195055"/>
                </a:lnTo>
                <a:lnTo>
                  <a:pt x="6462763" y="2238883"/>
                </a:lnTo>
                <a:lnTo>
                  <a:pt x="6454775" y="2284628"/>
                </a:lnTo>
                <a:lnTo>
                  <a:pt x="6452044" y="2331961"/>
                </a:lnTo>
                <a:lnTo>
                  <a:pt x="6454775" y="2379307"/>
                </a:lnTo>
                <a:lnTo>
                  <a:pt x="6462763" y="2425039"/>
                </a:lnTo>
                <a:lnTo>
                  <a:pt x="6475704" y="2468867"/>
                </a:lnTo>
                <a:lnTo>
                  <a:pt x="6493294" y="2510485"/>
                </a:lnTo>
                <a:lnTo>
                  <a:pt x="6515240" y="2549588"/>
                </a:lnTo>
                <a:lnTo>
                  <a:pt x="6541224" y="2585859"/>
                </a:lnTo>
                <a:lnTo>
                  <a:pt x="6570942" y="2619006"/>
                </a:lnTo>
                <a:lnTo>
                  <a:pt x="6604089" y="2648724"/>
                </a:lnTo>
                <a:lnTo>
                  <a:pt x="6640360" y="2674709"/>
                </a:lnTo>
                <a:lnTo>
                  <a:pt x="6679463" y="2696654"/>
                </a:lnTo>
                <a:lnTo>
                  <a:pt x="6721081" y="2714244"/>
                </a:lnTo>
                <a:lnTo>
                  <a:pt x="6764909" y="2727185"/>
                </a:lnTo>
                <a:lnTo>
                  <a:pt x="6810654" y="2735173"/>
                </a:lnTo>
                <a:lnTo>
                  <a:pt x="6858000" y="2737904"/>
                </a:lnTo>
                <a:lnTo>
                  <a:pt x="6905333" y="2735173"/>
                </a:lnTo>
                <a:lnTo>
                  <a:pt x="6951078" y="2727185"/>
                </a:lnTo>
                <a:lnTo>
                  <a:pt x="6994906" y="2714244"/>
                </a:lnTo>
                <a:lnTo>
                  <a:pt x="7036524" y="2696654"/>
                </a:lnTo>
                <a:lnTo>
                  <a:pt x="7075627" y="2674709"/>
                </a:lnTo>
                <a:lnTo>
                  <a:pt x="7111898" y="2648724"/>
                </a:lnTo>
                <a:lnTo>
                  <a:pt x="7145045" y="2619006"/>
                </a:lnTo>
                <a:lnTo>
                  <a:pt x="7174763" y="2585859"/>
                </a:lnTo>
                <a:lnTo>
                  <a:pt x="7200747" y="2549588"/>
                </a:lnTo>
                <a:lnTo>
                  <a:pt x="7222693" y="2510485"/>
                </a:lnTo>
                <a:lnTo>
                  <a:pt x="7240283" y="2468867"/>
                </a:lnTo>
                <a:lnTo>
                  <a:pt x="7253224" y="2425039"/>
                </a:lnTo>
                <a:lnTo>
                  <a:pt x="7261212" y="2379307"/>
                </a:lnTo>
                <a:lnTo>
                  <a:pt x="7263955" y="2331961"/>
                </a:lnTo>
                <a:close/>
              </a:path>
              <a:path w="13428344" h="7560309">
                <a:moveTo>
                  <a:pt x="9683991" y="6804571"/>
                </a:moveTo>
                <a:lnTo>
                  <a:pt x="9679940" y="6759384"/>
                </a:lnTo>
                <a:lnTo>
                  <a:pt x="9668256" y="6716852"/>
                </a:lnTo>
                <a:lnTo>
                  <a:pt x="9649663" y="6677685"/>
                </a:lnTo>
                <a:lnTo>
                  <a:pt x="9624860" y="6642595"/>
                </a:lnTo>
                <a:lnTo>
                  <a:pt x="9594558" y="6612280"/>
                </a:lnTo>
                <a:lnTo>
                  <a:pt x="9559468" y="6587477"/>
                </a:lnTo>
                <a:lnTo>
                  <a:pt x="9520301" y="6568884"/>
                </a:lnTo>
                <a:lnTo>
                  <a:pt x="9477756" y="6557200"/>
                </a:lnTo>
                <a:lnTo>
                  <a:pt x="9432569" y="6553149"/>
                </a:lnTo>
                <a:lnTo>
                  <a:pt x="9387370" y="6557200"/>
                </a:lnTo>
                <a:lnTo>
                  <a:pt x="9344838" y="6568884"/>
                </a:lnTo>
                <a:lnTo>
                  <a:pt x="9305658" y="6587477"/>
                </a:lnTo>
                <a:lnTo>
                  <a:pt x="9270568" y="6612280"/>
                </a:lnTo>
                <a:lnTo>
                  <a:pt x="9240266" y="6642595"/>
                </a:lnTo>
                <a:lnTo>
                  <a:pt x="9215463" y="6677685"/>
                </a:lnTo>
                <a:lnTo>
                  <a:pt x="9196857" y="6716852"/>
                </a:lnTo>
                <a:lnTo>
                  <a:pt x="9185186" y="6759384"/>
                </a:lnTo>
                <a:lnTo>
                  <a:pt x="9181135" y="6804571"/>
                </a:lnTo>
                <a:lnTo>
                  <a:pt x="9185186" y="6849770"/>
                </a:lnTo>
                <a:lnTo>
                  <a:pt x="9196857" y="6892303"/>
                </a:lnTo>
                <a:lnTo>
                  <a:pt x="9215463" y="6931482"/>
                </a:lnTo>
                <a:lnTo>
                  <a:pt x="9240266" y="6966572"/>
                </a:lnTo>
                <a:lnTo>
                  <a:pt x="9270568" y="6996874"/>
                </a:lnTo>
                <a:lnTo>
                  <a:pt x="9305658" y="7021677"/>
                </a:lnTo>
                <a:lnTo>
                  <a:pt x="9344838" y="7040283"/>
                </a:lnTo>
                <a:lnTo>
                  <a:pt x="9387370" y="7051954"/>
                </a:lnTo>
                <a:lnTo>
                  <a:pt x="9432569" y="7056006"/>
                </a:lnTo>
                <a:lnTo>
                  <a:pt x="9477756" y="7051954"/>
                </a:lnTo>
                <a:lnTo>
                  <a:pt x="9520301" y="7040283"/>
                </a:lnTo>
                <a:lnTo>
                  <a:pt x="9559468" y="7021677"/>
                </a:lnTo>
                <a:lnTo>
                  <a:pt x="9594558" y="6996874"/>
                </a:lnTo>
                <a:lnTo>
                  <a:pt x="9624860" y="6966572"/>
                </a:lnTo>
                <a:lnTo>
                  <a:pt x="9649663" y="6931482"/>
                </a:lnTo>
                <a:lnTo>
                  <a:pt x="9668256" y="6892303"/>
                </a:lnTo>
                <a:lnTo>
                  <a:pt x="9679940" y="6849770"/>
                </a:lnTo>
                <a:lnTo>
                  <a:pt x="9683991" y="6804571"/>
                </a:lnTo>
                <a:close/>
              </a:path>
              <a:path w="13428344" h="7560309">
                <a:moveTo>
                  <a:pt x="10395331" y="7534681"/>
                </a:moveTo>
                <a:lnTo>
                  <a:pt x="10392639" y="7487958"/>
                </a:lnTo>
                <a:lnTo>
                  <a:pt x="10384752" y="7442809"/>
                </a:lnTo>
                <a:lnTo>
                  <a:pt x="10371976" y="7399553"/>
                </a:lnTo>
                <a:lnTo>
                  <a:pt x="10354615" y="7358481"/>
                </a:lnTo>
                <a:lnTo>
                  <a:pt x="10332949" y="7319886"/>
                </a:lnTo>
                <a:lnTo>
                  <a:pt x="10307307" y="7284085"/>
                </a:lnTo>
                <a:lnTo>
                  <a:pt x="10277983" y="7251370"/>
                </a:lnTo>
                <a:lnTo>
                  <a:pt x="10245268" y="7222033"/>
                </a:lnTo>
                <a:lnTo>
                  <a:pt x="10209454" y="7196391"/>
                </a:lnTo>
                <a:lnTo>
                  <a:pt x="10170871" y="7174738"/>
                </a:lnTo>
                <a:lnTo>
                  <a:pt x="10129787" y="7157377"/>
                </a:lnTo>
                <a:lnTo>
                  <a:pt x="10086530" y="7144601"/>
                </a:lnTo>
                <a:lnTo>
                  <a:pt x="10041395" y="7136714"/>
                </a:lnTo>
                <a:lnTo>
                  <a:pt x="9994659" y="7134009"/>
                </a:lnTo>
                <a:lnTo>
                  <a:pt x="9947935" y="7136714"/>
                </a:lnTo>
                <a:lnTo>
                  <a:pt x="9902787" y="7144601"/>
                </a:lnTo>
                <a:lnTo>
                  <a:pt x="9859531" y="7157377"/>
                </a:lnTo>
                <a:lnTo>
                  <a:pt x="9818459" y="7174738"/>
                </a:lnTo>
                <a:lnTo>
                  <a:pt x="9779864" y="7196391"/>
                </a:lnTo>
                <a:lnTo>
                  <a:pt x="9744062" y="7222033"/>
                </a:lnTo>
                <a:lnTo>
                  <a:pt x="9711347" y="7251370"/>
                </a:lnTo>
                <a:lnTo>
                  <a:pt x="9682010" y="7284085"/>
                </a:lnTo>
                <a:lnTo>
                  <a:pt x="9656369" y="7319886"/>
                </a:lnTo>
                <a:lnTo>
                  <a:pt x="9634715" y="7358481"/>
                </a:lnTo>
                <a:lnTo>
                  <a:pt x="9617354" y="7399553"/>
                </a:lnTo>
                <a:lnTo>
                  <a:pt x="9604578" y="7442809"/>
                </a:lnTo>
                <a:lnTo>
                  <a:pt x="9596691" y="7487958"/>
                </a:lnTo>
                <a:lnTo>
                  <a:pt x="9593986" y="7534681"/>
                </a:lnTo>
                <a:lnTo>
                  <a:pt x="9595447" y="7560005"/>
                </a:lnTo>
                <a:lnTo>
                  <a:pt x="10393870" y="7560005"/>
                </a:lnTo>
                <a:lnTo>
                  <a:pt x="10395331" y="7534681"/>
                </a:lnTo>
                <a:close/>
              </a:path>
              <a:path w="13428344" h="7560309">
                <a:moveTo>
                  <a:pt x="10611333" y="6562687"/>
                </a:moveTo>
                <a:lnTo>
                  <a:pt x="10608640" y="6515963"/>
                </a:lnTo>
                <a:lnTo>
                  <a:pt x="10600754" y="6470815"/>
                </a:lnTo>
                <a:lnTo>
                  <a:pt x="10587977" y="6427559"/>
                </a:lnTo>
                <a:lnTo>
                  <a:pt x="10570604" y="6386474"/>
                </a:lnTo>
                <a:lnTo>
                  <a:pt x="10548950" y="6347892"/>
                </a:lnTo>
                <a:lnTo>
                  <a:pt x="10523309" y="6312090"/>
                </a:lnTo>
                <a:lnTo>
                  <a:pt x="10493985" y="6279362"/>
                </a:lnTo>
                <a:lnTo>
                  <a:pt x="10461257" y="6250038"/>
                </a:lnTo>
                <a:lnTo>
                  <a:pt x="10425455" y="6224397"/>
                </a:lnTo>
                <a:lnTo>
                  <a:pt x="10386873" y="6202731"/>
                </a:lnTo>
                <a:lnTo>
                  <a:pt x="10345788" y="6185370"/>
                </a:lnTo>
                <a:lnTo>
                  <a:pt x="10302532" y="6172593"/>
                </a:lnTo>
                <a:lnTo>
                  <a:pt x="10257384" y="6164707"/>
                </a:lnTo>
                <a:lnTo>
                  <a:pt x="10210660" y="6162014"/>
                </a:lnTo>
                <a:lnTo>
                  <a:pt x="10163937" y="6164707"/>
                </a:lnTo>
                <a:lnTo>
                  <a:pt x="10118788" y="6172593"/>
                </a:lnTo>
                <a:lnTo>
                  <a:pt x="10075532" y="6185370"/>
                </a:lnTo>
                <a:lnTo>
                  <a:pt x="10034460" y="6202731"/>
                </a:lnTo>
                <a:lnTo>
                  <a:pt x="9995865" y="6224397"/>
                </a:lnTo>
                <a:lnTo>
                  <a:pt x="9960064" y="6250038"/>
                </a:lnTo>
                <a:lnTo>
                  <a:pt x="9927349" y="6279362"/>
                </a:lnTo>
                <a:lnTo>
                  <a:pt x="9898012" y="6312090"/>
                </a:lnTo>
                <a:lnTo>
                  <a:pt x="9872370" y="6347892"/>
                </a:lnTo>
                <a:lnTo>
                  <a:pt x="9850717" y="6386474"/>
                </a:lnTo>
                <a:lnTo>
                  <a:pt x="9833343" y="6427559"/>
                </a:lnTo>
                <a:lnTo>
                  <a:pt x="9820567" y="6470815"/>
                </a:lnTo>
                <a:lnTo>
                  <a:pt x="9812680" y="6515963"/>
                </a:lnTo>
                <a:lnTo>
                  <a:pt x="9809988" y="6562687"/>
                </a:lnTo>
                <a:lnTo>
                  <a:pt x="9812680" y="6609410"/>
                </a:lnTo>
                <a:lnTo>
                  <a:pt x="9820567" y="6654559"/>
                </a:lnTo>
                <a:lnTo>
                  <a:pt x="9833343" y="6697815"/>
                </a:lnTo>
                <a:lnTo>
                  <a:pt x="9850717" y="6738887"/>
                </a:lnTo>
                <a:lnTo>
                  <a:pt x="9872370" y="6777482"/>
                </a:lnTo>
                <a:lnTo>
                  <a:pt x="9898012" y="6813283"/>
                </a:lnTo>
                <a:lnTo>
                  <a:pt x="9927349" y="6845998"/>
                </a:lnTo>
                <a:lnTo>
                  <a:pt x="9960064" y="6875323"/>
                </a:lnTo>
                <a:lnTo>
                  <a:pt x="9995865" y="6900964"/>
                </a:lnTo>
                <a:lnTo>
                  <a:pt x="10034460" y="6922617"/>
                </a:lnTo>
                <a:lnTo>
                  <a:pt x="10075532" y="6939991"/>
                </a:lnTo>
                <a:lnTo>
                  <a:pt x="10118788" y="6952767"/>
                </a:lnTo>
                <a:lnTo>
                  <a:pt x="10163937" y="6960654"/>
                </a:lnTo>
                <a:lnTo>
                  <a:pt x="10210660" y="6963346"/>
                </a:lnTo>
                <a:lnTo>
                  <a:pt x="10257384" y="6960654"/>
                </a:lnTo>
                <a:lnTo>
                  <a:pt x="10302532" y="6952767"/>
                </a:lnTo>
                <a:lnTo>
                  <a:pt x="10345788" y="6939991"/>
                </a:lnTo>
                <a:lnTo>
                  <a:pt x="10386873" y="6922617"/>
                </a:lnTo>
                <a:lnTo>
                  <a:pt x="10425455" y="6900964"/>
                </a:lnTo>
                <a:lnTo>
                  <a:pt x="10461257" y="6875323"/>
                </a:lnTo>
                <a:lnTo>
                  <a:pt x="10493985" y="6845998"/>
                </a:lnTo>
                <a:lnTo>
                  <a:pt x="10523309" y="6813283"/>
                </a:lnTo>
                <a:lnTo>
                  <a:pt x="10548950" y="6777482"/>
                </a:lnTo>
                <a:lnTo>
                  <a:pt x="10570604" y="6738887"/>
                </a:lnTo>
                <a:lnTo>
                  <a:pt x="10587977" y="6697815"/>
                </a:lnTo>
                <a:lnTo>
                  <a:pt x="10600754" y="6654559"/>
                </a:lnTo>
                <a:lnTo>
                  <a:pt x="10608640" y="6609410"/>
                </a:lnTo>
                <a:lnTo>
                  <a:pt x="10611333" y="6562687"/>
                </a:lnTo>
                <a:close/>
              </a:path>
              <a:path w="13428344" h="7560309">
                <a:moveTo>
                  <a:pt x="13427951" y="4216793"/>
                </a:moveTo>
                <a:lnTo>
                  <a:pt x="13384009" y="4191304"/>
                </a:lnTo>
                <a:lnTo>
                  <a:pt x="13342938" y="4173944"/>
                </a:lnTo>
                <a:lnTo>
                  <a:pt x="13299669" y="4161167"/>
                </a:lnTo>
                <a:lnTo>
                  <a:pt x="13254533" y="4153281"/>
                </a:lnTo>
                <a:lnTo>
                  <a:pt x="13207810" y="4150576"/>
                </a:lnTo>
                <a:lnTo>
                  <a:pt x="13161074" y="4153281"/>
                </a:lnTo>
                <a:lnTo>
                  <a:pt x="13115938" y="4161167"/>
                </a:lnTo>
                <a:lnTo>
                  <a:pt x="13072669" y="4173944"/>
                </a:lnTo>
                <a:lnTo>
                  <a:pt x="13031597" y="4191304"/>
                </a:lnTo>
                <a:lnTo>
                  <a:pt x="12993015" y="4212958"/>
                </a:lnTo>
                <a:lnTo>
                  <a:pt x="12957201" y="4238599"/>
                </a:lnTo>
                <a:lnTo>
                  <a:pt x="12924485" y="4267936"/>
                </a:lnTo>
                <a:lnTo>
                  <a:pt x="12895161" y="4300652"/>
                </a:lnTo>
                <a:lnTo>
                  <a:pt x="12869507" y="4336453"/>
                </a:lnTo>
                <a:lnTo>
                  <a:pt x="12847854" y="4375048"/>
                </a:lnTo>
                <a:lnTo>
                  <a:pt x="12830493" y="4416120"/>
                </a:lnTo>
                <a:lnTo>
                  <a:pt x="12817716" y="4459389"/>
                </a:lnTo>
                <a:lnTo>
                  <a:pt x="12809830" y="4504525"/>
                </a:lnTo>
                <a:lnTo>
                  <a:pt x="12807137" y="4551248"/>
                </a:lnTo>
                <a:lnTo>
                  <a:pt x="12809830" y="4597971"/>
                </a:lnTo>
                <a:lnTo>
                  <a:pt x="12817716" y="4643120"/>
                </a:lnTo>
                <a:lnTo>
                  <a:pt x="12830493" y="4686376"/>
                </a:lnTo>
                <a:lnTo>
                  <a:pt x="12847854" y="4727448"/>
                </a:lnTo>
                <a:lnTo>
                  <a:pt x="12869507" y="4766043"/>
                </a:lnTo>
                <a:lnTo>
                  <a:pt x="12895161" y="4801844"/>
                </a:lnTo>
                <a:lnTo>
                  <a:pt x="12924485" y="4834560"/>
                </a:lnTo>
                <a:lnTo>
                  <a:pt x="12957201" y="4863897"/>
                </a:lnTo>
                <a:lnTo>
                  <a:pt x="12993015" y="4889538"/>
                </a:lnTo>
                <a:lnTo>
                  <a:pt x="13031597" y="4911191"/>
                </a:lnTo>
                <a:lnTo>
                  <a:pt x="13072669" y="4928552"/>
                </a:lnTo>
                <a:lnTo>
                  <a:pt x="13115938" y="4941328"/>
                </a:lnTo>
                <a:lnTo>
                  <a:pt x="13161074" y="4949215"/>
                </a:lnTo>
                <a:lnTo>
                  <a:pt x="13207810" y="4951908"/>
                </a:lnTo>
                <a:lnTo>
                  <a:pt x="13254533" y="4949215"/>
                </a:lnTo>
                <a:lnTo>
                  <a:pt x="13299669" y="4941328"/>
                </a:lnTo>
                <a:lnTo>
                  <a:pt x="13342938" y="4928552"/>
                </a:lnTo>
                <a:lnTo>
                  <a:pt x="13384009" y="4911191"/>
                </a:lnTo>
                <a:lnTo>
                  <a:pt x="13422605" y="4889538"/>
                </a:lnTo>
                <a:lnTo>
                  <a:pt x="13427951" y="4885702"/>
                </a:lnTo>
                <a:lnTo>
                  <a:pt x="13427951" y="4216793"/>
                </a:lnTo>
                <a:close/>
              </a:path>
              <a:path w="13428344" h="7560309">
                <a:moveTo>
                  <a:pt x="13427951" y="2274125"/>
                </a:moveTo>
                <a:lnTo>
                  <a:pt x="13356323" y="2246414"/>
                </a:lnTo>
                <a:lnTo>
                  <a:pt x="13312559" y="2233130"/>
                </a:lnTo>
                <a:lnTo>
                  <a:pt x="13267868" y="2222106"/>
                </a:lnTo>
                <a:lnTo>
                  <a:pt x="13222300" y="2213419"/>
                </a:lnTo>
                <a:lnTo>
                  <a:pt x="13175920" y="2207120"/>
                </a:lnTo>
                <a:lnTo>
                  <a:pt x="13128803" y="2203297"/>
                </a:lnTo>
                <a:lnTo>
                  <a:pt x="13081013" y="2202015"/>
                </a:lnTo>
                <a:lnTo>
                  <a:pt x="13033223" y="2203297"/>
                </a:lnTo>
                <a:lnTo>
                  <a:pt x="12986106" y="2207120"/>
                </a:lnTo>
                <a:lnTo>
                  <a:pt x="12939725" y="2213419"/>
                </a:lnTo>
                <a:lnTo>
                  <a:pt x="12894158" y="2222106"/>
                </a:lnTo>
                <a:lnTo>
                  <a:pt x="12849454" y="2233130"/>
                </a:lnTo>
                <a:lnTo>
                  <a:pt x="12805702" y="2246414"/>
                </a:lnTo>
                <a:lnTo>
                  <a:pt x="12762954" y="2261908"/>
                </a:lnTo>
                <a:lnTo>
                  <a:pt x="12721273" y="2279535"/>
                </a:lnTo>
                <a:lnTo>
                  <a:pt x="12680722" y="2299233"/>
                </a:lnTo>
                <a:lnTo>
                  <a:pt x="12641390" y="2320937"/>
                </a:lnTo>
                <a:lnTo>
                  <a:pt x="12603328" y="2344572"/>
                </a:lnTo>
                <a:lnTo>
                  <a:pt x="12566599" y="2370074"/>
                </a:lnTo>
                <a:lnTo>
                  <a:pt x="12531281" y="2397379"/>
                </a:lnTo>
                <a:lnTo>
                  <a:pt x="12497422" y="2426411"/>
                </a:lnTo>
                <a:lnTo>
                  <a:pt x="12465114" y="2457132"/>
                </a:lnTo>
                <a:lnTo>
                  <a:pt x="12434392" y="2489441"/>
                </a:lnTo>
                <a:lnTo>
                  <a:pt x="12405360" y="2523299"/>
                </a:lnTo>
                <a:lnTo>
                  <a:pt x="12378055" y="2558618"/>
                </a:lnTo>
                <a:lnTo>
                  <a:pt x="12352541" y="2595346"/>
                </a:lnTo>
                <a:lnTo>
                  <a:pt x="12328919" y="2633408"/>
                </a:lnTo>
                <a:lnTo>
                  <a:pt x="12307214" y="2672753"/>
                </a:lnTo>
                <a:lnTo>
                  <a:pt x="12287517" y="2713291"/>
                </a:lnTo>
                <a:lnTo>
                  <a:pt x="12269889" y="2754973"/>
                </a:lnTo>
                <a:lnTo>
                  <a:pt x="12254395" y="2797721"/>
                </a:lnTo>
                <a:lnTo>
                  <a:pt x="12241111" y="2841485"/>
                </a:lnTo>
                <a:lnTo>
                  <a:pt x="12230087" y="2886176"/>
                </a:lnTo>
                <a:lnTo>
                  <a:pt x="12221388" y="2931744"/>
                </a:lnTo>
                <a:lnTo>
                  <a:pt x="12215101" y="2978124"/>
                </a:lnTo>
                <a:lnTo>
                  <a:pt x="12211279" y="3025241"/>
                </a:lnTo>
                <a:lnTo>
                  <a:pt x="12209996" y="3073031"/>
                </a:lnTo>
                <a:lnTo>
                  <a:pt x="12211279" y="3120821"/>
                </a:lnTo>
                <a:lnTo>
                  <a:pt x="12215101" y="3167938"/>
                </a:lnTo>
                <a:lnTo>
                  <a:pt x="12221388" y="3214319"/>
                </a:lnTo>
                <a:lnTo>
                  <a:pt x="12230087" y="3259886"/>
                </a:lnTo>
                <a:lnTo>
                  <a:pt x="12241111" y="3304578"/>
                </a:lnTo>
                <a:lnTo>
                  <a:pt x="12254395" y="3348342"/>
                </a:lnTo>
                <a:lnTo>
                  <a:pt x="12269889" y="3391090"/>
                </a:lnTo>
                <a:lnTo>
                  <a:pt x="12287517" y="3432772"/>
                </a:lnTo>
                <a:lnTo>
                  <a:pt x="12307214" y="3473310"/>
                </a:lnTo>
                <a:lnTo>
                  <a:pt x="12328919" y="3512655"/>
                </a:lnTo>
                <a:lnTo>
                  <a:pt x="12352541" y="3550716"/>
                </a:lnTo>
                <a:lnTo>
                  <a:pt x="12378055" y="3587445"/>
                </a:lnTo>
                <a:lnTo>
                  <a:pt x="12405360" y="3622764"/>
                </a:lnTo>
                <a:lnTo>
                  <a:pt x="12434392" y="3656622"/>
                </a:lnTo>
                <a:lnTo>
                  <a:pt x="12465114" y="3688931"/>
                </a:lnTo>
                <a:lnTo>
                  <a:pt x="12497422" y="3719639"/>
                </a:lnTo>
                <a:lnTo>
                  <a:pt x="12531281" y="3748684"/>
                </a:lnTo>
                <a:lnTo>
                  <a:pt x="12566599" y="3775989"/>
                </a:lnTo>
                <a:lnTo>
                  <a:pt x="12603328" y="3801491"/>
                </a:lnTo>
                <a:lnTo>
                  <a:pt x="12641390" y="3825125"/>
                </a:lnTo>
                <a:lnTo>
                  <a:pt x="12680722" y="3846830"/>
                </a:lnTo>
                <a:lnTo>
                  <a:pt x="12721273" y="3866527"/>
                </a:lnTo>
                <a:lnTo>
                  <a:pt x="12762954" y="3884155"/>
                </a:lnTo>
                <a:lnTo>
                  <a:pt x="12805702" y="3899636"/>
                </a:lnTo>
                <a:lnTo>
                  <a:pt x="12849454" y="3912933"/>
                </a:lnTo>
                <a:lnTo>
                  <a:pt x="12894158" y="3923957"/>
                </a:lnTo>
                <a:lnTo>
                  <a:pt x="12939725" y="3932644"/>
                </a:lnTo>
                <a:lnTo>
                  <a:pt x="12986106" y="3938930"/>
                </a:lnTo>
                <a:lnTo>
                  <a:pt x="13033223" y="3942753"/>
                </a:lnTo>
                <a:lnTo>
                  <a:pt x="13081013" y="3944048"/>
                </a:lnTo>
                <a:lnTo>
                  <a:pt x="13128803" y="3942753"/>
                </a:lnTo>
                <a:lnTo>
                  <a:pt x="13175920" y="3938930"/>
                </a:lnTo>
                <a:lnTo>
                  <a:pt x="13222300" y="3932644"/>
                </a:lnTo>
                <a:lnTo>
                  <a:pt x="13267868" y="3923957"/>
                </a:lnTo>
                <a:lnTo>
                  <a:pt x="13312559" y="3912933"/>
                </a:lnTo>
                <a:lnTo>
                  <a:pt x="13356323" y="3899636"/>
                </a:lnTo>
                <a:lnTo>
                  <a:pt x="13399072" y="3884155"/>
                </a:lnTo>
                <a:lnTo>
                  <a:pt x="13427951" y="3871938"/>
                </a:lnTo>
                <a:lnTo>
                  <a:pt x="13427951" y="2274125"/>
                </a:lnTo>
                <a:close/>
              </a:path>
            </a:pathLst>
          </a:custGeom>
          <a:solidFill>
            <a:srgbClr val="00AFFF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159032" y="323841"/>
            <a:ext cx="2409934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42828" y="4045890"/>
            <a:ext cx="2694661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BF7EEC-507A-5DAF-041E-6C88DA7CD38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59810" y="5994450"/>
            <a:ext cx="2177679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56A3293-0A25-9254-24C1-0102A4EFA6AA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528540" y="569748"/>
            <a:ext cx="2993617" cy="2953425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278CA799-987B-A375-4C17-9D3DEB73736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129092" y="2844799"/>
            <a:ext cx="5166198" cy="509683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50AD25F3-855C-5EB6-FE7B-3C66BC00A2E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7221221" y="-501494"/>
            <a:ext cx="3537548" cy="34900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296069B-042B-27A3-FD0E-ECE4DCE3A473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9173795" y="3523173"/>
            <a:ext cx="2005782" cy="19788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09787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7658028" y="4109545"/>
            <a:ext cx="4243583" cy="1436853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object 7">
            <a:extLst>
              <a:ext uri="{FF2B5EF4-FFF2-40B4-BE49-F238E27FC236}">
                <a16:creationId xmlns:a16="http://schemas.microsoft.com/office/drawing/2014/main" id="{8553A972-1E95-D470-43E7-20722BD9B698}"/>
              </a:ext>
            </a:extLst>
          </p:cNvPr>
          <p:cNvSpPr/>
          <p:nvPr userDrawn="1"/>
        </p:nvSpPr>
        <p:spPr>
          <a:xfrm>
            <a:off x="8504433" y="4290554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34" y="0"/>
                </a:moveTo>
                <a:lnTo>
                  <a:pt x="206239" y="4051"/>
                </a:lnTo>
                <a:lnTo>
                  <a:pt x="163701" y="15730"/>
                </a:lnTo>
                <a:lnTo>
                  <a:pt x="124531" y="34328"/>
                </a:lnTo>
                <a:lnTo>
                  <a:pt x="89439" y="59134"/>
                </a:lnTo>
                <a:lnTo>
                  <a:pt x="59134" y="89439"/>
                </a:lnTo>
                <a:lnTo>
                  <a:pt x="34328" y="124531"/>
                </a:lnTo>
                <a:lnTo>
                  <a:pt x="15730" y="163701"/>
                </a:lnTo>
                <a:lnTo>
                  <a:pt x="4051" y="206239"/>
                </a:lnTo>
                <a:lnTo>
                  <a:pt x="0" y="251434"/>
                </a:lnTo>
                <a:lnTo>
                  <a:pt x="4051" y="296626"/>
                </a:lnTo>
                <a:lnTo>
                  <a:pt x="15730" y="339160"/>
                </a:lnTo>
                <a:lnTo>
                  <a:pt x="34328" y="378328"/>
                </a:lnTo>
                <a:lnTo>
                  <a:pt x="59134" y="413419"/>
                </a:lnTo>
                <a:lnTo>
                  <a:pt x="89439" y="443722"/>
                </a:lnTo>
                <a:lnTo>
                  <a:pt x="124531" y="468528"/>
                </a:lnTo>
                <a:lnTo>
                  <a:pt x="163701" y="487126"/>
                </a:lnTo>
                <a:lnTo>
                  <a:pt x="206239" y="498805"/>
                </a:lnTo>
                <a:lnTo>
                  <a:pt x="251434" y="502856"/>
                </a:lnTo>
                <a:lnTo>
                  <a:pt x="296629" y="498805"/>
                </a:lnTo>
                <a:lnTo>
                  <a:pt x="339165" y="487126"/>
                </a:lnTo>
                <a:lnTo>
                  <a:pt x="378334" y="468528"/>
                </a:lnTo>
                <a:lnTo>
                  <a:pt x="413424" y="443722"/>
                </a:lnTo>
                <a:lnTo>
                  <a:pt x="443726" y="413419"/>
                </a:lnTo>
                <a:lnTo>
                  <a:pt x="468531" y="378328"/>
                </a:lnTo>
                <a:lnTo>
                  <a:pt x="487127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7" y="163701"/>
                </a:lnTo>
                <a:lnTo>
                  <a:pt x="468531" y="124531"/>
                </a:lnTo>
                <a:lnTo>
                  <a:pt x="443726" y="89439"/>
                </a:lnTo>
                <a:lnTo>
                  <a:pt x="413424" y="59134"/>
                </a:lnTo>
                <a:lnTo>
                  <a:pt x="378334" y="34328"/>
                </a:lnTo>
                <a:lnTo>
                  <a:pt x="339165" y="15730"/>
                </a:lnTo>
                <a:lnTo>
                  <a:pt x="296629" y="4051"/>
                </a:lnTo>
                <a:lnTo>
                  <a:pt x="251434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8">
            <a:extLst>
              <a:ext uri="{FF2B5EF4-FFF2-40B4-BE49-F238E27FC236}">
                <a16:creationId xmlns:a16="http://schemas.microsoft.com/office/drawing/2014/main" id="{745FCC51-35A5-6552-1BCA-809EA904C4EA}"/>
              </a:ext>
            </a:extLst>
          </p:cNvPr>
          <p:cNvSpPr/>
          <p:nvPr userDrawn="1"/>
        </p:nvSpPr>
        <p:spPr>
          <a:xfrm>
            <a:off x="2057190" y="5942400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19" h="502920">
                <a:moveTo>
                  <a:pt x="251421" y="0"/>
                </a:moveTo>
                <a:lnTo>
                  <a:pt x="206227" y="4050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3"/>
                </a:lnTo>
                <a:lnTo>
                  <a:pt x="59129" y="89437"/>
                </a:lnTo>
                <a:lnTo>
                  <a:pt x="34325" y="124527"/>
                </a:lnTo>
                <a:lnTo>
                  <a:pt x="15728" y="163695"/>
                </a:lnTo>
                <a:lnTo>
                  <a:pt x="4050" y="206230"/>
                </a:lnTo>
                <a:lnTo>
                  <a:pt x="0" y="251421"/>
                </a:lnTo>
                <a:lnTo>
                  <a:pt x="4050" y="296617"/>
                </a:lnTo>
                <a:lnTo>
                  <a:pt x="15728" y="339154"/>
                </a:lnTo>
                <a:lnTo>
                  <a:pt x="34325" y="378325"/>
                </a:lnTo>
                <a:lnTo>
                  <a:pt x="59129" y="413417"/>
                </a:lnTo>
                <a:lnTo>
                  <a:pt x="89431" y="443721"/>
                </a:lnTo>
                <a:lnTo>
                  <a:pt x="124522" y="468527"/>
                </a:lnTo>
                <a:lnTo>
                  <a:pt x="163690" y="487125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5"/>
                </a:lnTo>
                <a:lnTo>
                  <a:pt x="378325" y="468527"/>
                </a:lnTo>
                <a:lnTo>
                  <a:pt x="413417" y="443721"/>
                </a:lnTo>
                <a:lnTo>
                  <a:pt x="443721" y="413417"/>
                </a:lnTo>
                <a:lnTo>
                  <a:pt x="468527" y="378325"/>
                </a:lnTo>
                <a:lnTo>
                  <a:pt x="487125" y="339154"/>
                </a:lnTo>
                <a:lnTo>
                  <a:pt x="498805" y="296617"/>
                </a:lnTo>
                <a:lnTo>
                  <a:pt x="502856" y="251421"/>
                </a:lnTo>
                <a:lnTo>
                  <a:pt x="498805" y="206230"/>
                </a:lnTo>
                <a:lnTo>
                  <a:pt x="487125" y="163695"/>
                </a:lnTo>
                <a:lnTo>
                  <a:pt x="468527" y="124527"/>
                </a:lnTo>
                <a:lnTo>
                  <a:pt x="443721" y="89437"/>
                </a:lnTo>
                <a:lnTo>
                  <a:pt x="413417" y="59133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0"/>
                </a:lnTo>
                <a:lnTo>
                  <a:pt x="251421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9">
            <a:extLst>
              <a:ext uri="{FF2B5EF4-FFF2-40B4-BE49-F238E27FC236}">
                <a16:creationId xmlns:a16="http://schemas.microsoft.com/office/drawing/2014/main" id="{C5EB0FD8-7C29-F50A-8BC6-F6015FCF50C1}"/>
              </a:ext>
            </a:extLst>
          </p:cNvPr>
          <p:cNvSpPr/>
          <p:nvPr userDrawn="1"/>
        </p:nvSpPr>
        <p:spPr>
          <a:xfrm>
            <a:off x="8267563" y="4977217"/>
            <a:ext cx="2079857" cy="1878320"/>
          </a:xfrm>
          <a:custGeom>
            <a:avLst/>
            <a:gdLst/>
            <a:ahLst/>
            <a:cxnLst/>
            <a:rect l="l" t="t" r="r" b="b"/>
            <a:pathLst>
              <a:path w="2293620" h="2071370">
                <a:moveTo>
                  <a:pt x="1146619" y="0"/>
                </a:moveTo>
                <a:lnTo>
                  <a:pt x="1098150" y="1005"/>
                </a:lnTo>
                <a:lnTo>
                  <a:pt x="1050193" y="3997"/>
                </a:lnTo>
                <a:lnTo>
                  <a:pt x="1002790" y="8933"/>
                </a:lnTo>
                <a:lnTo>
                  <a:pt x="955978" y="15776"/>
                </a:lnTo>
                <a:lnTo>
                  <a:pt x="909799" y="24484"/>
                </a:lnTo>
                <a:lnTo>
                  <a:pt x="864291" y="35018"/>
                </a:lnTo>
                <a:lnTo>
                  <a:pt x="819496" y="47339"/>
                </a:lnTo>
                <a:lnTo>
                  <a:pt x="775452" y="61406"/>
                </a:lnTo>
                <a:lnTo>
                  <a:pt x="732199" y="77180"/>
                </a:lnTo>
                <a:lnTo>
                  <a:pt x="689778" y="94621"/>
                </a:lnTo>
                <a:lnTo>
                  <a:pt x="648227" y="113689"/>
                </a:lnTo>
                <a:lnTo>
                  <a:pt x="607588" y="134344"/>
                </a:lnTo>
                <a:lnTo>
                  <a:pt x="567898" y="156547"/>
                </a:lnTo>
                <a:lnTo>
                  <a:pt x="529199" y="180257"/>
                </a:lnTo>
                <a:lnTo>
                  <a:pt x="491531" y="205436"/>
                </a:lnTo>
                <a:lnTo>
                  <a:pt x="454932" y="232042"/>
                </a:lnTo>
                <a:lnTo>
                  <a:pt x="419443" y="260037"/>
                </a:lnTo>
                <a:lnTo>
                  <a:pt x="385103" y="289380"/>
                </a:lnTo>
                <a:lnTo>
                  <a:pt x="351953" y="320032"/>
                </a:lnTo>
                <a:lnTo>
                  <a:pt x="320032" y="351953"/>
                </a:lnTo>
                <a:lnTo>
                  <a:pt x="289380" y="385103"/>
                </a:lnTo>
                <a:lnTo>
                  <a:pt x="260037" y="419443"/>
                </a:lnTo>
                <a:lnTo>
                  <a:pt x="232042" y="454932"/>
                </a:lnTo>
                <a:lnTo>
                  <a:pt x="205436" y="491531"/>
                </a:lnTo>
                <a:lnTo>
                  <a:pt x="180257" y="529199"/>
                </a:lnTo>
                <a:lnTo>
                  <a:pt x="156547" y="567898"/>
                </a:lnTo>
                <a:lnTo>
                  <a:pt x="134344" y="607588"/>
                </a:lnTo>
                <a:lnTo>
                  <a:pt x="113689" y="648227"/>
                </a:lnTo>
                <a:lnTo>
                  <a:pt x="94621" y="689778"/>
                </a:lnTo>
                <a:lnTo>
                  <a:pt x="77180" y="732199"/>
                </a:lnTo>
                <a:lnTo>
                  <a:pt x="61406" y="775452"/>
                </a:lnTo>
                <a:lnTo>
                  <a:pt x="47339" y="819496"/>
                </a:lnTo>
                <a:lnTo>
                  <a:pt x="35018" y="864291"/>
                </a:lnTo>
                <a:lnTo>
                  <a:pt x="24484" y="909799"/>
                </a:lnTo>
                <a:lnTo>
                  <a:pt x="15776" y="955978"/>
                </a:lnTo>
                <a:lnTo>
                  <a:pt x="8933" y="1002790"/>
                </a:lnTo>
                <a:lnTo>
                  <a:pt x="3997" y="1050193"/>
                </a:lnTo>
                <a:lnTo>
                  <a:pt x="1005" y="1098150"/>
                </a:lnTo>
                <a:lnTo>
                  <a:pt x="0" y="1146619"/>
                </a:lnTo>
                <a:lnTo>
                  <a:pt x="1005" y="1195088"/>
                </a:lnTo>
                <a:lnTo>
                  <a:pt x="3997" y="1243045"/>
                </a:lnTo>
                <a:lnTo>
                  <a:pt x="8933" y="1290448"/>
                </a:lnTo>
                <a:lnTo>
                  <a:pt x="15776" y="1337260"/>
                </a:lnTo>
                <a:lnTo>
                  <a:pt x="24484" y="1383439"/>
                </a:lnTo>
                <a:lnTo>
                  <a:pt x="35018" y="1428947"/>
                </a:lnTo>
                <a:lnTo>
                  <a:pt x="47339" y="1473742"/>
                </a:lnTo>
                <a:lnTo>
                  <a:pt x="61406" y="1517786"/>
                </a:lnTo>
                <a:lnTo>
                  <a:pt x="77180" y="1561039"/>
                </a:lnTo>
                <a:lnTo>
                  <a:pt x="94621" y="1603460"/>
                </a:lnTo>
                <a:lnTo>
                  <a:pt x="113689" y="1645011"/>
                </a:lnTo>
                <a:lnTo>
                  <a:pt x="134344" y="1685650"/>
                </a:lnTo>
                <a:lnTo>
                  <a:pt x="156547" y="1725340"/>
                </a:lnTo>
                <a:lnTo>
                  <a:pt x="180257" y="1764039"/>
                </a:lnTo>
                <a:lnTo>
                  <a:pt x="205436" y="1801707"/>
                </a:lnTo>
                <a:lnTo>
                  <a:pt x="232042" y="1838306"/>
                </a:lnTo>
                <a:lnTo>
                  <a:pt x="260037" y="1873795"/>
                </a:lnTo>
                <a:lnTo>
                  <a:pt x="289380" y="1908135"/>
                </a:lnTo>
                <a:lnTo>
                  <a:pt x="320032" y="1941285"/>
                </a:lnTo>
                <a:lnTo>
                  <a:pt x="351953" y="1973206"/>
                </a:lnTo>
                <a:lnTo>
                  <a:pt x="385103" y="2003858"/>
                </a:lnTo>
                <a:lnTo>
                  <a:pt x="419443" y="2033201"/>
                </a:lnTo>
                <a:lnTo>
                  <a:pt x="454932" y="2061196"/>
                </a:lnTo>
                <a:lnTo>
                  <a:pt x="468748" y="2071240"/>
                </a:lnTo>
                <a:lnTo>
                  <a:pt x="1824490" y="2071240"/>
                </a:lnTo>
                <a:lnTo>
                  <a:pt x="1873795" y="2033201"/>
                </a:lnTo>
                <a:lnTo>
                  <a:pt x="1908135" y="2003858"/>
                </a:lnTo>
                <a:lnTo>
                  <a:pt x="1941285" y="1973206"/>
                </a:lnTo>
                <a:lnTo>
                  <a:pt x="1973206" y="1941285"/>
                </a:lnTo>
                <a:lnTo>
                  <a:pt x="2003858" y="1908135"/>
                </a:lnTo>
                <a:lnTo>
                  <a:pt x="2033201" y="1873795"/>
                </a:lnTo>
                <a:lnTo>
                  <a:pt x="2061196" y="1838306"/>
                </a:lnTo>
                <a:lnTo>
                  <a:pt x="2087802" y="1801707"/>
                </a:lnTo>
                <a:lnTo>
                  <a:pt x="2112981" y="1764039"/>
                </a:lnTo>
                <a:lnTo>
                  <a:pt x="2136691" y="1725340"/>
                </a:lnTo>
                <a:lnTo>
                  <a:pt x="2158894" y="1685650"/>
                </a:lnTo>
                <a:lnTo>
                  <a:pt x="2179549" y="1645011"/>
                </a:lnTo>
                <a:lnTo>
                  <a:pt x="2198617" y="1603460"/>
                </a:lnTo>
                <a:lnTo>
                  <a:pt x="2216058" y="1561039"/>
                </a:lnTo>
                <a:lnTo>
                  <a:pt x="2231832" y="1517786"/>
                </a:lnTo>
                <a:lnTo>
                  <a:pt x="2245899" y="1473742"/>
                </a:lnTo>
                <a:lnTo>
                  <a:pt x="2258220" y="1428947"/>
                </a:lnTo>
                <a:lnTo>
                  <a:pt x="2268754" y="1383439"/>
                </a:lnTo>
                <a:lnTo>
                  <a:pt x="2277462" y="1337260"/>
                </a:lnTo>
                <a:lnTo>
                  <a:pt x="2284305" y="1290448"/>
                </a:lnTo>
                <a:lnTo>
                  <a:pt x="2289241" y="1243045"/>
                </a:lnTo>
                <a:lnTo>
                  <a:pt x="2292233" y="1195088"/>
                </a:lnTo>
                <a:lnTo>
                  <a:pt x="2293238" y="1146619"/>
                </a:lnTo>
                <a:lnTo>
                  <a:pt x="2292233" y="1098150"/>
                </a:lnTo>
                <a:lnTo>
                  <a:pt x="2289241" y="1050193"/>
                </a:lnTo>
                <a:lnTo>
                  <a:pt x="2284305" y="1002790"/>
                </a:lnTo>
                <a:lnTo>
                  <a:pt x="2277462" y="955978"/>
                </a:lnTo>
                <a:lnTo>
                  <a:pt x="2268754" y="909799"/>
                </a:lnTo>
                <a:lnTo>
                  <a:pt x="2258220" y="864291"/>
                </a:lnTo>
                <a:lnTo>
                  <a:pt x="2245899" y="819496"/>
                </a:lnTo>
                <a:lnTo>
                  <a:pt x="2231832" y="775452"/>
                </a:lnTo>
                <a:lnTo>
                  <a:pt x="2216058" y="732199"/>
                </a:lnTo>
                <a:lnTo>
                  <a:pt x="2198617" y="689778"/>
                </a:lnTo>
                <a:lnTo>
                  <a:pt x="2179549" y="648227"/>
                </a:lnTo>
                <a:lnTo>
                  <a:pt x="2158894" y="607588"/>
                </a:lnTo>
                <a:lnTo>
                  <a:pt x="2136691" y="567898"/>
                </a:lnTo>
                <a:lnTo>
                  <a:pt x="2112981" y="529199"/>
                </a:lnTo>
                <a:lnTo>
                  <a:pt x="2087802" y="491531"/>
                </a:lnTo>
                <a:lnTo>
                  <a:pt x="2061196" y="454932"/>
                </a:lnTo>
                <a:lnTo>
                  <a:pt x="2033201" y="419443"/>
                </a:lnTo>
                <a:lnTo>
                  <a:pt x="2003858" y="385103"/>
                </a:lnTo>
                <a:lnTo>
                  <a:pt x="1973206" y="351953"/>
                </a:lnTo>
                <a:lnTo>
                  <a:pt x="1941285" y="320032"/>
                </a:lnTo>
                <a:lnTo>
                  <a:pt x="1908135" y="289380"/>
                </a:lnTo>
                <a:lnTo>
                  <a:pt x="1873795" y="260037"/>
                </a:lnTo>
                <a:lnTo>
                  <a:pt x="1838306" y="232042"/>
                </a:lnTo>
                <a:lnTo>
                  <a:pt x="1801707" y="205436"/>
                </a:lnTo>
                <a:lnTo>
                  <a:pt x="1764039" y="180257"/>
                </a:lnTo>
                <a:lnTo>
                  <a:pt x="1725340" y="156547"/>
                </a:lnTo>
                <a:lnTo>
                  <a:pt x="1685650" y="134344"/>
                </a:lnTo>
                <a:lnTo>
                  <a:pt x="1645011" y="113689"/>
                </a:lnTo>
                <a:lnTo>
                  <a:pt x="1603460" y="94621"/>
                </a:lnTo>
                <a:lnTo>
                  <a:pt x="1561039" y="77180"/>
                </a:lnTo>
                <a:lnTo>
                  <a:pt x="1517786" y="61406"/>
                </a:lnTo>
                <a:lnTo>
                  <a:pt x="1473742" y="47339"/>
                </a:lnTo>
                <a:lnTo>
                  <a:pt x="1428947" y="35018"/>
                </a:lnTo>
                <a:lnTo>
                  <a:pt x="1383439" y="24484"/>
                </a:lnTo>
                <a:lnTo>
                  <a:pt x="1337260" y="15776"/>
                </a:lnTo>
                <a:lnTo>
                  <a:pt x="1290448" y="8933"/>
                </a:lnTo>
                <a:lnTo>
                  <a:pt x="1243045" y="3997"/>
                </a:lnTo>
                <a:lnTo>
                  <a:pt x="1195088" y="1005"/>
                </a:lnTo>
                <a:lnTo>
                  <a:pt x="1146619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A89A634F-3FAC-49AD-A2DA-F89F069C69B6}"/>
              </a:ext>
            </a:extLst>
          </p:cNvPr>
          <p:cNvSpPr/>
          <p:nvPr userDrawn="1"/>
        </p:nvSpPr>
        <p:spPr>
          <a:xfrm>
            <a:off x="10400414" y="1"/>
            <a:ext cx="1786189" cy="1731487"/>
          </a:xfrm>
          <a:custGeom>
            <a:avLst/>
            <a:gdLst/>
            <a:ahLst/>
            <a:cxnLst/>
            <a:rect l="l" t="t" r="r" b="b"/>
            <a:pathLst>
              <a:path w="1969769" h="1909445">
                <a:moveTo>
                  <a:pt x="1969200" y="0"/>
                </a:moveTo>
                <a:lnTo>
                  <a:pt x="290407" y="0"/>
                </a:lnTo>
                <a:lnTo>
                  <a:pt x="289380" y="1110"/>
                </a:lnTo>
                <a:lnTo>
                  <a:pt x="260037" y="35449"/>
                </a:lnTo>
                <a:lnTo>
                  <a:pt x="232042" y="70938"/>
                </a:lnTo>
                <a:lnTo>
                  <a:pt x="205436" y="107537"/>
                </a:lnTo>
                <a:lnTo>
                  <a:pt x="180257" y="145206"/>
                </a:lnTo>
                <a:lnTo>
                  <a:pt x="156547" y="183905"/>
                </a:lnTo>
                <a:lnTo>
                  <a:pt x="134344" y="223594"/>
                </a:lnTo>
                <a:lnTo>
                  <a:pt x="113689" y="264234"/>
                </a:lnTo>
                <a:lnTo>
                  <a:pt x="94621" y="305784"/>
                </a:lnTo>
                <a:lnTo>
                  <a:pt x="77180" y="348206"/>
                </a:lnTo>
                <a:lnTo>
                  <a:pt x="61406" y="391458"/>
                </a:lnTo>
                <a:lnTo>
                  <a:pt x="47339" y="435502"/>
                </a:lnTo>
                <a:lnTo>
                  <a:pt x="35018" y="480298"/>
                </a:lnTo>
                <a:lnTo>
                  <a:pt x="24484" y="525805"/>
                </a:lnTo>
                <a:lnTo>
                  <a:pt x="15776" y="571984"/>
                </a:lnTo>
                <a:lnTo>
                  <a:pt x="8933" y="618796"/>
                </a:lnTo>
                <a:lnTo>
                  <a:pt x="3997" y="666200"/>
                </a:lnTo>
                <a:lnTo>
                  <a:pt x="1005" y="714156"/>
                </a:lnTo>
                <a:lnTo>
                  <a:pt x="0" y="762625"/>
                </a:lnTo>
                <a:lnTo>
                  <a:pt x="1005" y="811095"/>
                </a:lnTo>
                <a:lnTo>
                  <a:pt x="3997" y="859051"/>
                </a:lnTo>
                <a:lnTo>
                  <a:pt x="8933" y="906455"/>
                </a:lnTo>
                <a:lnTo>
                  <a:pt x="15776" y="953266"/>
                </a:lnTo>
                <a:lnTo>
                  <a:pt x="24484" y="999446"/>
                </a:lnTo>
                <a:lnTo>
                  <a:pt x="35018" y="1044953"/>
                </a:lnTo>
                <a:lnTo>
                  <a:pt x="47339" y="1089748"/>
                </a:lnTo>
                <a:lnTo>
                  <a:pt x="61406" y="1133792"/>
                </a:lnTo>
                <a:lnTo>
                  <a:pt x="77180" y="1177045"/>
                </a:lnTo>
                <a:lnTo>
                  <a:pt x="94621" y="1219467"/>
                </a:lnTo>
                <a:lnTo>
                  <a:pt x="113689" y="1261017"/>
                </a:lnTo>
                <a:lnTo>
                  <a:pt x="134344" y="1301657"/>
                </a:lnTo>
                <a:lnTo>
                  <a:pt x="156547" y="1341346"/>
                </a:lnTo>
                <a:lnTo>
                  <a:pt x="180257" y="1380045"/>
                </a:lnTo>
                <a:lnTo>
                  <a:pt x="205436" y="1417714"/>
                </a:lnTo>
                <a:lnTo>
                  <a:pt x="232042" y="1454312"/>
                </a:lnTo>
                <a:lnTo>
                  <a:pt x="260037" y="1489801"/>
                </a:lnTo>
                <a:lnTo>
                  <a:pt x="289380" y="1524141"/>
                </a:lnTo>
                <a:lnTo>
                  <a:pt x="320032" y="1557291"/>
                </a:lnTo>
                <a:lnTo>
                  <a:pt x="351953" y="1589212"/>
                </a:lnTo>
                <a:lnTo>
                  <a:pt x="385103" y="1619864"/>
                </a:lnTo>
                <a:lnTo>
                  <a:pt x="419443" y="1649207"/>
                </a:lnTo>
                <a:lnTo>
                  <a:pt x="454932" y="1677202"/>
                </a:lnTo>
                <a:lnTo>
                  <a:pt x="491531" y="1703809"/>
                </a:lnTo>
                <a:lnTo>
                  <a:pt x="529199" y="1728987"/>
                </a:lnTo>
                <a:lnTo>
                  <a:pt x="567898" y="1752698"/>
                </a:lnTo>
                <a:lnTo>
                  <a:pt x="607588" y="1774900"/>
                </a:lnTo>
                <a:lnTo>
                  <a:pt x="648227" y="1795556"/>
                </a:lnTo>
                <a:lnTo>
                  <a:pt x="689778" y="1814623"/>
                </a:lnTo>
                <a:lnTo>
                  <a:pt x="732199" y="1832064"/>
                </a:lnTo>
                <a:lnTo>
                  <a:pt x="775452" y="1847838"/>
                </a:lnTo>
                <a:lnTo>
                  <a:pt x="819496" y="1861905"/>
                </a:lnTo>
                <a:lnTo>
                  <a:pt x="864291" y="1874226"/>
                </a:lnTo>
                <a:lnTo>
                  <a:pt x="909799" y="1884760"/>
                </a:lnTo>
                <a:lnTo>
                  <a:pt x="955978" y="1893469"/>
                </a:lnTo>
                <a:lnTo>
                  <a:pt x="1002790" y="1900311"/>
                </a:lnTo>
                <a:lnTo>
                  <a:pt x="1050193" y="1905248"/>
                </a:lnTo>
                <a:lnTo>
                  <a:pt x="1098150" y="1908239"/>
                </a:lnTo>
                <a:lnTo>
                  <a:pt x="1146619" y="1909245"/>
                </a:lnTo>
                <a:lnTo>
                  <a:pt x="1195088" y="1908239"/>
                </a:lnTo>
                <a:lnTo>
                  <a:pt x="1243045" y="1905248"/>
                </a:lnTo>
                <a:lnTo>
                  <a:pt x="1290448" y="1900311"/>
                </a:lnTo>
                <a:lnTo>
                  <a:pt x="1337260" y="1893469"/>
                </a:lnTo>
                <a:lnTo>
                  <a:pt x="1383439" y="1884760"/>
                </a:lnTo>
                <a:lnTo>
                  <a:pt x="1428947" y="1874226"/>
                </a:lnTo>
                <a:lnTo>
                  <a:pt x="1473742" y="1861905"/>
                </a:lnTo>
                <a:lnTo>
                  <a:pt x="1517786" y="1847838"/>
                </a:lnTo>
                <a:lnTo>
                  <a:pt x="1561039" y="1832064"/>
                </a:lnTo>
                <a:lnTo>
                  <a:pt x="1603460" y="1814623"/>
                </a:lnTo>
                <a:lnTo>
                  <a:pt x="1645011" y="1795556"/>
                </a:lnTo>
                <a:lnTo>
                  <a:pt x="1685650" y="1774900"/>
                </a:lnTo>
                <a:lnTo>
                  <a:pt x="1725340" y="1752698"/>
                </a:lnTo>
                <a:lnTo>
                  <a:pt x="1764039" y="1728987"/>
                </a:lnTo>
                <a:lnTo>
                  <a:pt x="1801707" y="1703809"/>
                </a:lnTo>
                <a:lnTo>
                  <a:pt x="1838306" y="1677202"/>
                </a:lnTo>
                <a:lnTo>
                  <a:pt x="1873795" y="1649207"/>
                </a:lnTo>
                <a:lnTo>
                  <a:pt x="1908135" y="1619864"/>
                </a:lnTo>
                <a:lnTo>
                  <a:pt x="1941285" y="1589212"/>
                </a:lnTo>
                <a:lnTo>
                  <a:pt x="1969200" y="1561297"/>
                </a:lnTo>
                <a:lnTo>
                  <a:pt x="1969200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11">
            <a:extLst>
              <a:ext uri="{FF2B5EF4-FFF2-40B4-BE49-F238E27FC236}">
                <a16:creationId xmlns:a16="http://schemas.microsoft.com/office/drawing/2014/main" id="{070B18B0-0A28-9977-5483-AE34A87FCE5C}"/>
              </a:ext>
            </a:extLst>
          </p:cNvPr>
          <p:cNvSpPr/>
          <p:nvPr userDrawn="1"/>
        </p:nvSpPr>
        <p:spPr>
          <a:xfrm>
            <a:off x="4070293" y="0"/>
            <a:ext cx="2079857" cy="1720546"/>
          </a:xfrm>
          <a:custGeom>
            <a:avLst/>
            <a:gdLst/>
            <a:ahLst/>
            <a:cxnLst/>
            <a:rect l="l" t="t" r="r" b="b"/>
            <a:pathLst>
              <a:path w="2293620" h="1897380">
                <a:moveTo>
                  <a:pt x="2013162" y="0"/>
                </a:moveTo>
                <a:lnTo>
                  <a:pt x="280076" y="0"/>
                </a:lnTo>
                <a:lnTo>
                  <a:pt x="260037" y="23451"/>
                </a:lnTo>
                <a:lnTo>
                  <a:pt x="232042" y="58940"/>
                </a:lnTo>
                <a:lnTo>
                  <a:pt x="205436" y="95539"/>
                </a:lnTo>
                <a:lnTo>
                  <a:pt x="180257" y="133207"/>
                </a:lnTo>
                <a:lnTo>
                  <a:pt x="156547" y="171906"/>
                </a:lnTo>
                <a:lnTo>
                  <a:pt x="134344" y="211595"/>
                </a:lnTo>
                <a:lnTo>
                  <a:pt x="113689" y="252235"/>
                </a:lnTo>
                <a:lnTo>
                  <a:pt x="94621" y="293786"/>
                </a:lnTo>
                <a:lnTo>
                  <a:pt x="77180" y="336207"/>
                </a:lnTo>
                <a:lnTo>
                  <a:pt x="61406" y="379460"/>
                </a:lnTo>
                <a:lnTo>
                  <a:pt x="47339" y="423504"/>
                </a:lnTo>
                <a:lnTo>
                  <a:pt x="35018" y="468299"/>
                </a:lnTo>
                <a:lnTo>
                  <a:pt x="24484" y="513807"/>
                </a:lnTo>
                <a:lnTo>
                  <a:pt x="15776" y="559986"/>
                </a:lnTo>
                <a:lnTo>
                  <a:pt x="8933" y="606797"/>
                </a:lnTo>
                <a:lnTo>
                  <a:pt x="3997" y="654201"/>
                </a:lnTo>
                <a:lnTo>
                  <a:pt x="1005" y="702158"/>
                </a:lnTo>
                <a:lnTo>
                  <a:pt x="0" y="750627"/>
                </a:lnTo>
                <a:lnTo>
                  <a:pt x="1005" y="799096"/>
                </a:lnTo>
                <a:lnTo>
                  <a:pt x="3997" y="847052"/>
                </a:lnTo>
                <a:lnTo>
                  <a:pt x="8933" y="894456"/>
                </a:lnTo>
                <a:lnTo>
                  <a:pt x="15776" y="941268"/>
                </a:lnTo>
                <a:lnTo>
                  <a:pt x="24484" y="987447"/>
                </a:lnTo>
                <a:lnTo>
                  <a:pt x="35018" y="1032954"/>
                </a:lnTo>
                <a:lnTo>
                  <a:pt x="47339" y="1077750"/>
                </a:lnTo>
                <a:lnTo>
                  <a:pt x="61406" y="1121794"/>
                </a:lnTo>
                <a:lnTo>
                  <a:pt x="77180" y="1165047"/>
                </a:lnTo>
                <a:lnTo>
                  <a:pt x="94621" y="1207468"/>
                </a:lnTo>
                <a:lnTo>
                  <a:pt x="113689" y="1249019"/>
                </a:lnTo>
                <a:lnTo>
                  <a:pt x="134344" y="1289658"/>
                </a:lnTo>
                <a:lnTo>
                  <a:pt x="156547" y="1329348"/>
                </a:lnTo>
                <a:lnTo>
                  <a:pt x="180257" y="1368046"/>
                </a:lnTo>
                <a:lnTo>
                  <a:pt x="205436" y="1405715"/>
                </a:lnTo>
                <a:lnTo>
                  <a:pt x="232042" y="1442314"/>
                </a:lnTo>
                <a:lnTo>
                  <a:pt x="260037" y="1477803"/>
                </a:lnTo>
                <a:lnTo>
                  <a:pt x="289380" y="1512142"/>
                </a:lnTo>
                <a:lnTo>
                  <a:pt x="320032" y="1545293"/>
                </a:lnTo>
                <a:lnTo>
                  <a:pt x="351953" y="1577214"/>
                </a:lnTo>
                <a:lnTo>
                  <a:pt x="385103" y="1607866"/>
                </a:lnTo>
                <a:lnTo>
                  <a:pt x="419443" y="1637209"/>
                </a:lnTo>
                <a:lnTo>
                  <a:pt x="454932" y="1665204"/>
                </a:lnTo>
                <a:lnTo>
                  <a:pt x="491531" y="1691810"/>
                </a:lnTo>
                <a:lnTo>
                  <a:pt x="529199" y="1716989"/>
                </a:lnTo>
                <a:lnTo>
                  <a:pt x="567898" y="1740699"/>
                </a:lnTo>
                <a:lnTo>
                  <a:pt x="607588" y="1762902"/>
                </a:lnTo>
                <a:lnTo>
                  <a:pt x="648227" y="1783557"/>
                </a:lnTo>
                <a:lnTo>
                  <a:pt x="689778" y="1802625"/>
                </a:lnTo>
                <a:lnTo>
                  <a:pt x="732199" y="1820066"/>
                </a:lnTo>
                <a:lnTo>
                  <a:pt x="775452" y="1835840"/>
                </a:lnTo>
                <a:lnTo>
                  <a:pt x="819496" y="1849907"/>
                </a:lnTo>
                <a:lnTo>
                  <a:pt x="864291" y="1862228"/>
                </a:lnTo>
                <a:lnTo>
                  <a:pt x="909799" y="1872762"/>
                </a:lnTo>
                <a:lnTo>
                  <a:pt x="955978" y="1881470"/>
                </a:lnTo>
                <a:lnTo>
                  <a:pt x="1002790" y="1888313"/>
                </a:lnTo>
                <a:lnTo>
                  <a:pt x="1050193" y="1893249"/>
                </a:lnTo>
                <a:lnTo>
                  <a:pt x="1098150" y="1896240"/>
                </a:lnTo>
                <a:lnTo>
                  <a:pt x="1146619" y="1897246"/>
                </a:lnTo>
                <a:lnTo>
                  <a:pt x="1195088" y="1896240"/>
                </a:lnTo>
                <a:lnTo>
                  <a:pt x="1243045" y="1893249"/>
                </a:lnTo>
                <a:lnTo>
                  <a:pt x="1290448" y="1888313"/>
                </a:lnTo>
                <a:lnTo>
                  <a:pt x="1337260" y="1881470"/>
                </a:lnTo>
                <a:lnTo>
                  <a:pt x="1383439" y="1872762"/>
                </a:lnTo>
                <a:lnTo>
                  <a:pt x="1428947" y="1862228"/>
                </a:lnTo>
                <a:lnTo>
                  <a:pt x="1473742" y="1849907"/>
                </a:lnTo>
                <a:lnTo>
                  <a:pt x="1517786" y="1835840"/>
                </a:lnTo>
                <a:lnTo>
                  <a:pt x="1561039" y="1820066"/>
                </a:lnTo>
                <a:lnTo>
                  <a:pt x="1603460" y="1802625"/>
                </a:lnTo>
                <a:lnTo>
                  <a:pt x="1645011" y="1783557"/>
                </a:lnTo>
                <a:lnTo>
                  <a:pt x="1685650" y="1762902"/>
                </a:lnTo>
                <a:lnTo>
                  <a:pt x="1725340" y="1740699"/>
                </a:lnTo>
                <a:lnTo>
                  <a:pt x="1764039" y="1716989"/>
                </a:lnTo>
                <a:lnTo>
                  <a:pt x="1801707" y="1691810"/>
                </a:lnTo>
                <a:lnTo>
                  <a:pt x="1838306" y="1665204"/>
                </a:lnTo>
                <a:lnTo>
                  <a:pt x="1873795" y="1637209"/>
                </a:lnTo>
                <a:lnTo>
                  <a:pt x="1908135" y="1607866"/>
                </a:lnTo>
                <a:lnTo>
                  <a:pt x="1941285" y="1577214"/>
                </a:lnTo>
                <a:lnTo>
                  <a:pt x="1973206" y="1545293"/>
                </a:lnTo>
                <a:lnTo>
                  <a:pt x="2003858" y="1512142"/>
                </a:lnTo>
                <a:lnTo>
                  <a:pt x="2033201" y="1477803"/>
                </a:lnTo>
                <a:lnTo>
                  <a:pt x="2061196" y="1442314"/>
                </a:lnTo>
                <a:lnTo>
                  <a:pt x="2087802" y="1405715"/>
                </a:lnTo>
                <a:lnTo>
                  <a:pt x="2112981" y="1368046"/>
                </a:lnTo>
                <a:lnTo>
                  <a:pt x="2136691" y="1329348"/>
                </a:lnTo>
                <a:lnTo>
                  <a:pt x="2158894" y="1289658"/>
                </a:lnTo>
                <a:lnTo>
                  <a:pt x="2179549" y="1249019"/>
                </a:lnTo>
                <a:lnTo>
                  <a:pt x="2198617" y="1207468"/>
                </a:lnTo>
                <a:lnTo>
                  <a:pt x="2216058" y="1165047"/>
                </a:lnTo>
                <a:lnTo>
                  <a:pt x="2231832" y="1121794"/>
                </a:lnTo>
                <a:lnTo>
                  <a:pt x="2245899" y="1077750"/>
                </a:lnTo>
                <a:lnTo>
                  <a:pt x="2258220" y="1032954"/>
                </a:lnTo>
                <a:lnTo>
                  <a:pt x="2268754" y="987447"/>
                </a:lnTo>
                <a:lnTo>
                  <a:pt x="2277462" y="941268"/>
                </a:lnTo>
                <a:lnTo>
                  <a:pt x="2284305" y="894456"/>
                </a:lnTo>
                <a:lnTo>
                  <a:pt x="2289241" y="847052"/>
                </a:lnTo>
                <a:lnTo>
                  <a:pt x="2292233" y="799096"/>
                </a:lnTo>
                <a:lnTo>
                  <a:pt x="2293239" y="750627"/>
                </a:lnTo>
                <a:lnTo>
                  <a:pt x="2292233" y="702158"/>
                </a:lnTo>
                <a:lnTo>
                  <a:pt x="2289241" y="654201"/>
                </a:lnTo>
                <a:lnTo>
                  <a:pt x="2284305" y="606797"/>
                </a:lnTo>
                <a:lnTo>
                  <a:pt x="2277462" y="559986"/>
                </a:lnTo>
                <a:lnTo>
                  <a:pt x="2268754" y="513807"/>
                </a:lnTo>
                <a:lnTo>
                  <a:pt x="2258220" y="468299"/>
                </a:lnTo>
                <a:lnTo>
                  <a:pt x="2245899" y="423504"/>
                </a:lnTo>
                <a:lnTo>
                  <a:pt x="2231832" y="379460"/>
                </a:lnTo>
                <a:lnTo>
                  <a:pt x="2216058" y="336207"/>
                </a:lnTo>
                <a:lnTo>
                  <a:pt x="2198617" y="293786"/>
                </a:lnTo>
                <a:lnTo>
                  <a:pt x="2179549" y="252235"/>
                </a:lnTo>
                <a:lnTo>
                  <a:pt x="2158894" y="211595"/>
                </a:lnTo>
                <a:lnTo>
                  <a:pt x="2136691" y="171906"/>
                </a:lnTo>
                <a:lnTo>
                  <a:pt x="2112981" y="133207"/>
                </a:lnTo>
                <a:lnTo>
                  <a:pt x="2087802" y="95539"/>
                </a:lnTo>
                <a:lnTo>
                  <a:pt x="2061196" y="58940"/>
                </a:lnTo>
                <a:lnTo>
                  <a:pt x="2033201" y="23451"/>
                </a:lnTo>
                <a:lnTo>
                  <a:pt x="201316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12">
            <a:extLst>
              <a:ext uri="{FF2B5EF4-FFF2-40B4-BE49-F238E27FC236}">
                <a16:creationId xmlns:a16="http://schemas.microsoft.com/office/drawing/2014/main" id="{FEF9B5F4-F996-526E-724D-8B9EB62F9A2B}"/>
              </a:ext>
            </a:extLst>
          </p:cNvPr>
          <p:cNvSpPr/>
          <p:nvPr userDrawn="1"/>
        </p:nvSpPr>
        <p:spPr>
          <a:xfrm>
            <a:off x="10321566" y="3966353"/>
            <a:ext cx="1580045" cy="1580045"/>
          </a:xfrm>
          <a:custGeom>
            <a:avLst/>
            <a:gdLst/>
            <a:ahLst/>
            <a:cxnLst/>
            <a:rect l="l" t="t" r="r" b="b"/>
            <a:pathLst>
              <a:path w="1742440" h="1742439">
                <a:moveTo>
                  <a:pt x="871016" y="0"/>
                </a:moveTo>
                <a:lnTo>
                  <a:pt x="823226" y="1288"/>
                </a:lnTo>
                <a:lnTo>
                  <a:pt x="776109" y="5110"/>
                </a:lnTo>
                <a:lnTo>
                  <a:pt x="729733" y="11400"/>
                </a:lnTo>
                <a:lnTo>
                  <a:pt x="684162" y="20089"/>
                </a:lnTo>
                <a:lnTo>
                  <a:pt x="639465" y="31113"/>
                </a:lnTo>
                <a:lnTo>
                  <a:pt x="595707" y="44404"/>
                </a:lnTo>
                <a:lnTo>
                  <a:pt x="552955" y="59897"/>
                </a:lnTo>
                <a:lnTo>
                  <a:pt x="511275" y="77525"/>
                </a:lnTo>
                <a:lnTo>
                  <a:pt x="470733" y="97221"/>
                </a:lnTo>
                <a:lnTo>
                  <a:pt x="431397" y="118919"/>
                </a:lnTo>
                <a:lnTo>
                  <a:pt x="393332" y="142552"/>
                </a:lnTo>
                <a:lnTo>
                  <a:pt x="356605" y="168055"/>
                </a:lnTo>
                <a:lnTo>
                  <a:pt x="321282" y="195360"/>
                </a:lnTo>
                <a:lnTo>
                  <a:pt x="287429" y="224402"/>
                </a:lnTo>
                <a:lnTo>
                  <a:pt x="255114" y="255114"/>
                </a:lnTo>
                <a:lnTo>
                  <a:pt x="224402" y="287429"/>
                </a:lnTo>
                <a:lnTo>
                  <a:pt x="195360" y="321282"/>
                </a:lnTo>
                <a:lnTo>
                  <a:pt x="168055" y="356605"/>
                </a:lnTo>
                <a:lnTo>
                  <a:pt x="142552" y="393332"/>
                </a:lnTo>
                <a:lnTo>
                  <a:pt x="118919" y="431397"/>
                </a:lnTo>
                <a:lnTo>
                  <a:pt x="97221" y="470733"/>
                </a:lnTo>
                <a:lnTo>
                  <a:pt x="77525" y="511275"/>
                </a:lnTo>
                <a:lnTo>
                  <a:pt x="59897" y="552955"/>
                </a:lnTo>
                <a:lnTo>
                  <a:pt x="44404" y="595707"/>
                </a:lnTo>
                <a:lnTo>
                  <a:pt x="31113" y="639465"/>
                </a:lnTo>
                <a:lnTo>
                  <a:pt x="20089" y="684162"/>
                </a:lnTo>
                <a:lnTo>
                  <a:pt x="11400" y="729733"/>
                </a:lnTo>
                <a:lnTo>
                  <a:pt x="5110" y="776109"/>
                </a:lnTo>
                <a:lnTo>
                  <a:pt x="1288" y="823226"/>
                </a:lnTo>
                <a:lnTo>
                  <a:pt x="0" y="871016"/>
                </a:lnTo>
                <a:lnTo>
                  <a:pt x="1288" y="918807"/>
                </a:lnTo>
                <a:lnTo>
                  <a:pt x="5110" y="965923"/>
                </a:lnTo>
                <a:lnTo>
                  <a:pt x="11400" y="1012300"/>
                </a:lnTo>
                <a:lnTo>
                  <a:pt x="20089" y="1057870"/>
                </a:lnTo>
                <a:lnTo>
                  <a:pt x="31113" y="1102568"/>
                </a:lnTo>
                <a:lnTo>
                  <a:pt x="44404" y="1146325"/>
                </a:lnTo>
                <a:lnTo>
                  <a:pt x="59897" y="1189078"/>
                </a:lnTo>
                <a:lnTo>
                  <a:pt x="77525" y="1230758"/>
                </a:lnTo>
                <a:lnTo>
                  <a:pt x="97221" y="1271299"/>
                </a:lnTo>
                <a:lnTo>
                  <a:pt x="118919" y="1310636"/>
                </a:lnTo>
                <a:lnTo>
                  <a:pt x="142552" y="1348701"/>
                </a:lnTo>
                <a:lnTo>
                  <a:pt x="168055" y="1385428"/>
                </a:lnTo>
                <a:lnTo>
                  <a:pt x="195360" y="1420751"/>
                </a:lnTo>
                <a:lnTo>
                  <a:pt x="224402" y="1454603"/>
                </a:lnTo>
                <a:lnTo>
                  <a:pt x="255114" y="1486919"/>
                </a:lnTo>
                <a:lnTo>
                  <a:pt x="287429" y="1517630"/>
                </a:lnTo>
                <a:lnTo>
                  <a:pt x="321282" y="1546672"/>
                </a:lnTo>
                <a:lnTo>
                  <a:pt x="356605" y="1573978"/>
                </a:lnTo>
                <a:lnTo>
                  <a:pt x="393332" y="1599480"/>
                </a:lnTo>
                <a:lnTo>
                  <a:pt x="431397" y="1623114"/>
                </a:lnTo>
                <a:lnTo>
                  <a:pt x="470733" y="1644812"/>
                </a:lnTo>
                <a:lnTo>
                  <a:pt x="511275" y="1664508"/>
                </a:lnTo>
                <a:lnTo>
                  <a:pt x="552955" y="1682136"/>
                </a:lnTo>
                <a:lnTo>
                  <a:pt x="595707" y="1697628"/>
                </a:lnTo>
                <a:lnTo>
                  <a:pt x="639465" y="1710920"/>
                </a:lnTo>
                <a:lnTo>
                  <a:pt x="684162" y="1721943"/>
                </a:lnTo>
                <a:lnTo>
                  <a:pt x="729733" y="1730633"/>
                </a:lnTo>
                <a:lnTo>
                  <a:pt x="776109" y="1736922"/>
                </a:lnTo>
                <a:lnTo>
                  <a:pt x="823226" y="1740744"/>
                </a:lnTo>
                <a:lnTo>
                  <a:pt x="871016" y="1742033"/>
                </a:lnTo>
                <a:lnTo>
                  <a:pt x="918807" y="1740744"/>
                </a:lnTo>
                <a:lnTo>
                  <a:pt x="965923" y="1736922"/>
                </a:lnTo>
                <a:lnTo>
                  <a:pt x="1012300" y="1730633"/>
                </a:lnTo>
                <a:lnTo>
                  <a:pt x="1057870" y="1721943"/>
                </a:lnTo>
                <a:lnTo>
                  <a:pt x="1102568" y="1710920"/>
                </a:lnTo>
                <a:lnTo>
                  <a:pt x="1146325" y="1697628"/>
                </a:lnTo>
                <a:lnTo>
                  <a:pt x="1189078" y="1682136"/>
                </a:lnTo>
                <a:lnTo>
                  <a:pt x="1230758" y="1664508"/>
                </a:lnTo>
                <a:lnTo>
                  <a:pt x="1271299" y="1644812"/>
                </a:lnTo>
                <a:lnTo>
                  <a:pt x="1310636" y="1623114"/>
                </a:lnTo>
                <a:lnTo>
                  <a:pt x="1348701" y="1599480"/>
                </a:lnTo>
                <a:lnTo>
                  <a:pt x="1385428" y="1573978"/>
                </a:lnTo>
                <a:lnTo>
                  <a:pt x="1420751" y="1546672"/>
                </a:lnTo>
                <a:lnTo>
                  <a:pt x="1454603" y="1517630"/>
                </a:lnTo>
                <a:lnTo>
                  <a:pt x="1486919" y="1486919"/>
                </a:lnTo>
                <a:lnTo>
                  <a:pt x="1517630" y="1454603"/>
                </a:lnTo>
                <a:lnTo>
                  <a:pt x="1546672" y="1420751"/>
                </a:lnTo>
                <a:lnTo>
                  <a:pt x="1573978" y="1385428"/>
                </a:lnTo>
                <a:lnTo>
                  <a:pt x="1599480" y="1348701"/>
                </a:lnTo>
                <a:lnTo>
                  <a:pt x="1623114" y="1310636"/>
                </a:lnTo>
                <a:lnTo>
                  <a:pt x="1644812" y="1271299"/>
                </a:lnTo>
                <a:lnTo>
                  <a:pt x="1664508" y="1230758"/>
                </a:lnTo>
                <a:lnTo>
                  <a:pt x="1682136" y="1189078"/>
                </a:lnTo>
                <a:lnTo>
                  <a:pt x="1697628" y="1146325"/>
                </a:lnTo>
                <a:lnTo>
                  <a:pt x="1710920" y="1102568"/>
                </a:lnTo>
                <a:lnTo>
                  <a:pt x="1721943" y="1057870"/>
                </a:lnTo>
                <a:lnTo>
                  <a:pt x="1730633" y="1012300"/>
                </a:lnTo>
                <a:lnTo>
                  <a:pt x="1736922" y="965923"/>
                </a:lnTo>
                <a:lnTo>
                  <a:pt x="1740744" y="918807"/>
                </a:lnTo>
                <a:lnTo>
                  <a:pt x="1742033" y="871016"/>
                </a:lnTo>
                <a:lnTo>
                  <a:pt x="1740744" y="823226"/>
                </a:lnTo>
                <a:lnTo>
                  <a:pt x="1736922" y="776109"/>
                </a:lnTo>
                <a:lnTo>
                  <a:pt x="1730633" y="729733"/>
                </a:lnTo>
                <a:lnTo>
                  <a:pt x="1721943" y="684162"/>
                </a:lnTo>
                <a:lnTo>
                  <a:pt x="1710920" y="639465"/>
                </a:lnTo>
                <a:lnTo>
                  <a:pt x="1697628" y="595707"/>
                </a:lnTo>
                <a:lnTo>
                  <a:pt x="1682136" y="552955"/>
                </a:lnTo>
                <a:lnTo>
                  <a:pt x="1664508" y="511275"/>
                </a:lnTo>
                <a:lnTo>
                  <a:pt x="1644812" y="470733"/>
                </a:lnTo>
                <a:lnTo>
                  <a:pt x="1623114" y="431397"/>
                </a:lnTo>
                <a:lnTo>
                  <a:pt x="1599480" y="393332"/>
                </a:lnTo>
                <a:lnTo>
                  <a:pt x="1573978" y="356605"/>
                </a:lnTo>
                <a:lnTo>
                  <a:pt x="1546672" y="321282"/>
                </a:lnTo>
                <a:lnTo>
                  <a:pt x="1517630" y="287429"/>
                </a:lnTo>
                <a:lnTo>
                  <a:pt x="1486919" y="255114"/>
                </a:lnTo>
                <a:lnTo>
                  <a:pt x="1454603" y="224402"/>
                </a:lnTo>
                <a:lnTo>
                  <a:pt x="1420751" y="195360"/>
                </a:lnTo>
                <a:lnTo>
                  <a:pt x="1385428" y="168055"/>
                </a:lnTo>
                <a:lnTo>
                  <a:pt x="1348701" y="142552"/>
                </a:lnTo>
                <a:lnTo>
                  <a:pt x="1310636" y="118919"/>
                </a:lnTo>
                <a:lnTo>
                  <a:pt x="1271299" y="97221"/>
                </a:lnTo>
                <a:lnTo>
                  <a:pt x="1230758" y="77525"/>
                </a:lnTo>
                <a:lnTo>
                  <a:pt x="1189078" y="59897"/>
                </a:lnTo>
                <a:lnTo>
                  <a:pt x="1146325" y="44404"/>
                </a:lnTo>
                <a:lnTo>
                  <a:pt x="1102568" y="31113"/>
                </a:lnTo>
                <a:lnTo>
                  <a:pt x="1057870" y="20089"/>
                </a:lnTo>
                <a:lnTo>
                  <a:pt x="1012300" y="11400"/>
                </a:lnTo>
                <a:lnTo>
                  <a:pt x="965923" y="5110"/>
                </a:lnTo>
                <a:lnTo>
                  <a:pt x="918807" y="1288"/>
                </a:lnTo>
                <a:lnTo>
                  <a:pt x="871016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13">
            <a:extLst>
              <a:ext uri="{FF2B5EF4-FFF2-40B4-BE49-F238E27FC236}">
                <a16:creationId xmlns:a16="http://schemas.microsoft.com/office/drawing/2014/main" id="{2E23C361-F404-8DEA-3669-F09536585986}"/>
              </a:ext>
            </a:extLst>
          </p:cNvPr>
          <p:cNvSpPr/>
          <p:nvPr userDrawn="1"/>
        </p:nvSpPr>
        <p:spPr>
          <a:xfrm>
            <a:off x="7835316" y="4563116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70" h="801370">
                <a:moveTo>
                  <a:pt x="400672" y="0"/>
                </a:moveTo>
                <a:lnTo>
                  <a:pt x="353945" y="2695"/>
                </a:lnTo>
                <a:lnTo>
                  <a:pt x="308801" y="10581"/>
                </a:lnTo>
                <a:lnTo>
                  <a:pt x="265542" y="23357"/>
                </a:lnTo>
                <a:lnTo>
                  <a:pt x="224466" y="40722"/>
                </a:lnTo>
                <a:lnTo>
                  <a:pt x="185876" y="62376"/>
                </a:lnTo>
                <a:lnTo>
                  <a:pt x="150072" y="88018"/>
                </a:lnTo>
                <a:lnTo>
                  <a:pt x="117354" y="117348"/>
                </a:lnTo>
                <a:lnTo>
                  <a:pt x="88023" y="150064"/>
                </a:lnTo>
                <a:lnTo>
                  <a:pt x="62379" y="185867"/>
                </a:lnTo>
                <a:lnTo>
                  <a:pt x="40724" y="224456"/>
                </a:lnTo>
                <a:lnTo>
                  <a:pt x="23358" y="265531"/>
                </a:lnTo>
                <a:lnTo>
                  <a:pt x="10582" y="308789"/>
                </a:lnTo>
                <a:lnTo>
                  <a:pt x="2695" y="353933"/>
                </a:lnTo>
                <a:lnTo>
                  <a:pt x="0" y="400659"/>
                </a:lnTo>
                <a:lnTo>
                  <a:pt x="2695" y="447386"/>
                </a:lnTo>
                <a:lnTo>
                  <a:pt x="10582" y="492529"/>
                </a:lnTo>
                <a:lnTo>
                  <a:pt x="23358" y="535789"/>
                </a:lnTo>
                <a:lnTo>
                  <a:pt x="40724" y="576864"/>
                </a:lnTo>
                <a:lnTo>
                  <a:pt x="62379" y="615455"/>
                </a:lnTo>
                <a:lnTo>
                  <a:pt x="88023" y="651259"/>
                </a:lnTo>
                <a:lnTo>
                  <a:pt x="117354" y="683977"/>
                </a:lnTo>
                <a:lnTo>
                  <a:pt x="150072" y="713308"/>
                </a:lnTo>
                <a:lnTo>
                  <a:pt x="185876" y="738951"/>
                </a:lnTo>
                <a:lnTo>
                  <a:pt x="224466" y="760607"/>
                </a:lnTo>
                <a:lnTo>
                  <a:pt x="265542" y="777973"/>
                </a:lnTo>
                <a:lnTo>
                  <a:pt x="308801" y="790749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49"/>
                </a:lnTo>
                <a:lnTo>
                  <a:pt x="535802" y="777973"/>
                </a:lnTo>
                <a:lnTo>
                  <a:pt x="576877" y="760607"/>
                </a:lnTo>
                <a:lnTo>
                  <a:pt x="615467" y="738951"/>
                </a:lnTo>
                <a:lnTo>
                  <a:pt x="651272" y="713308"/>
                </a:lnTo>
                <a:lnTo>
                  <a:pt x="683990" y="683977"/>
                </a:lnTo>
                <a:lnTo>
                  <a:pt x="713321" y="651259"/>
                </a:lnTo>
                <a:lnTo>
                  <a:pt x="738964" y="615455"/>
                </a:lnTo>
                <a:lnTo>
                  <a:pt x="760619" y="576864"/>
                </a:lnTo>
                <a:lnTo>
                  <a:pt x="777985" y="535789"/>
                </a:lnTo>
                <a:lnTo>
                  <a:pt x="790762" y="492529"/>
                </a:lnTo>
                <a:lnTo>
                  <a:pt x="798648" y="447386"/>
                </a:lnTo>
                <a:lnTo>
                  <a:pt x="801344" y="400659"/>
                </a:lnTo>
                <a:lnTo>
                  <a:pt x="798648" y="353933"/>
                </a:lnTo>
                <a:lnTo>
                  <a:pt x="790762" y="308789"/>
                </a:lnTo>
                <a:lnTo>
                  <a:pt x="777985" y="265531"/>
                </a:lnTo>
                <a:lnTo>
                  <a:pt x="760619" y="224456"/>
                </a:lnTo>
                <a:lnTo>
                  <a:pt x="738964" y="185867"/>
                </a:lnTo>
                <a:lnTo>
                  <a:pt x="713321" y="150064"/>
                </a:lnTo>
                <a:lnTo>
                  <a:pt x="683990" y="117348"/>
                </a:lnTo>
                <a:lnTo>
                  <a:pt x="651272" y="88018"/>
                </a:lnTo>
                <a:lnTo>
                  <a:pt x="615467" y="62376"/>
                </a:lnTo>
                <a:lnTo>
                  <a:pt x="576877" y="40722"/>
                </a:lnTo>
                <a:lnTo>
                  <a:pt x="535802" y="23357"/>
                </a:lnTo>
                <a:lnTo>
                  <a:pt x="492542" y="10581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14">
            <a:extLst>
              <a:ext uri="{FF2B5EF4-FFF2-40B4-BE49-F238E27FC236}">
                <a16:creationId xmlns:a16="http://schemas.microsoft.com/office/drawing/2014/main" id="{8F872847-C3B1-760C-F4AC-93DE0329412F}"/>
              </a:ext>
            </a:extLst>
          </p:cNvPr>
          <p:cNvSpPr/>
          <p:nvPr userDrawn="1"/>
        </p:nvSpPr>
        <p:spPr>
          <a:xfrm>
            <a:off x="1216272" y="5587712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15">
            <a:extLst>
              <a:ext uri="{FF2B5EF4-FFF2-40B4-BE49-F238E27FC236}">
                <a16:creationId xmlns:a16="http://schemas.microsoft.com/office/drawing/2014/main" id="{53AA02F4-3E33-4C39-33D6-76AA82402885}"/>
              </a:ext>
            </a:extLst>
          </p:cNvPr>
          <p:cNvSpPr/>
          <p:nvPr userDrawn="1"/>
        </p:nvSpPr>
        <p:spPr>
          <a:xfrm>
            <a:off x="1412140" y="6469124"/>
            <a:ext cx="726683" cy="386373"/>
          </a:xfrm>
          <a:custGeom>
            <a:avLst/>
            <a:gdLst/>
            <a:ahLst/>
            <a:cxnLst/>
            <a:rect l="l" t="t" r="r" b="b"/>
            <a:pathLst>
              <a:path w="801369" h="426084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1461" y="425998"/>
                </a:lnTo>
                <a:lnTo>
                  <a:pt x="799883" y="4259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6424BFED-D43D-B183-B5D0-83BFB42B63F4}"/>
              </a:ext>
            </a:extLst>
          </p:cNvPr>
          <p:cNvSpPr/>
          <p:nvPr userDrawn="1"/>
        </p:nvSpPr>
        <p:spPr>
          <a:xfrm>
            <a:off x="6266493" y="1757951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323976F1-F0C5-8B3E-79EC-251D18A92F44}"/>
              </a:ext>
            </a:extLst>
          </p:cNvPr>
          <p:cNvSpPr/>
          <p:nvPr userDrawn="1"/>
        </p:nvSpPr>
        <p:spPr>
          <a:xfrm>
            <a:off x="5464115" y="1757951"/>
            <a:ext cx="461393" cy="46139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14">
            <a:extLst>
              <a:ext uri="{FF2B5EF4-FFF2-40B4-BE49-F238E27FC236}">
                <a16:creationId xmlns:a16="http://schemas.microsoft.com/office/drawing/2014/main" id="{85B9E685-8F26-653C-637B-4560BD554CAC}"/>
              </a:ext>
            </a:extLst>
          </p:cNvPr>
          <p:cNvSpPr/>
          <p:nvPr userDrawn="1"/>
        </p:nvSpPr>
        <p:spPr>
          <a:xfrm>
            <a:off x="11179577" y="5951053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DD70F8A-7EFD-5D5B-1E28-80954C36380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-675252" y="3608859"/>
            <a:ext cx="2541584" cy="2507461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A716E89-11E9-0EE9-B918-701C3474FC65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397941" y="157862"/>
            <a:ext cx="3133347" cy="30912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E0D997F-9BA9-D907-D51C-98EE52536447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7165783" y="337721"/>
            <a:ext cx="3133347" cy="30912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06699D40-1F2D-3294-96EC-2A152766E695}"/>
              </a:ext>
            </a:extLst>
          </p:cNvPr>
          <p:cNvSpPr>
            <a:spLocks noGrp="1"/>
          </p:cNvSpPr>
          <p:nvPr>
            <p:ph type="pic" idx="18"/>
          </p:nvPr>
        </p:nvSpPr>
        <p:spPr>
          <a:xfrm>
            <a:off x="2610263" y="2722475"/>
            <a:ext cx="4695781" cy="463273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253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E88070B-C0E0-2DFA-FBCE-FF205B25449F}"/>
              </a:ext>
            </a:extLst>
          </p:cNvPr>
          <p:cNvSpPr/>
          <p:nvPr userDrawn="1"/>
        </p:nvSpPr>
        <p:spPr>
          <a:xfrm>
            <a:off x="0" y="0"/>
            <a:ext cx="12192000" cy="561109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CF4C07C6-A816-4189-5ED3-13CBBC6455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6394" y="378791"/>
            <a:ext cx="721415" cy="783392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6CD29F-DD6E-7A48-CCD6-9C62556861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6079" y="1619251"/>
            <a:ext cx="5201227" cy="3732068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B92D793-C5B9-290F-8A51-998397F1596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11200" y="1606551"/>
            <a:ext cx="5201227" cy="3732068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C7F4CD7D-090D-B5A3-2A3F-E7DFD0B4E5CE}"/>
              </a:ext>
            </a:extLst>
          </p:cNvPr>
          <p:cNvSpPr txBox="1">
            <a:spLocks/>
          </p:cNvSpPr>
          <p:nvPr userDrawn="1"/>
        </p:nvSpPr>
        <p:spPr>
          <a:xfrm>
            <a:off x="760073" y="365125"/>
            <a:ext cx="1069491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bg2"/>
                </a:solidFill>
                <a:latin typeface="Quicksand" pitchFamily="2" charset="0"/>
                <a:ea typeface="+mj-ea"/>
                <a:cs typeface="Quire Sans" panose="020B0502040204020203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edit Master title style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D02AAC-2E9A-297E-5FBA-6A1DB2DEBD44}"/>
              </a:ext>
            </a:extLst>
          </p:cNvPr>
          <p:cNvSpPr/>
          <p:nvPr userDrawn="1"/>
        </p:nvSpPr>
        <p:spPr>
          <a:xfrm>
            <a:off x="0" y="5611091"/>
            <a:ext cx="12192000" cy="12414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00278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592DBB-3127-B9DA-A8ED-74612E741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1680" y="6311900"/>
            <a:ext cx="890016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8301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5602DFDE-91C8-1198-84C9-6B47DF32E1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54"/>
            <a:ext cx="12191999" cy="68599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650ED17-E3D9-4121-6A80-931E191258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0558" y="1589518"/>
            <a:ext cx="6950801" cy="1655762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tx1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450364-A7A7-5137-B495-A7AC34AB67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67888" y="3602038"/>
            <a:ext cx="7034432" cy="112784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2"/>
                </a:solidFill>
                <a:latin typeface="Quicksand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016D5-6D8A-ABCA-3F32-19AB5ECD7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06931" y="334197"/>
            <a:ext cx="6975069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pic>
        <p:nvPicPr>
          <p:cNvPr id="26" name="Picture 25" descr="Logo&#10;&#10;Description automatically generated with low confidence">
            <a:extLst>
              <a:ext uri="{FF2B5EF4-FFF2-40B4-BE49-F238E27FC236}">
                <a16:creationId xmlns:a16="http://schemas.microsoft.com/office/drawing/2014/main" id="{E1FC5BD7-8732-ADEF-9F81-3F0DADD8D5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3115" y="5178055"/>
            <a:ext cx="2299500" cy="1509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001864"/>
      </p:ext>
    </p:extLst>
  </p:cSld>
  <p:clrMapOvr>
    <a:masterClrMapping/>
  </p:clrMapOvr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8709D87-BA1C-72DE-952F-21C692F1E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0100053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Quicksand" pitchFamily="2" charset="0"/>
              </a:defRPr>
            </a:lvl1pPr>
            <a:lvl2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2pPr>
            <a:lvl3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3pPr>
            <a:lvl4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4pPr>
            <a:lvl5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D12CE7DC-3D38-24CE-2865-100D1D0D32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24159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Quicksand" pitchFamily="2" charset="0"/>
              </a:defRPr>
            </a:lvl1pPr>
            <a:lvl2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2pPr>
            <a:lvl3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3pPr>
            <a:lvl4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4pPr>
            <a:lvl5pPr marL="182563" indent="-182563">
              <a:buClr>
                <a:schemeClr val="accent1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D12CE7DC-3D38-24CE-2865-100D1D0D32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7403581"/>
      </p:ext>
    </p:extLst>
  </p:cSld>
  <p:clrMapOvr>
    <a:masterClrMapping/>
  </p:clrMapOvr>
  <p:hf sldNum="0"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Quicksand" pitchFamily="2" charset="0"/>
              </a:defRPr>
            </a:lvl1pPr>
            <a:lvl2pPr>
              <a:defRPr>
                <a:latin typeface="Quicksand" pitchFamily="2" charset="0"/>
              </a:defRPr>
            </a:lvl2pPr>
            <a:lvl3pPr>
              <a:defRPr>
                <a:latin typeface="Quicksand" pitchFamily="2" charset="0"/>
              </a:defRPr>
            </a:lvl3pPr>
            <a:lvl4pPr>
              <a:defRPr>
                <a:latin typeface="Quicksand" pitchFamily="2" charset="0"/>
              </a:defRPr>
            </a:lvl4pPr>
            <a:lvl5pPr>
              <a:defRPr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3ACEF4A-FB42-9808-AD89-22387AFA82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9915826"/>
      </p:ext>
    </p:extLst>
  </p:cSld>
  <p:clrMapOvr>
    <a:masterClrMapping/>
  </p:clrMapOvr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>
            <a:extLst>
              <a:ext uri="{FF2B5EF4-FFF2-40B4-BE49-F238E27FC236}">
                <a16:creationId xmlns:a16="http://schemas.microsoft.com/office/drawing/2014/main" id="{3EBB3160-CA27-C8B6-D23F-CD3FF6DEF018}"/>
              </a:ext>
            </a:extLst>
          </p:cNvPr>
          <p:cNvSpPr/>
          <p:nvPr/>
        </p:nvSpPr>
        <p:spPr>
          <a:xfrm>
            <a:off x="0" y="2304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E5C77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6" name="object 41">
            <a:extLst>
              <a:ext uri="{FF2B5EF4-FFF2-40B4-BE49-F238E27FC236}">
                <a16:creationId xmlns:a16="http://schemas.microsoft.com/office/drawing/2014/main" id="{1F265747-21F4-F8D5-7000-0C7551B15B3B}"/>
              </a:ext>
            </a:extLst>
          </p:cNvPr>
          <p:cNvGrpSpPr/>
          <p:nvPr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7" name="object 42">
              <a:extLst>
                <a:ext uri="{FF2B5EF4-FFF2-40B4-BE49-F238E27FC236}">
                  <a16:creationId xmlns:a16="http://schemas.microsoft.com/office/drawing/2014/main" id="{E1D2DE1E-9BDB-B3F5-F4EF-84B8C6E76140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8" name="object 43">
              <a:extLst>
                <a:ext uri="{FF2B5EF4-FFF2-40B4-BE49-F238E27FC236}">
                  <a16:creationId xmlns:a16="http://schemas.microsoft.com/office/drawing/2014/main" id="{5D372F6C-7566-B498-043D-AF7E960D8B59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9" name="object 44">
              <a:extLst>
                <a:ext uri="{FF2B5EF4-FFF2-40B4-BE49-F238E27FC236}">
                  <a16:creationId xmlns:a16="http://schemas.microsoft.com/office/drawing/2014/main" id="{1E0FB701-E23F-08F2-0FF8-429E562EFBA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0" name="bg object 22">
            <a:extLst>
              <a:ext uri="{FF2B5EF4-FFF2-40B4-BE49-F238E27FC236}">
                <a16:creationId xmlns:a16="http://schemas.microsoft.com/office/drawing/2014/main" id="{E49E1922-67A9-AF82-FCD4-D491460A739C}"/>
              </a:ext>
            </a:extLst>
          </p:cNvPr>
          <p:cNvSpPr/>
          <p:nvPr/>
        </p:nvSpPr>
        <p:spPr>
          <a:xfrm>
            <a:off x="7798070" y="0"/>
            <a:ext cx="4398117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>
              <a:alpha val="25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1179DA6-2F44-5B6F-989D-DAE932BB98EB}"/>
              </a:ext>
            </a:extLst>
          </p:cNvPr>
          <p:cNvGrpSpPr/>
          <p:nvPr/>
        </p:nvGrpSpPr>
        <p:grpSpPr>
          <a:xfrm>
            <a:off x="0" y="4184585"/>
            <a:ext cx="2767043" cy="2671139"/>
            <a:chOff x="0" y="4184585"/>
            <a:chExt cx="2767043" cy="2671139"/>
          </a:xfrm>
        </p:grpSpPr>
        <p:sp>
          <p:nvSpPr>
            <p:cNvPr id="12" name="bg object 23">
              <a:extLst>
                <a:ext uri="{FF2B5EF4-FFF2-40B4-BE49-F238E27FC236}">
                  <a16:creationId xmlns:a16="http://schemas.microsoft.com/office/drawing/2014/main" id="{012FF536-9F0D-1AF8-B975-16A4030FE206}"/>
                </a:ext>
              </a:extLst>
            </p:cNvPr>
            <p:cNvSpPr/>
            <p:nvPr/>
          </p:nvSpPr>
          <p:spPr>
            <a:xfrm>
              <a:off x="112905" y="6434855"/>
              <a:ext cx="625748" cy="229752"/>
            </a:xfrm>
            <a:custGeom>
              <a:avLst/>
              <a:gdLst/>
              <a:ahLst/>
              <a:cxnLst/>
              <a:rect l="l" t="t" r="r" b="b"/>
              <a:pathLst>
                <a:path w="688975" h="253365">
                  <a:moveTo>
                    <a:pt x="562178" y="0"/>
                  </a:moveTo>
                  <a:lnTo>
                    <a:pt x="126657" y="0"/>
                  </a:lnTo>
                  <a:lnTo>
                    <a:pt x="77340" y="9955"/>
                  </a:lnTo>
                  <a:lnTo>
                    <a:pt x="37082" y="37104"/>
                  </a:lnTo>
                  <a:lnTo>
                    <a:pt x="9947" y="77372"/>
                  </a:lnTo>
                  <a:lnTo>
                    <a:pt x="0" y="126682"/>
                  </a:lnTo>
                  <a:lnTo>
                    <a:pt x="9947" y="175992"/>
                  </a:lnTo>
                  <a:lnTo>
                    <a:pt x="37082" y="216260"/>
                  </a:lnTo>
                  <a:lnTo>
                    <a:pt x="77340" y="243409"/>
                  </a:lnTo>
                  <a:lnTo>
                    <a:pt x="126657" y="253365"/>
                  </a:lnTo>
                  <a:lnTo>
                    <a:pt x="562178" y="253365"/>
                  </a:lnTo>
                  <a:lnTo>
                    <a:pt x="611495" y="243409"/>
                  </a:lnTo>
                  <a:lnTo>
                    <a:pt x="651752" y="216260"/>
                  </a:lnTo>
                  <a:lnTo>
                    <a:pt x="678887" y="175992"/>
                  </a:lnTo>
                  <a:lnTo>
                    <a:pt x="688835" y="126682"/>
                  </a:lnTo>
                  <a:lnTo>
                    <a:pt x="678887" y="77372"/>
                  </a:lnTo>
                  <a:lnTo>
                    <a:pt x="651752" y="37104"/>
                  </a:lnTo>
                  <a:lnTo>
                    <a:pt x="611495" y="9955"/>
                  </a:lnTo>
                  <a:lnTo>
                    <a:pt x="56217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bg object 24">
              <a:extLst>
                <a:ext uri="{FF2B5EF4-FFF2-40B4-BE49-F238E27FC236}">
                  <a16:creationId xmlns:a16="http://schemas.microsoft.com/office/drawing/2014/main" id="{DC9193E7-CBF6-B6CC-E025-5DABC39F5ECA}"/>
                </a:ext>
              </a:extLst>
            </p:cNvPr>
            <p:cNvSpPr/>
            <p:nvPr/>
          </p:nvSpPr>
          <p:spPr>
            <a:xfrm>
              <a:off x="859747" y="5805431"/>
              <a:ext cx="827026" cy="1050293"/>
            </a:xfrm>
            <a:custGeom>
              <a:avLst/>
              <a:gdLst/>
              <a:ahLst/>
              <a:cxnLst/>
              <a:rect l="l" t="t" r="r" b="b"/>
              <a:pathLst>
                <a:path w="910589" h="1158240">
                  <a:moveTo>
                    <a:pt x="291990" y="0"/>
                  </a:moveTo>
                  <a:lnTo>
                    <a:pt x="246330" y="10089"/>
                  </a:lnTo>
                  <a:lnTo>
                    <a:pt x="204131" y="31774"/>
                  </a:lnTo>
                  <a:lnTo>
                    <a:pt x="167817" y="64816"/>
                  </a:lnTo>
                  <a:lnTo>
                    <a:pt x="141493" y="106257"/>
                  </a:lnTo>
                  <a:lnTo>
                    <a:pt x="127449" y="151637"/>
                  </a:lnTo>
                  <a:lnTo>
                    <a:pt x="125461" y="198494"/>
                  </a:lnTo>
                  <a:lnTo>
                    <a:pt x="135309" y="244368"/>
                  </a:lnTo>
                  <a:lnTo>
                    <a:pt x="156770" y="286798"/>
                  </a:lnTo>
                  <a:lnTo>
                    <a:pt x="189623" y="323324"/>
                  </a:lnTo>
                  <a:lnTo>
                    <a:pt x="197954" y="330740"/>
                  </a:lnTo>
                  <a:lnTo>
                    <a:pt x="215065" y="347032"/>
                  </a:lnTo>
                  <a:lnTo>
                    <a:pt x="269445" y="405507"/>
                  </a:lnTo>
                  <a:lnTo>
                    <a:pt x="303623" y="447320"/>
                  </a:lnTo>
                  <a:lnTo>
                    <a:pt x="340399" y="497272"/>
                  </a:lnTo>
                  <a:lnTo>
                    <a:pt x="378225" y="555177"/>
                  </a:lnTo>
                  <a:lnTo>
                    <a:pt x="415557" y="620853"/>
                  </a:lnTo>
                  <a:lnTo>
                    <a:pt x="450850" y="694113"/>
                  </a:lnTo>
                  <a:lnTo>
                    <a:pt x="126657" y="694113"/>
                  </a:lnTo>
                  <a:lnTo>
                    <a:pt x="77340" y="704069"/>
                  </a:lnTo>
                  <a:lnTo>
                    <a:pt x="37082" y="731218"/>
                  </a:lnTo>
                  <a:lnTo>
                    <a:pt x="9947" y="771485"/>
                  </a:lnTo>
                  <a:lnTo>
                    <a:pt x="0" y="820796"/>
                  </a:lnTo>
                  <a:lnTo>
                    <a:pt x="9947" y="870106"/>
                  </a:lnTo>
                  <a:lnTo>
                    <a:pt x="37082" y="910374"/>
                  </a:lnTo>
                  <a:lnTo>
                    <a:pt x="77340" y="937523"/>
                  </a:lnTo>
                  <a:lnTo>
                    <a:pt x="126657" y="947478"/>
                  </a:lnTo>
                  <a:lnTo>
                    <a:pt x="527037" y="947478"/>
                  </a:lnTo>
                  <a:lnTo>
                    <a:pt x="534042" y="994520"/>
                  </a:lnTo>
                  <a:lnTo>
                    <a:pt x="539062" y="1043080"/>
                  </a:lnTo>
                  <a:lnTo>
                    <a:pt x="541939" y="1093149"/>
                  </a:lnTo>
                  <a:lnTo>
                    <a:pt x="542511" y="1144718"/>
                  </a:lnTo>
                  <a:lnTo>
                    <a:pt x="542041" y="1157905"/>
                  </a:lnTo>
                  <a:lnTo>
                    <a:pt x="910242" y="1157905"/>
                  </a:lnTo>
                  <a:lnTo>
                    <a:pt x="909792" y="1082442"/>
                  </a:lnTo>
                  <a:lnTo>
                    <a:pt x="905768" y="1011691"/>
                  </a:lnTo>
                  <a:lnTo>
                    <a:pt x="898533" y="943192"/>
                  </a:lnTo>
                  <a:lnTo>
                    <a:pt x="888342" y="876971"/>
                  </a:lnTo>
                  <a:lnTo>
                    <a:pt x="875454" y="813056"/>
                  </a:lnTo>
                  <a:lnTo>
                    <a:pt x="860125" y="751473"/>
                  </a:lnTo>
                  <a:lnTo>
                    <a:pt x="842612" y="692250"/>
                  </a:lnTo>
                  <a:lnTo>
                    <a:pt x="823173" y="635413"/>
                  </a:lnTo>
                  <a:lnTo>
                    <a:pt x="802063" y="580991"/>
                  </a:lnTo>
                  <a:lnTo>
                    <a:pt x="779541" y="529010"/>
                  </a:lnTo>
                  <a:lnTo>
                    <a:pt x="755862" y="479497"/>
                  </a:lnTo>
                  <a:lnTo>
                    <a:pt x="731285" y="432480"/>
                  </a:lnTo>
                  <a:lnTo>
                    <a:pt x="706066" y="387985"/>
                  </a:lnTo>
                  <a:lnTo>
                    <a:pt x="680461" y="346039"/>
                  </a:lnTo>
                  <a:lnTo>
                    <a:pt x="654729" y="306670"/>
                  </a:lnTo>
                  <a:lnTo>
                    <a:pt x="629126" y="269906"/>
                  </a:lnTo>
                  <a:lnTo>
                    <a:pt x="603908" y="235772"/>
                  </a:lnTo>
                  <a:lnTo>
                    <a:pt x="579334" y="204296"/>
                  </a:lnTo>
                  <a:lnTo>
                    <a:pt x="533142" y="149427"/>
                  </a:lnTo>
                  <a:lnTo>
                    <a:pt x="492605" y="105516"/>
                  </a:lnTo>
                  <a:lnTo>
                    <a:pt x="459780" y="72781"/>
                  </a:lnTo>
                  <a:lnTo>
                    <a:pt x="425488" y="41702"/>
                  </a:lnTo>
                  <a:lnTo>
                    <a:pt x="383993" y="15566"/>
                  </a:lnTo>
                  <a:lnTo>
                    <a:pt x="338686" y="1745"/>
                  </a:lnTo>
                  <a:lnTo>
                    <a:pt x="29199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bg object 25">
              <a:extLst>
                <a:ext uri="{FF2B5EF4-FFF2-40B4-BE49-F238E27FC236}">
                  <a16:creationId xmlns:a16="http://schemas.microsoft.com/office/drawing/2014/main" id="{C1499BA4-E8C7-3B13-EB73-D7E5A024F6F1}"/>
                </a:ext>
              </a:extLst>
            </p:cNvPr>
            <p:cNvSpPr/>
            <p:nvPr/>
          </p:nvSpPr>
          <p:spPr>
            <a:xfrm>
              <a:off x="465830" y="5649760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bg object 26">
              <a:extLst>
                <a:ext uri="{FF2B5EF4-FFF2-40B4-BE49-F238E27FC236}">
                  <a16:creationId xmlns:a16="http://schemas.microsoft.com/office/drawing/2014/main" id="{BAF2F270-F520-5256-1A13-88753B966785}"/>
                </a:ext>
              </a:extLst>
            </p:cNvPr>
            <p:cNvSpPr/>
            <p:nvPr/>
          </p:nvSpPr>
          <p:spPr>
            <a:xfrm>
              <a:off x="1538145" y="5485645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09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bg object 27">
              <a:extLst>
                <a:ext uri="{FF2B5EF4-FFF2-40B4-BE49-F238E27FC236}">
                  <a16:creationId xmlns:a16="http://schemas.microsoft.com/office/drawing/2014/main" id="{8680BA9C-5F31-C21D-A980-22CC149FCB08}"/>
                </a:ext>
              </a:extLst>
            </p:cNvPr>
            <p:cNvSpPr/>
            <p:nvPr/>
          </p:nvSpPr>
          <p:spPr>
            <a:xfrm>
              <a:off x="1413231" y="4884901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10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bg object 28">
              <a:extLst>
                <a:ext uri="{FF2B5EF4-FFF2-40B4-BE49-F238E27FC236}">
                  <a16:creationId xmlns:a16="http://schemas.microsoft.com/office/drawing/2014/main" id="{764DA62F-52BC-833A-C4DD-A842EB4C2F92}"/>
                </a:ext>
              </a:extLst>
            </p:cNvPr>
            <p:cNvSpPr/>
            <p:nvPr/>
          </p:nvSpPr>
          <p:spPr>
            <a:xfrm>
              <a:off x="745586" y="5027755"/>
              <a:ext cx="416397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bg object 29">
              <a:extLst>
                <a:ext uri="{FF2B5EF4-FFF2-40B4-BE49-F238E27FC236}">
                  <a16:creationId xmlns:a16="http://schemas.microsoft.com/office/drawing/2014/main" id="{3E3A813A-BC09-90A1-0126-A506AD1F20D3}"/>
                </a:ext>
              </a:extLst>
            </p:cNvPr>
            <p:cNvSpPr/>
            <p:nvPr/>
          </p:nvSpPr>
          <p:spPr>
            <a:xfrm>
              <a:off x="2123992" y="5971316"/>
              <a:ext cx="643051" cy="652403"/>
            </a:xfrm>
            <a:custGeom>
              <a:avLst/>
              <a:gdLst/>
              <a:ahLst/>
              <a:cxnLst/>
              <a:rect l="l" t="t" r="r" b="b"/>
              <a:pathLst>
                <a:path w="708025" h="719454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103654" y="613962"/>
                  </a:lnTo>
                  <a:lnTo>
                    <a:pt x="137641" y="644364"/>
                  </a:lnTo>
                  <a:lnTo>
                    <a:pt x="175278" y="670199"/>
                  </a:lnTo>
                  <a:lnTo>
                    <a:pt x="216144" y="691039"/>
                  </a:lnTo>
                  <a:lnTo>
                    <a:pt x="259817" y="706455"/>
                  </a:lnTo>
                  <a:lnTo>
                    <a:pt x="305876" y="716019"/>
                  </a:lnTo>
                  <a:lnTo>
                    <a:pt x="353898" y="719302"/>
                  </a:lnTo>
                  <a:lnTo>
                    <a:pt x="401920" y="716019"/>
                  </a:lnTo>
                  <a:lnTo>
                    <a:pt x="447978" y="706455"/>
                  </a:lnTo>
                  <a:lnTo>
                    <a:pt x="491651" y="691039"/>
                  </a:lnTo>
                  <a:lnTo>
                    <a:pt x="532517" y="670199"/>
                  </a:lnTo>
                  <a:lnTo>
                    <a:pt x="570155" y="644364"/>
                  </a:lnTo>
                  <a:lnTo>
                    <a:pt x="604142" y="613962"/>
                  </a:lnTo>
                  <a:lnTo>
                    <a:pt x="634057" y="579422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bg object 30">
              <a:extLst>
                <a:ext uri="{FF2B5EF4-FFF2-40B4-BE49-F238E27FC236}">
                  <a16:creationId xmlns:a16="http://schemas.microsoft.com/office/drawing/2014/main" id="{D80260F0-006F-80ED-A187-F278F9CDEA7B}"/>
                </a:ext>
              </a:extLst>
            </p:cNvPr>
            <p:cNvSpPr/>
            <p:nvPr/>
          </p:nvSpPr>
          <p:spPr>
            <a:xfrm>
              <a:off x="528270" y="4184585"/>
              <a:ext cx="536933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5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5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bg object 31">
              <a:extLst>
                <a:ext uri="{FF2B5EF4-FFF2-40B4-BE49-F238E27FC236}">
                  <a16:creationId xmlns:a16="http://schemas.microsoft.com/office/drawing/2014/main" id="{E23A1099-90BC-41AF-13CD-F62E1BE0DB67}"/>
                </a:ext>
              </a:extLst>
            </p:cNvPr>
            <p:cNvSpPr/>
            <p:nvPr/>
          </p:nvSpPr>
          <p:spPr>
            <a:xfrm>
              <a:off x="0" y="4190048"/>
              <a:ext cx="326428" cy="1775824"/>
            </a:xfrm>
            <a:custGeom>
              <a:avLst/>
              <a:gdLst/>
              <a:ahLst/>
              <a:cxnLst/>
              <a:rect l="l" t="t" r="r" b="b"/>
              <a:pathLst>
                <a:path w="359410" h="1958340">
                  <a:moveTo>
                    <a:pt x="0" y="0"/>
                  </a:moveTo>
                  <a:lnTo>
                    <a:pt x="0" y="1957935"/>
                  </a:lnTo>
                  <a:lnTo>
                    <a:pt x="27343" y="1918542"/>
                  </a:lnTo>
                  <a:lnTo>
                    <a:pt x="53873" y="1878921"/>
                  </a:lnTo>
                  <a:lnTo>
                    <a:pt x="79503" y="1839152"/>
                  </a:lnTo>
                  <a:lnTo>
                    <a:pt x="104202" y="1799230"/>
                  </a:lnTo>
                  <a:lnTo>
                    <a:pt x="127941" y="1759153"/>
                  </a:lnTo>
                  <a:lnTo>
                    <a:pt x="150691" y="1718918"/>
                  </a:lnTo>
                  <a:lnTo>
                    <a:pt x="172420" y="1678522"/>
                  </a:lnTo>
                  <a:lnTo>
                    <a:pt x="193101" y="1637961"/>
                  </a:lnTo>
                  <a:lnTo>
                    <a:pt x="212701" y="1597233"/>
                  </a:lnTo>
                  <a:lnTo>
                    <a:pt x="231193" y="1556334"/>
                  </a:lnTo>
                  <a:lnTo>
                    <a:pt x="248546" y="1515262"/>
                  </a:lnTo>
                  <a:lnTo>
                    <a:pt x="264730" y="1474013"/>
                  </a:lnTo>
                  <a:lnTo>
                    <a:pt x="279716" y="1432583"/>
                  </a:lnTo>
                  <a:lnTo>
                    <a:pt x="293473" y="1390971"/>
                  </a:lnTo>
                  <a:lnTo>
                    <a:pt x="305972" y="1349173"/>
                  </a:lnTo>
                  <a:lnTo>
                    <a:pt x="317182" y="1307186"/>
                  </a:lnTo>
                  <a:lnTo>
                    <a:pt x="327075" y="1265006"/>
                  </a:lnTo>
                  <a:lnTo>
                    <a:pt x="335620" y="1222631"/>
                  </a:lnTo>
                  <a:lnTo>
                    <a:pt x="342788" y="1180057"/>
                  </a:lnTo>
                  <a:lnTo>
                    <a:pt x="348549" y="1137282"/>
                  </a:lnTo>
                  <a:lnTo>
                    <a:pt x="355702" y="1059942"/>
                  </a:lnTo>
                  <a:lnTo>
                    <a:pt x="358873" y="984771"/>
                  </a:lnTo>
                  <a:lnTo>
                    <a:pt x="358318" y="911798"/>
                  </a:lnTo>
                  <a:lnTo>
                    <a:pt x="354295" y="841048"/>
                  </a:lnTo>
                  <a:lnTo>
                    <a:pt x="347060" y="772550"/>
                  </a:lnTo>
                  <a:lnTo>
                    <a:pt x="336870" y="706330"/>
                  </a:lnTo>
                  <a:lnTo>
                    <a:pt x="323983" y="642415"/>
                  </a:lnTo>
                  <a:lnTo>
                    <a:pt x="308655" y="580833"/>
                  </a:lnTo>
                  <a:lnTo>
                    <a:pt x="291143" y="521610"/>
                  </a:lnTo>
                  <a:lnTo>
                    <a:pt x="271705" y="464775"/>
                  </a:lnTo>
                  <a:lnTo>
                    <a:pt x="250596" y="410353"/>
                  </a:lnTo>
                  <a:lnTo>
                    <a:pt x="228075" y="358372"/>
                  </a:lnTo>
                  <a:lnTo>
                    <a:pt x="204398" y="308860"/>
                  </a:lnTo>
                  <a:lnTo>
                    <a:pt x="179822" y="261843"/>
                  </a:lnTo>
                  <a:lnTo>
                    <a:pt x="154604" y="217348"/>
                  </a:lnTo>
                  <a:lnTo>
                    <a:pt x="129001" y="175403"/>
                  </a:lnTo>
                  <a:lnTo>
                    <a:pt x="103270" y="136034"/>
                  </a:lnTo>
                  <a:lnTo>
                    <a:pt x="77668" y="99270"/>
                  </a:lnTo>
                  <a:lnTo>
                    <a:pt x="52451" y="65136"/>
                  </a:lnTo>
                  <a:lnTo>
                    <a:pt x="27878" y="336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70901D-0772-6483-D106-1C6C5F3B0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696" y="6114954"/>
            <a:ext cx="887821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653" y="365125"/>
            <a:ext cx="8547587" cy="1325563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652" y="1825625"/>
            <a:ext cx="8547587" cy="3772535"/>
          </a:xfrm>
        </p:spPr>
        <p:txBody>
          <a:bodyPr>
            <a:normAutofit/>
          </a:bodyPr>
          <a:lstStyle>
            <a:lvl1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2pPr>
            <a:lvl3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3pPr>
            <a:lvl4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4pPr>
            <a:lvl5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22" name="Picture 21" descr="A picture containing text&#10;&#10;Description automatically generated">
            <a:extLst>
              <a:ext uri="{FF2B5EF4-FFF2-40B4-BE49-F238E27FC236}">
                <a16:creationId xmlns:a16="http://schemas.microsoft.com/office/drawing/2014/main" id="{2FB7BBB5-8E7B-2C74-9A01-95D1F0F194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21" name="object 2">
            <a:extLst>
              <a:ext uri="{FF2B5EF4-FFF2-40B4-BE49-F238E27FC236}">
                <a16:creationId xmlns:a16="http://schemas.microsoft.com/office/drawing/2014/main" id="{E052E53D-0FAA-FEBF-57A5-5682EE4AA4F7}"/>
              </a:ext>
            </a:extLst>
          </p:cNvPr>
          <p:cNvSpPr/>
          <p:nvPr userDrawn="1"/>
        </p:nvSpPr>
        <p:spPr>
          <a:xfrm>
            <a:off x="0" y="2304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E5C77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3" name="object 41">
            <a:extLst>
              <a:ext uri="{FF2B5EF4-FFF2-40B4-BE49-F238E27FC236}">
                <a16:creationId xmlns:a16="http://schemas.microsoft.com/office/drawing/2014/main" id="{577159C1-A7C2-0C2A-D32E-5631231CC35C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24" name="object 42">
              <a:extLst>
                <a:ext uri="{FF2B5EF4-FFF2-40B4-BE49-F238E27FC236}">
                  <a16:creationId xmlns:a16="http://schemas.microsoft.com/office/drawing/2014/main" id="{B43048FC-20FF-CA95-4B0D-D4CB9E0335B9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25" name="object 43">
              <a:extLst>
                <a:ext uri="{FF2B5EF4-FFF2-40B4-BE49-F238E27FC236}">
                  <a16:creationId xmlns:a16="http://schemas.microsoft.com/office/drawing/2014/main" id="{1B7E86F5-3446-0A34-266C-3597003BA58E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26" name="object 44">
              <a:extLst>
                <a:ext uri="{FF2B5EF4-FFF2-40B4-BE49-F238E27FC236}">
                  <a16:creationId xmlns:a16="http://schemas.microsoft.com/office/drawing/2014/main" id="{735B48C4-B84B-F20D-0ABA-40DB55A2BA8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27" name="bg object 22">
            <a:extLst>
              <a:ext uri="{FF2B5EF4-FFF2-40B4-BE49-F238E27FC236}">
                <a16:creationId xmlns:a16="http://schemas.microsoft.com/office/drawing/2014/main" id="{CE2AE232-44A4-345D-735A-FC795693B249}"/>
              </a:ext>
            </a:extLst>
          </p:cNvPr>
          <p:cNvSpPr/>
          <p:nvPr userDrawn="1"/>
        </p:nvSpPr>
        <p:spPr>
          <a:xfrm>
            <a:off x="7798070" y="0"/>
            <a:ext cx="4398117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>
              <a:alpha val="25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B5AAA04-E496-78A6-80B5-3EAEA6E32D9A}"/>
              </a:ext>
            </a:extLst>
          </p:cNvPr>
          <p:cNvGrpSpPr/>
          <p:nvPr userDrawn="1"/>
        </p:nvGrpSpPr>
        <p:grpSpPr>
          <a:xfrm>
            <a:off x="0" y="4184585"/>
            <a:ext cx="2767043" cy="2671139"/>
            <a:chOff x="0" y="4184585"/>
            <a:chExt cx="2767043" cy="2671139"/>
          </a:xfrm>
        </p:grpSpPr>
        <p:sp>
          <p:nvSpPr>
            <p:cNvPr id="29" name="bg object 23">
              <a:extLst>
                <a:ext uri="{FF2B5EF4-FFF2-40B4-BE49-F238E27FC236}">
                  <a16:creationId xmlns:a16="http://schemas.microsoft.com/office/drawing/2014/main" id="{737F7B2A-59FC-A758-AC94-69B4581E31BD}"/>
                </a:ext>
              </a:extLst>
            </p:cNvPr>
            <p:cNvSpPr/>
            <p:nvPr/>
          </p:nvSpPr>
          <p:spPr>
            <a:xfrm>
              <a:off x="112905" y="6434855"/>
              <a:ext cx="625748" cy="229752"/>
            </a:xfrm>
            <a:custGeom>
              <a:avLst/>
              <a:gdLst/>
              <a:ahLst/>
              <a:cxnLst/>
              <a:rect l="l" t="t" r="r" b="b"/>
              <a:pathLst>
                <a:path w="688975" h="253365">
                  <a:moveTo>
                    <a:pt x="562178" y="0"/>
                  </a:moveTo>
                  <a:lnTo>
                    <a:pt x="126657" y="0"/>
                  </a:lnTo>
                  <a:lnTo>
                    <a:pt x="77340" y="9955"/>
                  </a:lnTo>
                  <a:lnTo>
                    <a:pt x="37082" y="37104"/>
                  </a:lnTo>
                  <a:lnTo>
                    <a:pt x="9947" y="77372"/>
                  </a:lnTo>
                  <a:lnTo>
                    <a:pt x="0" y="126682"/>
                  </a:lnTo>
                  <a:lnTo>
                    <a:pt x="9947" y="175992"/>
                  </a:lnTo>
                  <a:lnTo>
                    <a:pt x="37082" y="216260"/>
                  </a:lnTo>
                  <a:lnTo>
                    <a:pt x="77340" y="243409"/>
                  </a:lnTo>
                  <a:lnTo>
                    <a:pt x="126657" y="253365"/>
                  </a:lnTo>
                  <a:lnTo>
                    <a:pt x="562178" y="253365"/>
                  </a:lnTo>
                  <a:lnTo>
                    <a:pt x="611495" y="243409"/>
                  </a:lnTo>
                  <a:lnTo>
                    <a:pt x="651752" y="216260"/>
                  </a:lnTo>
                  <a:lnTo>
                    <a:pt x="678887" y="175992"/>
                  </a:lnTo>
                  <a:lnTo>
                    <a:pt x="688835" y="126682"/>
                  </a:lnTo>
                  <a:lnTo>
                    <a:pt x="678887" y="77372"/>
                  </a:lnTo>
                  <a:lnTo>
                    <a:pt x="651752" y="37104"/>
                  </a:lnTo>
                  <a:lnTo>
                    <a:pt x="611495" y="9955"/>
                  </a:lnTo>
                  <a:lnTo>
                    <a:pt x="56217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bg object 24">
              <a:extLst>
                <a:ext uri="{FF2B5EF4-FFF2-40B4-BE49-F238E27FC236}">
                  <a16:creationId xmlns:a16="http://schemas.microsoft.com/office/drawing/2014/main" id="{8A6AA9BE-D0E8-C426-C1F0-263F5F2C3190}"/>
                </a:ext>
              </a:extLst>
            </p:cNvPr>
            <p:cNvSpPr/>
            <p:nvPr/>
          </p:nvSpPr>
          <p:spPr>
            <a:xfrm>
              <a:off x="859747" y="5805431"/>
              <a:ext cx="827026" cy="1050293"/>
            </a:xfrm>
            <a:custGeom>
              <a:avLst/>
              <a:gdLst/>
              <a:ahLst/>
              <a:cxnLst/>
              <a:rect l="l" t="t" r="r" b="b"/>
              <a:pathLst>
                <a:path w="910589" h="1158240">
                  <a:moveTo>
                    <a:pt x="291990" y="0"/>
                  </a:moveTo>
                  <a:lnTo>
                    <a:pt x="246330" y="10089"/>
                  </a:lnTo>
                  <a:lnTo>
                    <a:pt x="204131" y="31774"/>
                  </a:lnTo>
                  <a:lnTo>
                    <a:pt x="167817" y="64816"/>
                  </a:lnTo>
                  <a:lnTo>
                    <a:pt x="141493" y="106257"/>
                  </a:lnTo>
                  <a:lnTo>
                    <a:pt x="127449" y="151637"/>
                  </a:lnTo>
                  <a:lnTo>
                    <a:pt x="125461" y="198494"/>
                  </a:lnTo>
                  <a:lnTo>
                    <a:pt x="135309" y="244368"/>
                  </a:lnTo>
                  <a:lnTo>
                    <a:pt x="156770" y="286798"/>
                  </a:lnTo>
                  <a:lnTo>
                    <a:pt x="189623" y="323324"/>
                  </a:lnTo>
                  <a:lnTo>
                    <a:pt x="197954" y="330740"/>
                  </a:lnTo>
                  <a:lnTo>
                    <a:pt x="215065" y="347032"/>
                  </a:lnTo>
                  <a:lnTo>
                    <a:pt x="269445" y="405507"/>
                  </a:lnTo>
                  <a:lnTo>
                    <a:pt x="303623" y="447320"/>
                  </a:lnTo>
                  <a:lnTo>
                    <a:pt x="340399" y="497272"/>
                  </a:lnTo>
                  <a:lnTo>
                    <a:pt x="378225" y="555177"/>
                  </a:lnTo>
                  <a:lnTo>
                    <a:pt x="415557" y="620853"/>
                  </a:lnTo>
                  <a:lnTo>
                    <a:pt x="450850" y="694113"/>
                  </a:lnTo>
                  <a:lnTo>
                    <a:pt x="126657" y="694113"/>
                  </a:lnTo>
                  <a:lnTo>
                    <a:pt x="77340" y="704069"/>
                  </a:lnTo>
                  <a:lnTo>
                    <a:pt x="37082" y="731218"/>
                  </a:lnTo>
                  <a:lnTo>
                    <a:pt x="9947" y="771485"/>
                  </a:lnTo>
                  <a:lnTo>
                    <a:pt x="0" y="820796"/>
                  </a:lnTo>
                  <a:lnTo>
                    <a:pt x="9947" y="870106"/>
                  </a:lnTo>
                  <a:lnTo>
                    <a:pt x="37082" y="910374"/>
                  </a:lnTo>
                  <a:lnTo>
                    <a:pt x="77340" y="937523"/>
                  </a:lnTo>
                  <a:lnTo>
                    <a:pt x="126657" y="947478"/>
                  </a:lnTo>
                  <a:lnTo>
                    <a:pt x="527037" y="947478"/>
                  </a:lnTo>
                  <a:lnTo>
                    <a:pt x="534042" y="994520"/>
                  </a:lnTo>
                  <a:lnTo>
                    <a:pt x="539062" y="1043080"/>
                  </a:lnTo>
                  <a:lnTo>
                    <a:pt x="541939" y="1093149"/>
                  </a:lnTo>
                  <a:lnTo>
                    <a:pt x="542511" y="1144718"/>
                  </a:lnTo>
                  <a:lnTo>
                    <a:pt x="542041" y="1157905"/>
                  </a:lnTo>
                  <a:lnTo>
                    <a:pt x="910242" y="1157905"/>
                  </a:lnTo>
                  <a:lnTo>
                    <a:pt x="909792" y="1082442"/>
                  </a:lnTo>
                  <a:lnTo>
                    <a:pt x="905768" y="1011691"/>
                  </a:lnTo>
                  <a:lnTo>
                    <a:pt x="898533" y="943192"/>
                  </a:lnTo>
                  <a:lnTo>
                    <a:pt x="888342" y="876971"/>
                  </a:lnTo>
                  <a:lnTo>
                    <a:pt x="875454" y="813056"/>
                  </a:lnTo>
                  <a:lnTo>
                    <a:pt x="860125" y="751473"/>
                  </a:lnTo>
                  <a:lnTo>
                    <a:pt x="842612" y="692250"/>
                  </a:lnTo>
                  <a:lnTo>
                    <a:pt x="823173" y="635413"/>
                  </a:lnTo>
                  <a:lnTo>
                    <a:pt x="802063" y="580991"/>
                  </a:lnTo>
                  <a:lnTo>
                    <a:pt x="779541" y="529010"/>
                  </a:lnTo>
                  <a:lnTo>
                    <a:pt x="755862" y="479497"/>
                  </a:lnTo>
                  <a:lnTo>
                    <a:pt x="731285" y="432480"/>
                  </a:lnTo>
                  <a:lnTo>
                    <a:pt x="706066" y="387985"/>
                  </a:lnTo>
                  <a:lnTo>
                    <a:pt x="680461" y="346039"/>
                  </a:lnTo>
                  <a:lnTo>
                    <a:pt x="654729" y="306670"/>
                  </a:lnTo>
                  <a:lnTo>
                    <a:pt x="629126" y="269906"/>
                  </a:lnTo>
                  <a:lnTo>
                    <a:pt x="603908" y="235772"/>
                  </a:lnTo>
                  <a:lnTo>
                    <a:pt x="579334" y="204296"/>
                  </a:lnTo>
                  <a:lnTo>
                    <a:pt x="533142" y="149427"/>
                  </a:lnTo>
                  <a:lnTo>
                    <a:pt x="492605" y="105516"/>
                  </a:lnTo>
                  <a:lnTo>
                    <a:pt x="459780" y="72781"/>
                  </a:lnTo>
                  <a:lnTo>
                    <a:pt x="425488" y="41702"/>
                  </a:lnTo>
                  <a:lnTo>
                    <a:pt x="383993" y="15566"/>
                  </a:lnTo>
                  <a:lnTo>
                    <a:pt x="338686" y="1745"/>
                  </a:lnTo>
                  <a:lnTo>
                    <a:pt x="29199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bg object 25">
              <a:extLst>
                <a:ext uri="{FF2B5EF4-FFF2-40B4-BE49-F238E27FC236}">
                  <a16:creationId xmlns:a16="http://schemas.microsoft.com/office/drawing/2014/main" id="{22672963-D44B-F075-60FC-993589707276}"/>
                </a:ext>
              </a:extLst>
            </p:cNvPr>
            <p:cNvSpPr/>
            <p:nvPr/>
          </p:nvSpPr>
          <p:spPr>
            <a:xfrm>
              <a:off x="465830" y="5649760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bg object 26">
              <a:extLst>
                <a:ext uri="{FF2B5EF4-FFF2-40B4-BE49-F238E27FC236}">
                  <a16:creationId xmlns:a16="http://schemas.microsoft.com/office/drawing/2014/main" id="{14363A18-F090-C976-EC4C-4A2A540111C4}"/>
                </a:ext>
              </a:extLst>
            </p:cNvPr>
            <p:cNvSpPr/>
            <p:nvPr/>
          </p:nvSpPr>
          <p:spPr>
            <a:xfrm>
              <a:off x="1538145" y="5485645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09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bg object 27">
              <a:extLst>
                <a:ext uri="{FF2B5EF4-FFF2-40B4-BE49-F238E27FC236}">
                  <a16:creationId xmlns:a16="http://schemas.microsoft.com/office/drawing/2014/main" id="{2A6CEBA2-4E47-7B9F-7AA1-6789EF409FBF}"/>
                </a:ext>
              </a:extLst>
            </p:cNvPr>
            <p:cNvSpPr/>
            <p:nvPr/>
          </p:nvSpPr>
          <p:spPr>
            <a:xfrm>
              <a:off x="1413231" y="4884901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10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bg object 28">
              <a:extLst>
                <a:ext uri="{FF2B5EF4-FFF2-40B4-BE49-F238E27FC236}">
                  <a16:creationId xmlns:a16="http://schemas.microsoft.com/office/drawing/2014/main" id="{DEC6C896-2534-AC79-D24B-CDF2B9F7F5C0}"/>
                </a:ext>
              </a:extLst>
            </p:cNvPr>
            <p:cNvSpPr/>
            <p:nvPr/>
          </p:nvSpPr>
          <p:spPr>
            <a:xfrm>
              <a:off x="745586" y="5027755"/>
              <a:ext cx="416397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bg object 29">
              <a:extLst>
                <a:ext uri="{FF2B5EF4-FFF2-40B4-BE49-F238E27FC236}">
                  <a16:creationId xmlns:a16="http://schemas.microsoft.com/office/drawing/2014/main" id="{4A0F67FB-6A53-8C35-D235-DB9261580878}"/>
                </a:ext>
              </a:extLst>
            </p:cNvPr>
            <p:cNvSpPr/>
            <p:nvPr/>
          </p:nvSpPr>
          <p:spPr>
            <a:xfrm>
              <a:off x="2123992" y="5971316"/>
              <a:ext cx="643051" cy="652403"/>
            </a:xfrm>
            <a:custGeom>
              <a:avLst/>
              <a:gdLst/>
              <a:ahLst/>
              <a:cxnLst/>
              <a:rect l="l" t="t" r="r" b="b"/>
              <a:pathLst>
                <a:path w="708025" h="719454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103654" y="613962"/>
                  </a:lnTo>
                  <a:lnTo>
                    <a:pt x="137641" y="644364"/>
                  </a:lnTo>
                  <a:lnTo>
                    <a:pt x="175278" y="670199"/>
                  </a:lnTo>
                  <a:lnTo>
                    <a:pt x="216144" y="691039"/>
                  </a:lnTo>
                  <a:lnTo>
                    <a:pt x="259817" y="706455"/>
                  </a:lnTo>
                  <a:lnTo>
                    <a:pt x="305876" y="716019"/>
                  </a:lnTo>
                  <a:lnTo>
                    <a:pt x="353898" y="719302"/>
                  </a:lnTo>
                  <a:lnTo>
                    <a:pt x="401920" y="716019"/>
                  </a:lnTo>
                  <a:lnTo>
                    <a:pt x="447978" y="706455"/>
                  </a:lnTo>
                  <a:lnTo>
                    <a:pt x="491651" y="691039"/>
                  </a:lnTo>
                  <a:lnTo>
                    <a:pt x="532517" y="670199"/>
                  </a:lnTo>
                  <a:lnTo>
                    <a:pt x="570155" y="644364"/>
                  </a:lnTo>
                  <a:lnTo>
                    <a:pt x="604142" y="613962"/>
                  </a:lnTo>
                  <a:lnTo>
                    <a:pt x="634057" y="579422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bg object 30">
              <a:extLst>
                <a:ext uri="{FF2B5EF4-FFF2-40B4-BE49-F238E27FC236}">
                  <a16:creationId xmlns:a16="http://schemas.microsoft.com/office/drawing/2014/main" id="{68EC5BDF-1F0F-729D-6C56-1DAA8F3212B9}"/>
                </a:ext>
              </a:extLst>
            </p:cNvPr>
            <p:cNvSpPr/>
            <p:nvPr/>
          </p:nvSpPr>
          <p:spPr>
            <a:xfrm>
              <a:off x="528270" y="4184585"/>
              <a:ext cx="536933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5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5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bg object 31">
              <a:extLst>
                <a:ext uri="{FF2B5EF4-FFF2-40B4-BE49-F238E27FC236}">
                  <a16:creationId xmlns:a16="http://schemas.microsoft.com/office/drawing/2014/main" id="{ACA3E2B7-6522-9AA4-6802-48B149529AF8}"/>
                </a:ext>
              </a:extLst>
            </p:cNvPr>
            <p:cNvSpPr/>
            <p:nvPr/>
          </p:nvSpPr>
          <p:spPr>
            <a:xfrm>
              <a:off x="0" y="4190048"/>
              <a:ext cx="326428" cy="1775824"/>
            </a:xfrm>
            <a:custGeom>
              <a:avLst/>
              <a:gdLst/>
              <a:ahLst/>
              <a:cxnLst/>
              <a:rect l="l" t="t" r="r" b="b"/>
              <a:pathLst>
                <a:path w="359410" h="1958340">
                  <a:moveTo>
                    <a:pt x="0" y="0"/>
                  </a:moveTo>
                  <a:lnTo>
                    <a:pt x="0" y="1957935"/>
                  </a:lnTo>
                  <a:lnTo>
                    <a:pt x="27343" y="1918542"/>
                  </a:lnTo>
                  <a:lnTo>
                    <a:pt x="53873" y="1878921"/>
                  </a:lnTo>
                  <a:lnTo>
                    <a:pt x="79503" y="1839152"/>
                  </a:lnTo>
                  <a:lnTo>
                    <a:pt x="104202" y="1799230"/>
                  </a:lnTo>
                  <a:lnTo>
                    <a:pt x="127941" y="1759153"/>
                  </a:lnTo>
                  <a:lnTo>
                    <a:pt x="150691" y="1718918"/>
                  </a:lnTo>
                  <a:lnTo>
                    <a:pt x="172420" y="1678522"/>
                  </a:lnTo>
                  <a:lnTo>
                    <a:pt x="193101" y="1637961"/>
                  </a:lnTo>
                  <a:lnTo>
                    <a:pt x="212701" y="1597233"/>
                  </a:lnTo>
                  <a:lnTo>
                    <a:pt x="231193" y="1556334"/>
                  </a:lnTo>
                  <a:lnTo>
                    <a:pt x="248546" y="1515262"/>
                  </a:lnTo>
                  <a:lnTo>
                    <a:pt x="264730" y="1474013"/>
                  </a:lnTo>
                  <a:lnTo>
                    <a:pt x="279716" y="1432583"/>
                  </a:lnTo>
                  <a:lnTo>
                    <a:pt x="293473" y="1390971"/>
                  </a:lnTo>
                  <a:lnTo>
                    <a:pt x="305972" y="1349173"/>
                  </a:lnTo>
                  <a:lnTo>
                    <a:pt x="317182" y="1307186"/>
                  </a:lnTo>
                  <a:lnTo>
                    <a:pt x="327075" y="1265006"/>
                  </a:lnTo>
                  <a:lnTo>
                    <a:pt x="335620" y="1222631"/>
                  </a:lnTo>
                  <a:lnTo>
                    <a:pt x="342788" y="1180057"/>
                  </a:lnTo>
                  <a:lnTo>
                    <a:pt x="348549" y="1137282"/>
                  </a:lnTo>
                  <a:lnTo>
                    <a:pt x="355702" y="1059942"/>
                  </a:lnTo>
                  <a:lnTo>
                    <a:pt x="358873" y="984771"/>
                  </a:lnTo>
                  <a:lnTo>
                    <a:pt x="358318" y="911798"/>
                  </a:lnTo>
                  <a:lnTo>
                    <a:pt x="354295" y="841048"/>
                  </a:lnTo>
                  <a:lnTo>
                    <a:pt x="347060" y="772550"/>
                  </a:lnTo>
                  <a:lnTo>
                    <a:pt x="336870" y="706330"/>
                  </a:lnTo>
                  <a:lnTo>
                    <a:pt x="323983" y="642415"/>
                  </a:lnTo>
                  <a:lnTo>
                    <a:pt x="308655" y="580833"/>
                  </a:lnTo>
                  <a:lnTo>
                    <a:pt x="291143" y="521610"/>
                  </a:lnTo>
                  <a:lnTo>
                    <a:pt x="271705" y="464775"/>
                  </a:lnTo>
                  <a:lnTo>
                    <a:pt x="250596" y="410353"/>
                  </a:lnTo>
                  <a:lnTo>
                    <a:pt x="228075" y="358372"/>
                  </a:lnTo>
                  <a:lnTo>
                    <a:pt x="204398" y="308860"/>
                  </a:lnTo>
                  <a:lnTo>
                    <a:pt x="179822" y="261843"/>
                  </a:lnTo>
                  <a:lnTo>
                    <a:pt x="154604" y="217348"/>
                  </a:lnTo>
                  <a:lnTo>
                    <a:pt x="129001" y="175403"/>
                  </a:lnTo>
                  <a:lnTo>
                    <a:pt x="103270" y="136034"/>
                  </a:lnTo>
                  <a:lnTo>
                    <a:pt x="77668" y="99270"/>
                  </a:lnTo>
                  <a:lnTo>
                    <a:pt x="52451" y="65136"/>
                  </a:lnTo>
                  <a:lnTo>
                    <a:pt x="27878" y="336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38" name="Picture 37" descr="A picture containing text&#10;&#10;Description automatically generated">
            <a:extLst>
              <a:ext uri="{FF2B5EF4-FFF2-40B4-BE49-F238E27FC236}">
                <a16:creationId xmlns:a16="http://schemas.microsoft.com/office/drawing/2014/main" id="{C276DDAA-DDFB-701F-E175-142842A5A66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3074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1B0B9-AB91-426F-92D7-F2F806F725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1840" y="1825625"/>
            <a:ext cx="5267959" cy="3619212"/>
          </a:xfrm>
        </p:spPr>
        <p:txBody>
          <a:bodyPr/>
          <a:lstStyle>
            <a:lvl1pPr>
              <a:defRPr>
                <a:latin typeface="Quicksand" pitchFamily="2" charset="0"/>
              </a:defRPr>
            </a:lvl1pPr>
            <a:lvl2pPr>
              <a:defRPr>
                <a:latin typeface="Quicksand" pitchFamily="2" charset="0"/>
              </a:defRPr>
            </a:lvl2pPr>
            <a:lvl3pPr>
              <a:defRPr>
                <a:latin typeface="Quicksand" pitchFamily="2" charset="0"/>
              </a:defRPr>
            </a:lvl3pPr>
            <a:lvl4pPr>
              <a:defRPr>
                <a:latin typeface="Quicksand" pitchFamily="2" charset="0"/>
              </a:defRPr>
            </a:lvl4pPr>
            <a:lvl5pPr>
              <a:defRPr>
                <a:latin typeface="Quicksand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7" name="Chart Placeholder 4">
            <a:extLst>
              <a:ext uri="{FF2B5EF4-FFF2-40B4-BE49-F238E27FC236}">
                <a16:creationId xmlns:a16="http://schemas.microsoft.com/office/drawing/2014/main" id="{EE3E867B-9FE0-71C1-A521-89885EE0C42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172201" y="1825625"/>
            <a:ext cx="5282789" cy="361921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1060492"/>
      </p:ext>
    </p:extLst>
  </p:cSld>
  <p:clrMapOvr>
    <a:masterClrMapping/>
  </p:clrMapOvr>
  <p:hf sldNum="0"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7" name="Chart Placeholder 4">
            <a:extLst>
              <a:ext uri="{FF2B5EF4-FFF2-40B4-BE49-F238E27FC236}">
                <a16:creationId xmlns:a16="http://schemas.microsoft.com/office/drawing/2014/main" id="{EE3E867B-9FE0-71C1-A521-89885EE0C42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51839" y="1825625"/>
            <a:ext cx="10703151" cy="385820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38" y="6114954"/>
            <a:ext cx="89040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3252492"/>
      </p:ext>
    </p:extLst>
  </p:cSld>
  <p:clrMapOvr>
    <a:masterClrMapping/>
  </p:clrMapOvr>
  <p:hf sldNum="0"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2743767"/>
      </p:ext>
    </p:extLst>
  </p:cSld>
  <p:clrMapOvr>
    <a:masterClrMapping/>
  </p:clrMapOvr>
  <p:hf sldNum="0"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B044399D-0912-D593-C0A7-709DB4E472C3}"/>
              </a:ext>
            </a:extLst>
          </p:cNvPr>
          <p:cNvSpPr/>
          <p:nvPr/>
        </p:nvSpPr>
        <p:spPr>
          <a:xfrm>
            <a:off x="7795390" y="0"/>
            <a:ext cx="4391193" cy="4363554"/>
          </a:xfrm>
          <a:custGeom>
            <a:avLst/>
            <a:gdLst/>
            <a:ahLst/>
            <a:cxnLst/>
            <a:rect l="l" t="t" r="r" b="b"/>
            <a:pathLst>
              <a:path w="4842509" h="4812030">
                <a:moveTo>
                  <a:pt x="747268" y="1291882"/>
                </a:moveTo>
                <a:lnTo>
                  <a:pt x="744347" y="1244257"/>
                </a:lnTo>
                <a:lnTo>
                  <a:pt x="735850" y="1198397"/>
                </a:lnTo>
                <a:lnTo>
                  <a:pt x="722109" y="1154645"/>
                </a:lnTo>
                <a:lnTo>
                  <a:pt x="703478" y="1113383"/>
                </a:lnTo>
                <a:lnTo>
                  <a:pt x="680313" y="1074953"/>
                </a:lnTo>
                <a:lnTo>
                  <a:pt x="652957" y="1039710"/>
                </a:lnTo>
                <a:lnTo>
                  <a:pt x="621766" y="1008011"/>
                </a:lnTo>
                <a:lnTo>
                  <a:pt x="587095" y="980211"/>
                </a:lnTo>
                <a:lnTo>
                  <a:pt x="549275" y="956665"/>
                </a:lnTo>
                <a:lnTo>
                  <a:pt x="508673" y="937742"/>
                </a:lnTo>
                <a:lnTo>
                  <a:pt x="465620" y="923772"/>
                </a:lnTo>
                <a:lnTo>
                  <a:pt x="420497" y="915136"/>
                </a:lnTo>
                <a:lnTo>
                  <a:pt x="373634" y="912177"/>
                </a:lnTo>
                <a:lnTo>
                  <a:pt x="326758" y="915136"/>
                </a:lnTo>
                <a:lnTo>
                  <a:pt x="281635" y="923772"/>
                </a:lnTo>
                <a:lnTo>
                  <a:pt x="238582" y="937742"/>
                </a:lnTo>
                <a:lnTo>
                  <a:pt x="197980" y="956665"/>
                </a:lnTo>
                <a:lnTo>
                  <a:pt x="160159" y="980211"/>
                </a:lnTo>
                <a:lnTo>
                  <a:pt x="125488" y="1008011"/>
                </a:lnTo>
                <a:lnTo>
                  <a:pt x="94297" y="1039710"/>
                </a:lnTo>
                <a:lnTo>
                  <a:pt x="66941" y="1074953"/>
                </a:lnTo>
                <a:lnTo>
                  <a:pt x="43776" y="1113383"/>
                </a:lnTo>
                <a:lnTo>
                  <a:pt x="25146" y="1154645"/>
                </a:lnTo>
                <a:lnTo>
                  <a:pt x="11404" y="1198397"/>
                </a:lnTo>
                <a:lnTo>
                  <a:pt x="2908" y="1244257"/>
                </a:lnTo>
                <a:lnTo>
                  <a:pt x="0" y="1291882"/>
                </a:lnTo>
                <a:lnTo>
                  <a:pt x="2908" y="1339519"/>
                </a:lnTo>
                <a:lnTo>
                  <a:pt x="11404" y="1385379"/>
                </a:lnTo>
                <a:lnTo>
                  <a:pt x="25146" y="1429131"/>
                </a:lnTo>
                <a:lnTo>
                  <a:pt x="43776" y="1470393"/>
                </a:lnTo>
                <a:lnTo>
                  <a:pt x="66941" y="1508823"/>
                </a:lnTo>
                <a:lnTo>
                  <a:pt x="94297" y="1544066"/>
                </a:lnTo>
                <a:lnTo>
                  <a:pt x="125488" y="1575765"/>
                </a:lnTo>
                <a:lnTo>
                  <a:pt x="160159" y="1603565"/>
                </a:lnTo>
                <a:lnTo>
                  <a:pt x="197980" y="1627111"/>
                </a:lnTo>
                <a:lnTo>
                  <a:pt x="238582" y="1646047"/>
                </a:lnTo>
                <a:lnTo>
                  <a:pt x="281635" y="1660004"/>
                </a:lnTo>
                <a:lnTo>
                  <a:pt x="326758" y="1668640"/>
                </a:lnTo>
                <a:lnTo>
                  <a:pt x="373634" y="1671599"/>
                </a:lnTo>
                <a:lnTo>
                  <a:pt x="420497" y="1668640"/>
                </a:lnTo>
                <a:lnTo>
                  <a:pt x="465620" y="1660004"/>
                </a:lnTo>
                <a:lnTo>
                  <a:pt x="508673" y="1646047"/>
                </a:lnTo>
                <a:lnTo>
                  <a:pt x="549275" y="1627111"/>
                </a:lnTo>
                <a:lnTo>
                  <a:pt x="587095" y="1603565"/>
                </a:lnTo>
                <a:lnTo>
                  <a:pt x="621766" y="1575765"/>
                </a:lnTo>
                <a:lnTo>
                  <a:pt x="652957" y="1544066"/>
                </a:lnTo>
                <a:lnTo>
                  <a:pt x="680313" y="1508823"/>
                </a:lnTo>
                <a:lnTo>
                  <a:pt x="703478" y="1470393"/>
                </a:lnTo>
                <a:lnTo>
                  <a:pt x="722109" y="1429131"/>
                </a:lnTo>
                <a:lnTo>
                  <a:pt x="735850" y="1385379"/>
                </a:lnTo>
                <a:lnTo>
                  <a:pt x="744347" y="1339519"/>
                </a:lnTo>
                <a:lnTo>
                  <a:pt x="747268" y="1291882"/>
                </a:lnTo>
                <a:close/>
              </a:path>
              <a:path w="4842509" h="4812030">
                <a:moveTo>
                  <a:pt x="1038237" y="2275001"/>
                </a:moveTo>
                <a:lnTo>
                  <a:pt x="1033195" y="2230450"/>
                </a:lnTo>
                <a:lnTo>
                  <a:pt x="1018806" y="2189556"/>
                </a:lnTo>
                <a:lnTo>
                  <a:pt x="996238" y="2153475"/>
                </a:lnTo>
                <a:lnTo>
                  <a:pt x="966635" y="2123389"/>
                </a:lnTo>
                <a:lnTo>
                  <a:pt x="931125" y="2100453"/>
                </a:lnTo>
                <a:lnTo>
                  <a:pt x="890879" y="2085835"/>
                </a:lnTo>
                <a:lnTo>
                  <a:pt x="847039" y="2080691"/>
                </a:lnTo>
                <a:lnTo>
                  <a:pt x="803198" y="2085835"/>
                </a:lnTo>
                <a:lnTo>
                  <a:pt x="762952" y="2100453"/>
                </a:lnTo>
                <a:lnTo>
                  <a:pt x="727456" y="2123389"/>
                </a:lnTo>
                <a:lnTo>
                  <a:pt x="697852" y="2153475"/>
                </a:lnTo>
                <a:lnTo>
                  <a:pt x="675284" y="2189556"/>
                </a:lnTo>
                <a:lnTo>
                  <a:pt x="660895" y="2230450"/>
                </a:lnTo>
                <a:lnTo>
                  <a:pt x="655840" y="2275001"/>
                </a:lnTo>
                <a:lnTo>
                  <a:pt x="660895" y="2319566"/>
                </a:lnTo>
                <a:lnTo>
                  <a:pt x="675284" y="2360460"/>
                </a:lnTo>
                <a:lnTo>
                  <a:pt x="697852" y="2396540"/>
                </a:lnTo>
                <a:lnTo>
                  <a:pt x="727456" y="2426627"/>
                </a:lnTo>
                <a:lnTo>
                  <a:pt x="762952" y="2449563"/>
                </a:lnTo>
                <a:lnTo>
                  <a:pt x="803198" y="2464181"/>
                </a:lnTo>
                <a:lnTo>
                  <a:pt x="847039" y="2469311"/>
                </a:lnTo>
                <a:lnTo>
                  <a:pt x="890879" y="2464181"/>
                </a:lnTo>
                <a:lnTo>
                  <a:pt x="931125" y="2449563"/>
                </a:lnTo>
                <a:lnTo>
                  <a:pt x="966635" y="2426627"/>
                </a:lnTo>
                <a:lnTo>
                  <a:pt x="996238" y="2396540"/>
                </a:lnTo>
                <a:lnTo>
                  <a:pt x="1018806" y="2360460"/>
                </a:lnTo>
                <a:lnTo>
                  <a:pt x="1033195" y="2319566"/>
                </a:lnTo>
                <a:lnTo>
                  <a:pt x="1038237" y="2275001"/>
                </a:lnTo>
                <a:close/>
              </a:path>
              <a:path w="4842509" h="4812030">
                <a:moveTo>
                  <a:pt x="1353693" y="205016"/>
                </a:moveTo>
                <a:lnTo>
                  <a:pt x="1349044" y="158140"/>
                </a:lnTo>
                <a:lnTo>
                  <a:pt x="1335709" y="114490"/>
                </a:lnTo>
                <a:lnTo>
                  <a:pt x="1314615" y="74993"/>
                </a:lnTo>
                <a:lnTo>
                  <a:pt x="1286675" y="40576"/>
                </a:lnTo>
                <a:lnTo>
                  <a:pt x="1252804" y="12179"/>
                </a:lnTo>
                <a:lnTo>
                  <a:pt x="1230744" y="12"/>
                </a:lnTo>
                <a:lnTo>
                  <a:pt x="1018984" y="12"/>
                </a:lnTo>
                <a:lnTo>
                  <a:pt x="963053" y="40576"/>
                </a:lnTo>
                <a:lnTo>
                  <a:pt x="935113" y="74993"/>
                </a:lnTo>
                <a:lnTo>
                  <a:pt x="914019" y="114490"/>
                </a:lnTo>
                <a:lnTo>
                  <a:pt x="900684" y="158140"/>
                </a:lnTo>
                <a:lnTo>
                  <a:pt x="896035" y="205016"/>
                </a:lnTo>
                <a:lnTo>
                  <a:pt x="900684" y="251879"/>
                </a:lnTo>
                <a:lnTo>
                  <a:pt x="914019" y="295529"/>
                </a:lnTo>
                <a:lnTo>
                  <a:pt x="935113" y="335038"/>
                </a:lnTo>
                <a:lnTo>
                  <a:pt x="963053" y="369443"/>
                </a:lnTo>
                <a:lnTo>
                  <a:pt x="996924" y="397840"/>
                </a:lnTo>
                <a:lnTo>
                  <a:pt x="1035799" y="419290"/>
                </a:lnTo>
                <a:lnTo>
                  <a:pt x="1078750" y="432841"/>
                </a:lnTo>
                <a:lnTo>
                  <a:pt x="1124864" y="437565"/>
                </a:lnTo>
                <a:lnTo>
                  <a:pt x="1170978" y="432841"/>
                </a:lnTo>
                <a:lnTo>
                  <a:pt x="1213929" y="419290"/>
                </a:lnTo>
                <a:lnTo>
                  <a:pt x="1252804" y="397840"/>
                </a:lnTo>
                <a:lnTo>
                  <a:pt x="1286675" y="369443"/>
                </a:lnTo>
                <a:lnTo>
                  <a:pt x="1314615" y="335038"/>
                </a:lnTo>
                <a:lnTo>
                  <a:pt x="1335709" y="295529"/>
                </a:lnTo>
                <a:lnTo>
                  <a:pt x="1349044" y="251879"/>
                </a:lnTo>
                <a:lnTo>
                  <a:pt x="1353693" y="205016"/>
                </a:lnTo>
                <a:close/>
              </a:path>
              <a:path w="4842509" h="4812030">
                <a:moveTo>
                  <a:pt x="2336165" y="3331895"/>
                </a:moveTo>
                <a:lnTo>
                  <a:pt x="2331415" y="3284131"/>
                </a:lnTo>
                <a:lnTo>
                  <a:pt x="2317826" y="3239643"/>
                </a:lnTo>
                <a:lnTo>
                  <a:pt x="2296325" y="3199384"/>
                </a:lnTo>
                <a:lnTo>
                  <a:pt x="2267851" y="3164319"/>
                </a:lnTo>
                <a:lnTo>
                  <a:pt x="2233333" y="3135376"/>
                </a:lnTo>
                <a:lnTo>
                  <a:pt x="2193721" y="3113519"/>
                </a:lnTo>
                <a:lnTo>
                  <a:pt x="2149945" y="3099714"/>
                </a:lnTo>
                <a:lnTo>
                  <a:pt x="2102954" y="3094901"/>
                </a:lnTo>
                <a:lnTo>
                  <a:pt x="2055952" y="3099714"/>
                </a:lnTo>
                <a:lnTo>
                  <a:pt x="2012175" y="3113519"/>
                </a:lnTo>
                <a:lnTo>
                  <a:pt x="1972564" y="3135376"/>
                </a:lnTo>
                <a:lnTo>
                  <a:pt x="1938058" y="3164319"/>
                </a:lnTo>
                <a:lnTo>
                  <a:pt x="1909572" y="3199384"/>
                </a:lnTo>
                <a:lnTo>
                  <a:pt x="1888070" y="3239643"/>
                </a:lnTo>
                <a:lnTo>
                  <a:pt x="1874494" y="3284131"/>
                </a:lnTo>
                <a:lnTo>
                  <a:pt x="1869757" y="3331895"/>
                </a:lnTo>
                <a:lnTo>
                  <a:pt x="1874494" y="3379660"/>
                </a:lnTo>
                <a:lnTo>
                  <a:pt x="1888070" y="3424148"/>
                </a:lnTo>
                <a:lnTo>
                  <a:pt x="1909572" y="3464407"/>
                </a:lnTo>
                <a:lnTo>
                  <a:pt x="1938058" y="3499485"/>
                </a:lnTo>
                <a:lnTo>
                  <a:pt x="1972564" y="3528428"/>
                </a:lnTo>
                <a:lnTo>
                  <a:pt x="2012175" y="3550272"/>
                </a:lnTo>
                <a:lnTo>
                  <a:pt x="2055952" y="3564090"/>
                </a:lnTo>
                <a:lnTo>
                  <a:pt x="2102954" y="3568903"/>
                </a:lnTo>
                <a:lnTo>
                  <a:pt x="2149945" y="3564090"/>
                </a:lnTo>
                <a:lnTo>
                  <a:pt x="2193721" y="3550272"/>
                </a:lnTo>
                <a:lnTo>
                  <a:pt x="2233333" y="3528428"/>
                </a:lnTo>
                <a:lnTo>
                  <a:pt x="2267851" y="3499485"/>
                </a:lnTo>
                <a:lnTo>
                  <a:pt x="2296325" y="3464407"/>
                </a:lnTo>
                <a:lnTo>
                  <a:pt x="2317826" y="3424148"/>
                </a:lnTo>
                <a:lnTo>
                  <a:pt x="2331415" y="3379660"/>
                </a:lnTo>
                <a:lnTo>
                  <a:pt x="2336165" y="3331895"/>
                </a:lnTo>
                <a:close/>
              </a:path>
              <a:path w="4842509" h="4812030">
                <a:moveTo>
                  <a:pt x="2815031" y="1458963"/>
                </a:moveTo>
                <a:lnTo>
                  <a:pt x="2805074" y="1409661"/>
                </a:lnTo>
                <a:lnTo>
                  <a:pt x="2777921" y="1369390"/>
                </a:lnTo>
                <a:lnTo>
                  <a:pt x="2737650" y="1342237"/>
                </a:lnTo>
                <a:lnTo>
                  <a:pt x="2688348" y="1332280"/>
                </a:lnTo>
                <a:lnTo>
                  <a:pt x="1587842" y="1332280"/>
                </a:lnTo>
                <a:lnTo>
                  <a:pt x="1594739" y="1302042"/>
                </a:lnTo>
                <a:lnTo>
                  <a:pt x="1611210" y="1240929"/>
                </a:lnTo>
                <a:lnTo>
                  <a:pt x="1635810" y="1170025"/>
                </a:lnTo>
                <a:lnTo>
                  <a:pt x="1653717" y="1129347"/>
                </a:lnTo>
                <a:lnTo>
                  <a:pt x="1674545" y="1088034"/>
                </a:lnTo>
                <a:lnTo>
                  <a:pt x="1698117" y="1046111"/>
                </a:lnTo>
                <a:lnTo>
                  <a:pt x="1724279" y="1003617"/>
                </a:lnTo>
                <a:lnTo>
                  <a:pt x="1724837" y="1003617"/>
                </a:lnTo>
                <a:lnTo>
                  <a:pt x="1725358" y="1003782"/>
                </a:lnTo>
                <a:lnTo>
                  <a:pt x="2587726" y="1003782"/>
                </a:lnTo>
                <a:lnTo>
                  <a:pt x="2588539" y="1003617"/>
                </a:lnTo>
                <a:lnTo>
                  <a:pt x="2637028" y="993825"/>
                </a:lnTo>
                <a:lnTo>
                  <a:pt x="2677299" y="966673"/>
                </a:lnTo>
                <a:lnTo>
                  <a:pt x="2704452" y="926414"/>
                </a:lnTo>
                <a:lnTo>
                  <a:pt x="2714409" y="877100"/>
                </a:lnTo>
                <a:lnTo>
                  <a:pt x="2704452" y="827798"/>
                </a:lnTo>
                <a:lnTo>
                  <a:pt x="2677299" y="787527"/>
                </a:lnTo>
                <a:lnTo>
                  <a:pt x="2637028" y="760374"/>
                </a:lnTo>
                <a:lnTo>
                  <a:pt x="2587726" y="750417"/>
                </a:lnTo>
                <a:lnTo>
                  <a:pt x="1918449" y="750417"/>
                </a:lnTo>
                <a:lnTo>
                  <a:pt x="1948662" y="716330"/>
                </a:lnTo>
                <a:lnTo>
                  <a:pt x="1979866" y="681990"/>
                </a:lnTo>
                <a:lnTo>
                  <a:pt x="2012010" y="647395"/>
                </a:lnTo>
                <a:lnTo>
                  <a:pt x="2045055" y="612559"/>
                </a:lnTo>
                <a:lnTo>
                  <a:pt x="2078926" y="577494"/>
                </a:lnTo>
                <a:lnTo>
                  <a:pt x="2113610" y="542213"/>
                </a:lnTo>
                <a:lnTo>
                  <a:pt x="2149030" y="506704"/>
                </a:lnTo>
                <a:lnTo>
                  <a:pt x="2185162" y="470992"/>
                </a:lnTo>
                <a:lnTo>
                  <a:pt x="2221954" y="435076"/>
                </a:lnTo>
                <a:lnTo>
                  <a:pt x="2297303" y="362648"/>
                </a:lnTo>
                <a:lnTo>
                  <a:pt x="2414079" y="252666"/>
                </a:lnTo>
                <a:lnTo>
                  <a:pt x="2687383" y="12"/>
                </a:lnTo>
                <a:lnTo>
                  <a:pt x="2146401" y="12"/>
                </a:lnTo>
                <a:lnTo>
                  <a:pt x="2069376" y="72491"/>
                </a:lnTo>
                <a:lnTo>
                  <a:pt x="1987892" y="150406"/>
                </a:lnTo>
                <a:lnTo>
                  <a:pt x="1947964" y="189191"/>
                </a:lnTo>
                <a:lnTo>
                  <a:pt x="1908632" y="227888"/>
                </a:lnTo>
                <a:lnTo>
                  <a:pt x="1869922" y="266471"/>
                </a:lnTo>
                <a:lnTo>
                  <a:pt x="1831911" y="304952"/>
                </a:lnTo>
                <a:lnTo>
                  <a:pt x="1794637" y="343331"/>
                </a:lnTo>
                <a:lnTo>
                  <a:pt x="1758124" y="381622"/>
                </a:lnTo>
                <a:lnTo>
                  <a:pt x="1722450" y="419811"/>
                </a:lnTo>
                <a:lnTo>
                  <a:pt x="1687626" y="457911"/>
                </a:lnTo>
                <a:lnTo>
                  <a:pt x="1653730" y="495922"/>
                </a:lnTo>
                <a:lnTo>
                  <a:pt x="1620786" y="533844"/>
                </a:lnTo>
                <a:lnTo>
                  <a:pt x="1588846" y="571690"/>
                </a:lnTo>
                <a:lnTo>
                  <a:pt x="1557959" y="609447"/>
                </a:lnTo>
                <a:lnTo>
                  <a:pt x="1528152" y="647115"/>
                </a:lnTo>
                <a:lnTo>
                  <a:pt x="1499501" y="684720"/>
                </a:lnTo>
                <a:lnTo>
                  <a:pt x="1472018" y="722249"/>
                </a:lnTo>
                <a:lnTo>
                  <a:pt x="1445780" y="759701"/>
                </a:lnTo>
                <a:lnTo>
                  <a:pt x="1420812" y="797077"/>
                </a:lnTo>
                <a:lnTo>
                  <a:pt x="1397165" y="834390"/>
                </a:lnTo>
                <a:lnTo>
                  <a:pt x="1374889" y="871639"/>
                </a:lnTo>
                <a:lnTo>
                  <a:pt x="1354023" y="908824"/>
                </a:lnTo>
                <a:lnTo>
                  <a:pt x="1334604" y="945946"/>
                </a:lnTo>
                <a:lnTo>
                  <a:pt x="1316697" y="983018"/>
                </a:lnTo>
                <a:lnTo>
                  <a:pt x="1300340" y="1020025"/>
                </a:lnTo>
                <a:lnTo>
                  <a:pt x="1285570" y="1056982"/>
                </a:lnTo>
                <a:lnTo>
                  <a:pt x="1272451" y="1093889"/>
                </a:lnTo>
                <a:lnTo>
                  <a:pt x="1251242" y="1162659"/>
                </a:lnTo>
                <a:lnTo>
                  <a:pt x="1233639" y="1230528"/>
                </a:lnTo>
                <a:lnTo>
                  <a:pt x="1219492" y="1297495"/>
                </a:lnTo>
                <a:lnTo>
                  <a:pt x="1208646" y="1363497"/>
                </a:lnTo>
                <a:lnTo>
                  <a:pt x="1200962" y="1428521"/>
                </a:lnTo>
                <a:lnTo>
                  <a:pt x="1196276" y="1492504"/>
                </a:lnTo>
                <a:lnTo>
                  <a:pt x="1194447" y="1555432"/>
                </a:lnTo>
                <a:lnTo>
                  <a:pt x="1195324" y="1617268"/>
                </a:lnTo>
                <a:lnTo>
                  <a:pt x="1198753" y="1677974"/>
                </a:lnTo>
                <a:lnTo>
                  <a:pt x="1204595" y="1737499"/>
                </a:lnTo>
                <a:lnTo>
                  <a:pt x="1212684" y="1795830"/>
                </a:lnTo>
                <a:lnTo>
                  <a:pt x="1222870" y="1852930"/>
                </a:lnTo>
                <a:lnTo>
                  <a:pt x="1235024" y="1908746"/>
                </a:lnTo>
                <a:lnTo>
                  <a:pt x="1248981" y="1963242"/>
                </a:lnTo>
                <a:lnTo>
                  <a:pt x="1264589" y="2016404"/>
                </a:lnTo>
                <a:lnTo>
                  <a:pt x="1281709" y="2068182"/>
                </a:lnTo>
                <a:lnTo>
                  <a:pt x="1300175" y="2118537"/>
                </a:lnTo>
                <a:lnTo>
                  <a:pt x="1319860" y="2167445"/>
                </a:lnTo>
                <a:lnTo>
                  <a:pt x="1340586" y="2214854"/>
                </a:lnTo>
                <a:lnTo>
                  <a:pt x="1362227" y="2260752"/>
                </a:lnTo>
                <a:lnTo>
                  <a:pt x="1384617" y="2305075"/>
                </a:lnTo>
                <a:lnTo>
                  <a:pt x="1407617" y="2347811"/>
                </a:lnTo>
                <a:lnTo>
                  <a:pt x="1431074" y="2388920"/>
                </a:lnTo>
                <a:lnTo>
                  <a:pt x="1454835" y="2428354"/>
                </a:lnTo>
                <a:lnTo>
                  <a:pt x="1478749" y="2466086"/>
                </a:lnTo>
                <a:lnTo>
                  <a:pt x="1502676" y="2502077"/>
                </a:lnTo>
                <a:lnTo>
                  <a:pt x="1526451" y="2536291"/>
                </a:lnTo>
                <a:lnTo>
                  <a:pt x="1549946" y="2568702"/>
                </a:lnTo>
                <a:lnTo>
                  <a:pt x="1572983" y="2599271"/>
                </a:lnTo>
                <a:lnTo>
                  <a:pt x="1617141" y="2654719"/>
                </a:lnTo>
                <a:lnTo>
                  <a:pt x="1657718" y="2702344"/>
                </a:lnTo>
                <a:lnTo>
                  <a:pt x="1693532" y="2741879"/>
                </a:lnTo>
                <a:lnTo>
                  <a:pt x="1723364" y="2773045"/>
                </a:lnTo>
                <a:lnTo>
                  <a:pt x="1754289" y="2803436"/>
                </a:lnTo>
                <a:lnTo>
                  <a:pt x="1791779" y="2833128"/>
                </a:lnTo>
                <a:lnTo>
                  <a:pt x="1853996" y="2856725"/>
                </a:lnTo>
                <a:lnTo>
                  <a:pt x="1886724" y="2859659"/>
                </a:lnTo>
                <a:lnTo>
                  <a:pt x="1923973" y="2855861"/>
                </a:lnTo>
                <a:lnTo>
                  <a:pt x="1993277" y="2825635"/>
                </a:lnTo>
                <a:lnTo>
                  <a:pt x="2022830" y="2799372"/>
                </a:lnTo>
                <a:lnTo>
                  <a:pt x="2050745" y="2758884"/>
                </a:lnTo>
                <a:lnTo>
                  <a:pt x="2066505" y="2714015"/>
                </a:lnTo>
                <a:lnTo>
                  <a:pt x="2070239" y="2667228"/>
                </a:lnTo>
                <a:lnTo>
                  <a:pt x="2062073" y="2621000"/>
                </a:lnTo>
                <a:lnTo>
                  <a:pt x="2042134" y="2577782"/>
                </a:lnTo>
                <a:lnTo>
                  <a:pt x="2010562" y="2540063"/>
                </a:lnTo>
                <a:lnTo>
                  <a:pt x="2002307" y="2532316"/>
                </a:lnTo>
                <a:lnTo>
                  <a:pt x="1986203" y="2516479"/>
                </a:lnTo>
                <a:lnTo>
                  <a:pt x="1934933" y="2461717"/>
                </a:lnTo>
                <a:lnTo>
                  <a:pt x="1902015" y="2423401"/>
                </a:lnTo>
                <a:lnTo>
                  <a:pt x="1865718" y="2378151"/>
                </a:lnTo>
                <a:lnTo>
                  <a:pt x="1827174" y="2326297"/>
                </a:lnTo>
                <a:lnTo>
                  <a:pt x="1787486" y="2268118"/>
                </a:lnTo>
                <a:lnTo>
                  <a:pt x="1747786" y="2203907"/>
                </a:lnTo>
                <a:lnTo>
                  <a:pt x="1709204" y="2133955"/>
                </a:lnTo>
                <a:lnTo>
                  <a:pt x="2085060" y="2133955"/>
                </a:lnTo>
                <a:lnTo>
                  <a:pt x="2134362" y="2123998"/>
                </a:lnTo>
                <a:lnTo>
                  <a:pt x="2174633" y="2096846"/>
                </a:lnTo>
                <a:lnTo>
                  <a:pt x="2201786" y="2056587"/>
                </a:lnTo>
                <a:lnTo>
                  <a:pt x="2211743" y="2007273"/>
                </a:lnTo>
                <a:lnTo>
                  <a:pt x="2201786" y="1957971"/>
                </a:lnTo>
                <a:lnTo>
                  <a:pt x="2174633" y="1917700"/>
                </a:lnTo>
                <a:lnTo>
                  <a:pt x="2134362" y="1890547"/>
                </a:lnTo>
                <a:lnTo>
                  <a:pt x="2085060" y="1880590"/>
                </a:lnTo>
                <a:lnTo>
                  <a:pt x="1607959" y="1880590"/>
                </a:lnTo>
                <a:lnTo>
                  <a:pt x="1595729" y="1834248"/>
                </a:lnTo>
                <a:lnTo>
                  <a:pt x="1585214" y="1786712"/>
                </a:lnTo>
                <a:lnTo>
                  <a:pt x="1576565" y="1738058"/>
                </a:lnTo>
                <a:lnTo>
                  <a:pt x="1569910" y="1688299"/>
                </a:lnTo>
                <a:lnTo>
                  <a:pt x="1565402" y="1637487"/>
                </a:lnTo>
                <a:lnTo>
                  <a:pt x="1563192" y="1585645"/>
                </a:lnTo>
                <a:lnTo>
                  <a:pt x="2688348" y="1585645"/>
                </a:lnTo>
                <a:lnTo>
                  <a:pt x="2737650" y="1575689"/>
                </a:lnTo>
                <a:lnTo>
                  <a:pt x="2777921" y="1548549"/>
                </a:lnTo>
                <a:lnTo>
                  <a:pt x="2805074" y="1508277"/>
                </a:lnTo>
                <a:lnTo>
                  <a:pt x="2815031" y="1458963"/>
                </a:lnTo>
                <a:close/>
              </a:path>
              <a:path w="4842509" h="4812030">
                <a:moveTo>
                  <a:pt x="3022498" y="2007273"/>
                </a:moveTo>
                <a:lnTo>
                  <a:pt x="3012541" y="1957959"/>
                </a:lnTo>
                <a:lnTo>
                  <a:pt x="2985389" y="1917700"/>
                </a:lnTo>
                <a:lnTo>
                  <a:pt x="2945130" y="1890547"/>
                </a:lnTo>
                <a:lnTo>
                  <a:pt x="2895816" y="1880590"/>
                </a:lnTo>
                <a:lnTo>
                  <a:pt x="2492959" y="1880590"/>
                </a:lnTo>
                <a:lnTo>
                  <a:pt x="2443645" y="1890547"/>
                </a:lnTo>
                <a:lnTo>
                  <a:pt x="2403373" y="1917700"/>
                </a:lnTo>
                <a:lnTo>
                  <a:pt x="2376220" y="1957959"/>
                </a:lnTo>
                <a:lnTo>
                  <a:pt x="2366264" y="2007273"/>
                </a:lnTo>
                <a:lnTo>
                  <a:pt x="2376220" y="2056587"/>
                </a:lnTo>
                <a:lnTo>
                  <a:pt x="2403373" y="2096846"/>
                </a:lnTo>
                <a:lnTo>
                  <a:pt x="2443645" y="2123998"/>
                </a:lnTo>
                <a:lnTo>
                  <a:pt x="2492959" y="2133955"/>
                </a:lnTo>
                <a:lnTo>
                  <a:pt x="2895816" y="2133955"/>
                </a:lnTo>
                <a:lnTo>
                  <a:pt x="2945130" y="2123998"/>
                </a:lnTo>
                <a:lnTo>
                  <a:pt x="2985389" y="2096846"/>
                </a:lnTo>
                <a:lnTo>
                  <a:pt x="3012541" y="2056587"/>
                </a:lnTo>
                <a:lnTo>
                  <a:pt x="3022498" y="2007273"/>
                </a:lnTo>
                <a:close/>
              </a:path>
              <a:path w="4842509" h="4812030">
                <a:moveTo>
                  <a:pt x="3290455" y="869467"/>
                </a:moveTo>
                <a:lnTo>
                  <a:pt x="3285413" y="824915"/>
                </a:lnTo>
                <a:lnTo>
                  <a:pt x="3271024" y="784021"/>
                </a:lnTo>
                <a:lnTo>
                  <a:pt x="3248456" y="747941"/>
                </a:lnTo>
                <a:lnTo>
                  <a:pt x="3218853" y="717854"/>
                </a:lnTo>
                <a:lnTo>
                  <a:pt x="3183344" y="694918"/>
                </a:lnTo>
                <a:lnTo>
                  <a:pt x="3143097" y="680300"/>
                </a:lnTo>
                <a:lnTo>
                  <a:pt x="3099257" y="675170"/>
                </a:lnTo>
                <a:lnTo>
                  <a:pt x="3055429" y="680300"/>
                </a:lnTo>
                <a:lnTo>
                  <a:pt x="3015183" y="694918"/>
                </a:lnTo>
                <a:lnTo>
                  <a:pt x="2979674" y="717854"/>
                </a:lnTo>
                <a:lnTo>
                  <a:pt x="2950070" y="747941"/>
                </a:lnTo>
                <a:lnTo>
                  <a:pt x="2927502" y="784021"/>
                </a:lnTo>
                <a:lnTo>
                  <a:pt x="2913113" y="824915"/>
                </a:lnTo>
                <a:lnTo>
                  <a:pt x="2908058" y="869467"/>
                </a:lnTo>
                <a:lnTo>
                  <a:pt x="2913113" y="914019"/>
                </a:lnTo>
                <a:lnTo>
                  <a:pt x="2927502" y="954925"/>
                </a:lnTo>
                <a:lnTo>
                  <a:pt x="2950070" y="990993"/>
                </a:lnTo>
                <a:lnTo>
                  <a:pt x="2979674" y="1021092"/>
                </a:lnTo>
                <a:lnTo>
                  <a:pt x="3015183" y="1044028"/>
                </a:lnTo>
                <a:lnTo>
                  <a:pt x="3055429" y="1058646"/>
                </a:lnTo>
                <a:lnTo>
                  <a:pt x="3099257" y="1063777"/>
                </a:lnTo>
                <a:lnTo>
                  <a:pt x="3143097" y="1058646"/>
                </a:lnTo>
                <a:lnTo>
                  <a:pt x="3183344" y="1044028"/>
                </a:lnTo>
                <a:lnTo>
                  <a:pt x="3218853" y="1021092"/>
                </a:lnTo>
                <a:lnTo>
                  <a:pt x="3248456" y="990993"/>
                </a:lnTo>
                <a:lnTo>
                  <a:pt x="3271024" y="954925"/>
                </a:lnTo>
                <a:lnTo>
                  <a:pt x="3285413" y="914019"/>
                </a:lnTo>
                <a:lnTo>
                  <a:pt x="3290455" y="869467"/>
                </a:lnTo>
                <a:close/>
              </a:path>
              <a:path w="4842509" h="4812030">
                <a:moveTo>
                  <a:pt x="3455378" y="1445844"/>
                </a:moveTo>
                <a:lnTo>
                  <a:pt x="3449624" y="1402283"/>
                </a:lnTo>
                <a:lnTo>
                  <a:pt x="3433368" y="1363154"/>
                </a:lnTo>
                <a:lnTo>
                  <a:pt x="3408159" y="1329994"/>
                </a:lnTo>
                <a:lnTo>
                  <a:pt x="3375533" y="1304378"/>
                </a:lnTo>
                <a:lnTo>
                  <a:pt x="3337026" y="1287868"/>
                </a:lnTo>
                <a:lnTo>
                  <a:pt x="3294164" y="1282014"/>
                </a:lnTo>
                <a:lnTo>
                  <a:pt x="3251314" y="1287868"/>
                </a:lnTo>
                <a:lnTo>
                  <a:pt x="3212795" y="1304378"/>
                </a:lnTo>
                <a:lnTo>
                  <a:pt x="3180169" y="1329994"/>
                </a:lnTo>
                <a:lnTo>
                  <a:pt x="3154959" y="1363154"/>
                </a:lnTo>
                <a:lnTo>
                  <a:pt x="3138716" y="1402283"/>
                </a:lnTo>
                <a:lnTo>
                  <a:pt x="3132950" y="1445844"/>
                </a:lnTo>
                <a:lnTo>
                  <a:pt x="3138716" y="1489392"/>
                </a:lnTo>
                <a:lnTo>
                  <a:pt x="3154959" y="1528533"/>
                </a:lnTo>
                <a:lnTo>
                  <a:pt x="3180169" y="1561680"/>
                </a:lnTo>
                <a:lnTo>
                  <a:pt x="3212795" y="1587309"/>
                </a:lnTo>
                <a:lnTo>
                  <a:pt x="3251314" y="1603819"/>
                </a:lnTo>
                <a:lnTo>
                  <a:pt x="3294164" y="1609674"/>
                </a:lnTo>
                <a:lnTo>
                  <a:pt x="3337026" y="1603819"/>
                </a:lnTo>
                <a:lnTo>
                  <a:pt x="3375533" y="1587309"/>
                </a:lnTo>
                <a:lnTo>
                  <a:pt x="3408159" y="1561680"/>
                </a:lnTo>
                <a:lnTo>
                  <a:pt x="3433368" y="1528533"/>
                </a:lnTo>
                <a:lnTo>
                  <a:pt x="3449624" y="1489392"/>
                </a:lnTo>
                <a:lnTo>
                  <a:pt x="3455378" y="1445844"/>
                </a:lnTo>
                <a:close/>
              </a:path>
              <a:path w="4842509" h="4812030">
                <a:moveTo>
                  <a:pt x="3677882" y="150622"/>
                </a:moveTo>
                <a:lnTo>
                  <a:pt x="3669868" y="100114"/>
                </a:lnTo>
                <a:lnTo>
                  <a:pt x="3647541" y="56248"/>
                </a:lnTo>
                <a:lnTo>
                  <a:pt x="3613505" y="21653"/>
                </a:lnTo>
                <a:lnTo>
                  <a:pt x="3572306" y="0"/>
                </a:lnTo>
                <a:lnTo>
                  <a:pt x="3468979" y="0"/>
                </a:lnTo>
                <a:lnTo>
                  <a:pt x="3427780" y="21653"/>
                </a:lnTo>
                <a:lnTo>
                  <a:pt x="3393744" y="56248"/>
                </a:lnTo>
                <a:lnTo>
                  <a:pt x="3371418" y="100114"/>
                </a:lnTo>
                <a:lnTo>
                  <a:pt x="3363404" y="150622"/>
                </a:lnTo>
                <a:lnTo>
                  <a:pt x="3371418" y="201129"/>
                </a:lnTo>
                <a:lnTo>
                  <a:pt x="3393744" y="244995"/>
                </a:lnTo>
                <a:lnTo>
                  <a:pt x="3427780" y="279577"/>
                </a:lnTo>
                <a:lnTo>
                  <a:pt x="3470935" y="302260"/>
                </a:lnTo>
                <a:lnTo>
                  <a:pt x="3520643" y="310413"/>
                </a:lnTo>
                <a:lnTo>
                  <a:pt x="3570338" y="302260"/>
                </a:lnTo>
                <a:lnTo>
                  <a:pt x="3613505" y="279577"/>
                </a:lnTo>
                <a:lnTo>
                  <a:pt x="3647541" y="244995"/>
                </a:lnTo>
                <a:lnTo>
                  <a:pt x="3669868" y="201129"/>
                </a:lnTo>
                <a:lnTo>
                  <a:pt x="3677882" y="150622"/>
                </a:lnTo>
                <a:close/>
              </a:path>
              <a:path w="4842509" h="4812030">
                <a:moveTo>
                  <a:pt x="3887127" y="718464"/>
                </a:moveTo>
                <a:lnTo>
                  <a:pt x="3882085" y="673912"/>
                </a:lnTo>
                <a:lnTo>
                  <a:pt x="3867696" y="633006"/>
                </a:lnTo>
                <a:lnTo>
                  <a:pt x="3845128" y="596925"/>
                </a:lnTo>
                <a:lnTo>
                  <a:pt x="3815524" y="566839"/>
                </a:lnTo>
                <a:lnTo>
                  <a:pt x="3780015" y="543902"/>
                </a:lnTo>
                <a:lnTo>
                  <a:pt x="3739769" y="529285"/>
                </a:lnTo>
                <a:lnTo>
                  <a:pt x="3695928" y="524154"/>
                </a:lnTo>
                <a:lnTo>
                  <a:pt x="3652101" y="529285"/>
                </a:lnTo>
                <a:lnTo>
                  <a:pt x="3611854" y="543902"/>
                </a:lnTo>
                <a:lnTo>
                  <a:pt x="3576345" y="566839"/>
                </a:lnTo>
                <a:lnTo>
                  <a:pt x="3546741" y="596925"/>
                </a:lnTo>
                <a:lnTo>
                  <a:pt x="3524173" y="633006"/>
                </a:lnTo>
                <a:lnTo>
                  <a:pt x="3509784" y="673912"/>
                </a:lnTo>
                <a:lnTo>
                  <a:pt x="3504730" y="718464"/>
                </a:lnTo>
                <a:lnTo>
                  <a:pt x="3509784" y="763016"/>
                </a:lnTo>
                <a:lnTo>
                  <a:pt x="3524173" y="803910"/>
                </a:lnTo>
                <a:lnTo>
                  <a:pt x="3546741" y="839990"/>
                </a:lnTo>
                <a:lnTo>
                  <a:pt x="3576345" y="870089"/>
                </a:lnTo>
                <a:lnTo>
                  <a:pt x="3611854" y="893025"/>
                </a:lnTo>
                <a:lnTo>
                  <a:pt x="3652101" y="907643"/>
                </a:lnTo>
                <a:lnTo>
                  <a:pt x="3695928" y="912774"/>
                </a:lnTo>
                <a:lnTo>
                  <a:pt x="3739769" y="907643"/>
                </a:lnTo>
                <a:lnTo>
                  <a:pt x="3780015" y="893025"/>
                </a:lnTo>
                <a:lnTo>
                  <a:pt x="3815524" y="870089"/>
                </a:lnTo>
                <a:lnTo>
                  <a:pt x="3845128" y="839990"/>
                </a:lnTo>
                <a:lnTo>
                  <a:pt x="3867696" y="803910"/>
                </a:lnTo>
                <a:lnTo>
                  <a:pt x="3882085" y="763016"/>
                </a:lnTo>
                <a:lnTo>
                  <a:pt x="3887127" y="718464"/>
                </a:lnTo>
                <a:close/>
              </a:path>
              <a:path w="4842509" h="4812030">
                <a:moveTo>
                  <a:pt x="4802949" y="2826423"/>
                </a:moveTo>
                <a:lnTo>
                  <a:pt x="4797895" y="2781871"/>
                </a:lnTo>
                <a:lnTo>
                  <a:pt x="4783518" y="2740977"/>
                </a:lnTo>
                <a:lnTo>
                  <a:pt x="4760950" y="2704896"/>
                </a:lnTo>
                <a:lnTo>
                  <a:pt x="4731334" y="2674810"/>
                </a:lnTo>
                <a:lnTo>
                  <a:pt x="4695837" y="2651874"/>
                </a:lnTo>
                <a:lnTo>
                  <a:pt x="4655591" y="2637256"/>
                </a:lnTo>
                <a:lnTo>
                  <a:pt x="4611751" y="2632113"/>
                </a:lnTo>
                <a:lnTo>
                  <a:pt x="4567910" y="2637256"/>
                </a:lnTo>
                <a:lnTo>
                  <a:pt x="4527664" y="2651874"/>
                </a:lnTo>
                <a:lnTo>
                  <a:pt x="4492168" y="2674810"/>
                </a:lnTo>
                <a:lnTo>
                  <a:pt x="4462551" y="2704896"/>
                </a:lnTo>
                <a:lnTo>
                  <a:pt x="4439983" y="2740977"/>
                </a:lnTo>
                <a:lnTo>
                  <a:pt x="4425607" y="2781871"/>
                </a:lnTo>
                <a:lnTo>
                  <a:pt x="4420552" y="2826423"/>
                </a:lnTo>
                <a:lnTo>
                  <a:pt x="4425607" y="2870987"/>
                </a:lnTo>
                <a:lnTo>
                  <a:pt x="4439983" y="2911881"/>
                </a:lnTo>
                <a:lnTo>
                  <a:pt x="4462551" y="2947962"/>
                </a:lnTo>
                <a:lnTo>
                  <a:pt x="4492168" y="2978048"/>
                </a:lnTo>
                <a:lnTo>
                  <a:pt x="4527664" y="3000984"/>
                </a:lnTo>
                <a:lnTo>
                  <a:pt x="4567910" y="3015602"/>
                </a:lnTo>
                <a:lnTo>
                  <a:pt x="4611751" y="3020733"/>
                </a:lnTo>
                <a:lnTo>
                  <a:pt x="4655591" y="3015602"/>
                </a:lnTo>
                <a:lnTo>
                  <a:pt x="4695837" y="3000984"/>
                </a:lnTo>
                <a:lnTo>
                  <a:pt x="4731334" y="2978048"/>
                </a:lnTo>
                <a:lnTo>
                  <a:pt x="4760950" y="2947962"/>
                </a:lnTo>
                <a:lnTo>
                  <a:pt x="4783518" y="2911881"/>
                </a:lnTo>
                <a:lnTo>
                  <a:pt x="4797895" y="2870987"/>
                </a:lnTo>
                <a:lnTo>
                  <a:pt x="4802949" y="2826423"/>
                </a:lnTo>
                <a:close/>
              </a:path>
              <a:path w="4842509" h="4812030">
                <a:moveTo>
                  <a:pt x="4841951" y="3211792"/>
                </a:moveTo>
                <a:lnTo>
                  <a:pt x="4773104" y="3214001"/>
                </a:lnTo>
                <a:lnTo>
                  <a:pt x="4732858" y="3228619"/>
                </a:lnTo>
                <a:lnTo>
                  <a:pt x="4697349" y="3251555"/>
                </a:lnTo>
                <a:lnTo>
                  <a:pt x="4667745" y="3281642"/>
                </a:lnTo>
                <a:lnTo>
                  <a:pt x="4645177" y="3317722"/>
                </a:lnTo>
                <a:lnTo>
                  <a:pt x="4630788" y="3358629"/>
                </a:lnTo>
                <a:lnTo>
                  <a:pt x="4625746" y="3403181"/>
                </a:lnTo>
                <a:lnTo>
                  <a:pt x="4630788" y="3447732"/>
                </a:lnTo>
                <a:lnTo>
                  <a:pt x="4645177" y="3488626"/>
                </a:lnTo>
                <a:lnTo>
                  <a:pt x="4667745" y="3524707"/>
                </a:lnTo>
                <a:lnTo>
                  <a:pt x="4697349" y="3554806"/>
                </a:lnTo>
                <a:lnTo>
                  <a:pt x="4732858" y="3577742"/>
                </a:lnTo>
                <a:lnTo>
                  <a:pt x="4773104" y="3592360"/>
                </a:lnTo>
                <a:lnTo>
                  <a:pt x="4816945" y="3597491"/>
                </a:lnTo>
                <a:lnTo>
                  <a:pt x="4841951" y="3594557"/>
                </a:lnTo>
                <a:lnTo>
                  <a:pt x="4841951" y="3211792"/>
                </a:lnTo>
                <a:close/>
              </a:path>
              <a:path w="4842509" h="4812030">
                <a:moveTo>
                  <a:pt x="4841951" y="1851342"/>
                </a:moveTo>
                <a:lnTo>
                  <a:pt x="4807712" y="1884832"/>
                </a:lnTo>
                <a:lnTo>
                  <a:pt x="4783315" y="1919909"/>
                </a:lnTo>
                <a:lnTo>
                  <a:pt x="4765014" y="1959063"/>
                </a:lnTo>
                <a:lnTo>
                  <a:pt x="4753534" y="2001583"/>
                </a:lnTo>
                <a:lnTo>
                  <a:pt x="4749546" y="2046757"/>
                </a:lnTo>
                <a:lnTo>
                  <a:pt x="4753534" y="2091944"/>
                </a:lnTo>
                <a:lnTo>
                  <a:pt x="4765014" y="2134463"/>
                </a:lnTo>
                <a:lnTo>
                  <a:pt x="4783315" y="2173617"/>
                </a:lnTo>
                <a:lnTo>
                  <a:pt x="4807712" y="2208695"/>
                </a:lnTo>
                <a:lnTo>
                  <a:pt x="4837519" y="2238997"/>
                </a:lnTo>
                <a:lnTo>
                  <a:pt x="4841951" y="2242185"/>
                </a:lnTo>
                <a:lnTo>
                  <a:pt x="4841951" y="1851342"/>
                </a:lnTo>
                <a:close/>
              </a:path>
              <a:path w="4842509" h="4812030">
                <a:moveTo>
                  <a:pt x="4841951" y="582485"/>
                </a:moveTo>
                <a:lnTo>
                  <a:pt x="4189387" y="582485"/>
                </a:lnTo>
                <a:lnTo>
                  <a:pt x="4140073" y="592455"/>
                </a:lnTo>
                <a:lnTo>
                  <a:pt x="4099814" y="619594"/>
                </a:lnTo>
                <a:lnTo>
                  <a:pt x="4072674" y="659866"/>
                </a:lnTo>
                <a:lnTo>
                  <a:pt x="4062730" y="709168"/>
                </a:lnTo>
                <a:lnTo>
                  <a:pt x="4072674" y="758482"/>
                </a:lnTo>
                <a:lnTo>
                  <a:pt x="4099814" y="798753"/>
                </a:lnTo>
                <a:lnTo>
                  <a:pt x="4140073" y="825906"/>
                </a:lnTo>
                <a:lnTo>
                  <a:pt x="4189387" y="835850"/>
                </a:lnTo>
                <a:lnTo>
                  <a:pt x="4767542" y="835850"/>
                </a:lnTo>
                <a:lnTo>
                  <a:pt x="4736668" y="873556"/>
                </a:lnTo>
                <a:lnTo>
                  <a:pt x="4705045" y="911199"/>
                </a:lnTo>
                <a:lnTo>
                  <a:pt x="4672723" y="948778"/>
                </a:lnTo>
                <a:lnTo>
                  <a:pt x="4639742" y="986294"/>
                </a:lnTo>
                <a:lnTo>
                  <a:pt x="4606137" y="1023747"/>
                </a:lnTo>
                <a:lnTo>
                  <a:pt x="4571949" y="1061110"/>
                </a:lnTo>
                <a:lnTo>
                  <a:pt x="4537214" y="1098384"/>
                </a:lnTo>
                <a:lnTo>
                  <a:pt x="4501985" y="1135583"/>
                </a:lnTo>
                <a:lnTo>
                  <a:pt x="4466285" y="1172667"/>
                </a:lnTo>
                <a:lnTo>
                  <a:pt x="4430166" y="1209662"/>
                </a:lnTo>
                <a:lnTo>
                  <a:pt x="4393654" y="1246543"/>
                </a:lnTo>
                <a:lnTo>
                  <a:pt x="4356811" y="1283309"/>
                </a:lnTo>
                <a:lnTo>
                  <a:pt x="4319663" y="1319961"/>
                </a:lnTo>
                <a:lnTo>
                  <a:pt x="4282249" y="1356474"/>
                </a:lnTo>
                <a:lnTo>
                  <a:pt x="4206786" y="1429118"/>
                </a:lnTo>
                <a:lnTo>
                  <a:pt x="4092625" y="1536966"/>
                </a:lnTo>
                <a:lnTo>
                  <a:pt x="3735552" y="1867319"/>
                </a:lnTo>
                <a:lnTo>
                  <a:pt x="3567468" y="2024532"/>
                </a:lnTo>
                <a:lnTo>
                  <a:pt x="3485985" y="2102446"/>
                </a:lnTo>
                <a:lnTo>
                  <a:pt x="3446056" y="2141245"/>
                </a:lnTo>
                <a:lnTo>
                  <a:pt x="3406711" y="2179929"/>
                </a:lnTo>
                <a:lnTo>
                  <a:pt x="3368014" y="2218512"/>
                </a:lnTo>
                <a:lnTo>
                  <a:pt x="3330003" y="2256993"/>
                </a:lnTo>
                <a:lnTo>
                  <a:pt x="3292716" y="2295372"/>
                </a:lnTo>
                <a:lnTo>
                  <a:pt x="3256216" y="2333663"/>
                </a:lnTo>
                <a:lnTo>
                  <a:pt x="3220529" y="2371852"/>
                </a:lnTo>
                <a:lnTo>
                  <a:pt x="3185718" y="2409952"/>
                </a:lnTo>
                <a:lnTo>
                  <a:pt x="3151809" y="2447963"/>
                </a:lnTo>
                <a:lnTo>
                  <a:pt x="3118866" y="2485885"/>
                </a:lnTo>
                <a:lnTo>
                  <a:pt x="3086925" y="2523731"/>
                </a:lnTo>
                <a:lnTo>
                  <a:pt x="3056039" y="2561488"/>
                </a:lnTo>
                <a:lnTo>
                  <a:pt x="3026245" y="2599169"/>
                </a:lnTo>
                <a:lnTo>
                  <a:pt x="2997581" y="2636761"/>
                </a:lnTo>
                <a:lnTo>
                  <a:pt x="2970111" y="2674289"/>
                </a:lnTo>
                <a:lnTo>
                  <a:pt x="2943860" y="2711742"/>
                </a:lnTo>
                <a:lnTo>
                  <a:pt x="2918904" y="2749118"/>
                </a:lnTo>
                <a:lnTo>
                  <a:pt x="2895257" y="2786430"/>
                </a:lnTo>
                <a:lnTo>
                  <a:pt x="2872981" y="2823680"/>
                </a:lnTo>
                <a:lnTo>
                  <a:pt x="2852102" y="2860865"/>
                </a:lnTo>
                <a:lnTo>
                  <a:pt x="2832697" y="2898000"/>
                </a:lnTo>
                <a:lnTo>
                  <a:pt x="2814790" y="2935059"/>
                </a:lnTo>
                <a:lnTo>
                  <a:pt x="2798432" y="2972066"/>
                </a:lnTo>
                <a:lnTo>
                  <a:pt x="2783662" y="3009023"/>
                </a:lnTo>
                <a:lnTo>
                  <a:pt x="2770543" y="3045930"/>
                </a:lnTo>
                <a:lnTo>
                  <a:pt x="2749334" y="3114700"/>
                </a:lnTo>
                <a:lnTo>
                  <a:pt x="2731732" y="3182582"/>
                </a:lnTo>
                <a:lnTo>
                  <a:pt x="2717584" y="3249536"/>
                </a:lnTo>
                <a:lnTo>
                  <a:pt x="2706751" y="3315551"/>
                </a:lnTo>
                <a:lnTo>
                  <a:pt x="2699054" y="3380562"/>
                </a:lnTo>
                <a:lnTo>
                  <a:pt x="2694368" y="3444557"/>
                </a:lnTo>
                <a:lnTo>
                  <a:pt x="2692539" y="3507486"/>
                </a:lnTo>
                <a:lnTo>
                  <a:pt x="2693416" y="3569322"/>
                </a:lnTo>
                <a:lnTo>
                  <a:pt x="2696845" y="3630015"/>
                </a:lnTo>
                <a:lnTo>
                  <a:pt x="2702687" y="3689553"/>
                </a:lnTo>
                <a:lnTo>
                  <a:pt x="2710777" y="3747884"/>
                </a:lnTo>
                <a:lnTo>
                  <a:pt x="2720975" y="3804970"/>
                </a:lnTo>
                <a:lnTo>
                  <a:pt x="2733116" y="3860787"/>
                </a:lnTo>
                <a:lnTo>
                  <a:pt x="2747073" y="3915295"/>
                </a:lnTo>
                <a:lnTo>
                  <a:pt x="2762681" y="3968458"/>
                </a:lnTo>
                <a:lnTo>
                  <a:pt x="2779801" y="4020235"/>
                </a:lnTo>
                <a:lnTo>
                  <a:pt x="2798267" y="4070591"/>
                </a:lnTo>
                <a:lnTo>
                  <a:pt x="2817952" y="4119499"/>
                </a:lnTo>
                <a:lnTo>
                  <a:pt x="2838678" y="4166908"/>
                </a:lnTo>
                <a:lnTo>
                  <a:pt x="2860319" y="4212806"/>
                </a:lnTo>
                <a:lnTo>
                  <a:pt x="2882709" y="4257129"/>
                </a:lnTo>
                <a:lnTo>
                  <a:pt x="2905709" y="4299864"/>
                </a:lnTo>
                <a:lnTo>
                  <a:pt x="2929166" y="4340974"/>
                </a:lnTo>
                <a:lnTo>
                  <a:pt x="2952927" y="4380408"/>
                </a:lnTo>
                <a:lnTo>
                  <a:pt x="2976854" y="4418139"/>
                </a:lnTo>
                <a:lnTo>
                  <a:pt x="3000768" y="4454131"/>
                </a:lnTo>
                <a:lnTo>
                  <a:pt x="3024555" y="4488345"/>
                </a:lnTo>
                <a:lnTo>
                  <a:pt x="3048038" y="4520755"/>
                </a:lnTo>
                <a:lnTo>
                  <a:pt x="3071076" y="4551324"/>
                </a:lnTo>
                <a:lnTo>
                  <a:pt x="3115233" y="4606772"/>
                </a:lnTo>
                <a:lnTo>
                  <a:pt x="3155810" y="4654410"/>
                </a:lnTo>
                <a:lnTo>
                  <a:pt x="3191624" y="4693945"/>
                </a:lnTo>
                <a:lnTo>
                  <a:pt x="3221456" y="4725098"/>
                </a:lnTo>
                <a:lnTo>
                  <a:pt x="3252393" y="4755489"/>
                </a:lnTo>
                <a:lnTo>
                  <a:pt x="3289871" y="4785195"/>
                </a:lnTo>
                <a:lnTo>
                  <a:pt x="3352101" y="4808791"/>
                </a:lnTo>
                <a:lnTo>
                  <a:pt x="3384816" y="4811725"/>
                </a:lnTo>
                <a:lnTo>
                  <a:pt x="3422065" y="4807928"/>
                </a:lnTo>
                <a:lnTo>
                  <a:pt x="3491369" y="4777714"/>
                </a:lnTo>
                <a:lnTo>
                  <a:pt x="3520922" y="4751438"/>
                </a:lnTo>
                <a:lnTo>
                  <a:pt x="3548837" y="4710963"/>
                </a:lnTo>
                <a:lnTo>
                  <a:pt x="3564598" y="4666081"/>
                </a:lnTo>
                <a:lnTo>
                  <a:pt x="3568331" y="4619295"/>
                </a:lnTo>
                <a:lnTo>
                  <a:pt x="3560165" y="4573067"/>
                </a:lnTo>
                <a:lnTo>
                  <a:pt x="3540239" y="4529861"/>
                </a:lnTo>
                <a:lnTo>
                  <a:pt x="3508654" y="4492129"/>
                </a:lnTo>
                <a:lnTo>
                  <a:pt x="3500399" y="4484382"/>
                </a:lnTo>
                <a:lnTo>
                  <a:pt x="3484295" y="4468546"/>
                </a:lnTo>
                <a:lnTo>
                  <a:pt x="3433026" y="4413796"/>
                </a:lnTo>
                <a:lnTo>
                  <a:pt x="3400107" y="4375455"/>
                </a:lnTo>
                <a:lnTo>
                  <a:pt x="3363798" y="4330217"/>
                </a:lnTo>
                <a:lnTo>
                  <a:pt x="3325253" y="4278363"/>
                </a:lnTo>
                <a:lnTo>
                  <a:pt x="3285566" y="4220172"/>
                </a:lnTo>
                <a:lnTo>
                  <a:pt x="3245878" y="4155960"/>
                </a:lnTo>
                <a:lnTo>
                  <a:pt x="3207283" y="4085996"/>
                </a:lnTo>
                <a:lnTo>
                  <a:pt x="3803065" y="4085996"/>
                </a:lnTo>
                <a:lnTo>
                  <a:pt x="3852380" y="4076039"/>
                </a:lnTo>
                <a:lnTo>
                  <a:pt x="3892639" y="4048887"/>
                </a:lnTo>
                <a:lnTo>
                  <a:pt x="3919766" y="4008628"/>
                </a:lnTo>
                <a:lnTo>
                  <a:pt x="3929723" y="3959314"/>
                </a:lnTo>
                <a:lnTo>
                  <a:pt x="3919766" y="3910012"/>
                </a:lnTo>
                <a:lnTo>
                  <a:pt x="3892639" y="3869740"/>
                </a:lnTo>
                <a:lnTo>
                  <a:pt x="3852380" y="3842588"/>
                </a:lnTo>
                <a:lnTo>
                  <a:pt x="3803065" y="3832631"/>
                </a:lnTo>
                <a:lnTo>
                  <a:pt x="3106051" y="3832631"/>
                </a:lnTo>
                <a:lnTo>
                  <a:pt x="3093821" y="3786289"/>
                </a:lnTo>
                <a:lnTo>
                  <a:pt x="3083318" y="3738765"/>
                </a:lnTo>
                <a:lnTo>
                  <a:pt x="3074657" y="3690099"/>
                </a:lnTo>
                <a:lnTo>
                  <a:pt x="3068002" y="3640340"/>
                </a:lnTo>
                <a:lnTo>
                  <a:pt x="3063494" y="3589528"/>
                </a:lnTo>
                <a:lnTo>
                  <a:pt x="3061284" y="3537686"/>
                </a:lnTo>
                <a:lnTo>
                  <a:pt x="4186415" y="3537686"/>
                </a:lnTo>
                <a:lnTo>
                  <a:pt x="4235729" y="3527742"/>
                </a:lnTo>
                <a:lnTo>
                  <a:pt x="4275988" y="3500590"/>
                </a:lnTo>
                <a:lnTo>
                  <a:pt x="4303128" y="3460318"/>
                </a:lnTo>
                <a:lnTo>
                  <a:pt x="4313072" y="3411004"/>
                </a:lnTo>
                <a:lnTo>
                  <a:pt x="4303128" y="3361702"/>
                </a:lnTo>
                <a:lnTo>
                  <a:pt x="4275988" y="3321431"/>
                </a:lnTo>
                <a:lnTo>
                  <a:pt x="4235729" y="3294291"/>
                </a:lnTo>
                <a:lnTo>
                  <a:pt x="4186415" y="3284321"/>
                </a:lnTo>
                <a:lnTo>
                  <a:pt x="3085935" y="3284321"/>
                </a:lnTo>
                <a:lnTo>
                  <a:pt x="3092831" y="3254083"/>
                </a:lnTo>
                <a:lnTo>
                  <a:pt x="3109315" y="3192983"/>
                </a:lnTo>
                <a:lnTo>
                  <a:pt x="3133902" y="3122079"/>
                </a:lnTo>
                <a:lnTo>
                  <a:pt x="3151809" y="3081401"/>
                </a:lnTo>
                <a:lnTo>
                  <a:pt x="3172637" y="3040075"/>
                </a:lnTo>
                <a:lnTo>
                  <a:pt x="3196209" y="2998165"/>
                </a:lnTo>
                <a:lnTo>
                  <a:pt x="3222371" y="2955658"/>
                </a:lnTo>
                <a:lnTo>
                  <a:pt x="3222929" y="2955658"/>
                </a:lnTo>
                <a:lnTo>
                  <a:pt x="3223450" y="2955823"/>
                </a:lnTo>
                <a:lnTo>
                  <a:pt x="4085818" y="2955823"/>
                </a:lnTo>
                <a:lnTo>
                  <a:pt x="4086631" y="2955658"/>
                </a:lnTo>
                <a:lnTo>
                  <a:pt x="4135132" y="2945866"/>
                </a:lnTo>
                <a:lnTo>
                  <a:pt x="4175391" y="2918714"/>
                </a:lnTo>
                <a:lnTo>
                  <a:pt x="4202519" y="2878455"/>
                </a:lnTo>
                <a:lnTo>
                  <a:pt x="4212475" y="2829141"/>
                </a:lnTo>
                <a:lnTo>
                  <a:pt x="4202519" y="2779839"/>
                </a:lnTo>
                <a:lnTo>
                  <a:pt x="4175391" y="2739567"/>
                </a:lnTo>
                <a:lnTo>
                  <a:pt x="4135132" y="2712415"/>
                </a:lnTo>
                <a:lnTo>
                  <a:pt x="4085818" y="2702458"/>
                </a:lnTo>
                <a:lnTo>
                  <a:pt x="3416541" y="2702458"/>
                </a:lnTo>
                <a:lnTo>
                  <a:pt x="3446754" y="2668371"/>
                </a:lnTo>
                <a:lnTo>
                  <a:pt x="3477958" y="2634030"/>
                </a:lnTo>
                <a:lnTo>
                  <a:pt x="3510102" y="2599436"/>
                </a:lnTo>
                <a:lnTo>
                  <a:pt x="3543135" y="2564612"/>
                </a:lnTo>
                <a:lnTo>
                  <a:pt x="3577018" y="2529548"/>
                </a:lnTo>
                <a:lnTo>
                  <a:pt x="3611702" y="2494267"/>
                </a:lnTo>
                <a:lnTo>
                  <a:pt x="3647122" y="2458758"/>
                </a:lnTo>
                <a:lnTo>
                  <a:pt x="3683254" y="2423045"/>
                </a:lnTo>
                <a:lnTo>
                  <a:pt x="3720046" y="2387117"/>
                </a:lnTo>
                <a:lnTo>
                  <a:pt x="3795395" y="2314702"/>
                </a:lnTo>
                <a:lnTo>
                  <a:pt x="3912184" y="2204707"/>
                </a:lnTo>
                <a:lnTo>
                  <a:pt x="4351325" y="1798180"/>
                </a:lnTo>
                <a:lnTo>
                  <a:pt x="4468863" y="1687245"/>
                </a:lnTo>
                <a:lnTo>
                  <a:pt x="4546206" y="1612912"/>
                </a:lnTo>
                <a:lnTo>
                  <a:pt x="4584484" y="1575625"/>
                </a:lnTo>
                <a:lnTo>
                  <a:pt x="4622444" y="1538236"/>
                </a:lnTo>
                <a:lnTo>
                  <a:pt x="4660087" y="1500771"/>
                </a:lnTo>
                <a:lnTo>
                  <a:pt x="4697361" y="1463205"/>
                </a:lnTo>
                <a:lnTo>
                  <a:pt x="4734242" y="1425549"/>
                </a:lnTo>
                <a:lnTo>
                  <a:pt x="4770691" y="1387792"/>
                </a:lnTo>
                <a:lnTo>
                  <a:pt x="4806696" y="1349933"/>
                </a:lnTo>
                <a:lnTo>
                  <a:pt x="4841951" y="1312240"/>
                </a:lnTo>
                <a:lnTo>
                  <a:pt x="4841951" y="582485"/>
                </a:lnTo>
                <a:close/>
              </a:path>
              <a:path w="4842509" h="4812030">
                <a:moveTo>
                  <a:pt x="4841951" y="7937"/>
                </a:moveTo>
                <a:lnTo>
                  <a:pt x="4133786" y="7937"/>
                </a:lnTo>
                <a:lnTo>
                  <a:pt x="4084472" y="17907"/>
                </a:lnTo>
                <a:lnTo>
                  <a:pt x="4044213" y="45046"/>
                </a:lnTo>
                <a:lnTo>
                  <a:pt x="4017073" y="85318"/>
                </a:lnTo>
                <a:lnTo>
                  <a:pt x="4007129" y="134620"/>
                </a:lnTo>
                <a:lnTo>
                  <a:pt x="4017073" y="183934"/>
                </a:lnTo>
                <a:lnTo>
                  <a:pt x="4044213" y="224205"/>
                </a:lnTo>
                <a:lnTo>
                  <a:pt x="4084472" y="251358"/>
                </a:lnTo>
                <a:lnTo>
                  <a:pt x="4133786" y="261315"/>
                </a:lnTo>
                <a:lnTo>
                  <a:pt x="4841951" y="261315"/>
                </a:lnTo>
                <a:lnTo>
                  <a:pt x="4841951" y="7937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9489945-D82B-16EA-87F9-4DB1AC09BCAB}"/>
              </a:ext>
            </a:extLst>
          </p:cNvPr>
          <p:cNvGrpSpPr/>
          <p:nvPr/>
        </p:nvGrpSpPr>
        <p:grpSpPr>
          <a:xfrm>
            <a:off x="9598" y="4557616"/>
            <a:ext cx="3097294" cy="2298207"/>
            <a:chOff x="9598" y="4557616"/>
            <a:chExt cx="3097294" cy="2298207"/>
          </a:xfrm>
        </p:grpSpPr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863EF05D-4F3C-2EAC-0BD4-17EC180015FD}"/>
                </a:ext>
              </a:extLst>
            </p:cNvPr>
            <p:cNvSpPr/>
            <p:nvPr/>
          </p:nvSpPr>
          <p:spPr>
            <a:xfrm>
              <a:off x="1316370" y="6327748"/>
              <a:ext cx="614398" cy="528026"/>
            </a:xfrm>
            <a:custGeom>
              <a:avLst/>
              <a:gdLst/>
              <a:ahLst/>
              <a:cxnLst/>
              <a:rect l="l" t="t" r="r" b="b"/>
              <a:pathLst>
                <a:path w="677544" h="582295">
                  <a:moveTo>
                    <a:pt x="166528" y="0"/>
                  </a:moveTo>
                  <a:lnTo>
                    <a:pt x="120868" y="10089"/>
                  </a:lnTo>
                  <a:lnTo>
                    <a:pt x="78669" y="31774"/>
                  </a:lnTo>
                  <a:lnTo>
                    <a:pt x="42356" y="64816"/>
                  </a:lnTo>
                  <a:lnTo>
                    <a:pt x="16032" y="106257"/>
                  </a:lnTo>
                  <a:lnTo>
                    <a:pt x="1987" y="151637"/>
                  </a:lnTo>
                  <a:lnTo>
                    <a:pt x="0" y="198494"/>
                  </a:lnTo>
                  <a:lnTo>
                    <a:pt x="9847" y="244368"/>
                  </a:lnTo>
                  <a:lnTo>
                    <a:pt x="31309" y="286798"/>
                  </a:lnTo>
                  <a:lnTo>
                    <a:pt x="64161" y="323324"/>
                  </a:lnTo>
                  <a:lnTo>
                    <a:pt x="72492" y="330740"/>
                  </a:lnTo>
                  <a:lnTo>
                    <a:pt x="89603" y="347032"/>
                  </a:lnTo>
                  <a:lnTo>
                    <a:pt x="143984" y="405507"/>
                  </a:lnTo>
                  <a:lnTo>
                    <a:pt x="178162" y="447320"/>
                  </a:lnTo>
                  <a:lnTo>
                    <a:pt x="214937" y="497272"/>
                  </a:lnTo>
                  <a:lnTo>
                    <a:pt x="252764" y="555177"/>
                  </a:lnTo>
                  <a:lnTo>
                    <a:pt x="267956" y="581905"/>
                  </a:lnTo>
                  <a:lnTo>
                    <a:pt x="676956" y="581905"/>
                  </a:lnTo>
                  <a:lnTo>
                    <a:pt x="654079" y="529010"/>
                  </a:lnTo>
                  <a:lnTo>
                    <a:pt x="630400" y="479497"/>
                  </a:lnTo>
                  <a:lnTo>
                    <a:pt x="605823" y="432480"/>
                  </a:lnTo>
                  <a:lnTo>
                    <a:pt x="580604" y="387985"/>
                  </a:lnTo>
                  <a:lnTo>
                    <a:pt x="555000" y="346039"/>
                  </a:lnTo>
                  <a:lnTo>
                    <a:pt x="529267" y="306670"/>
                  </a:lnTo>
                  <a:lnTo>
                    <a:pt x="503664" y="269906"/>
                  </a:lnTo>
                  <a:lnTo>
                    <a:pt x="478447" y="235772"/>
                  </a:lnTo>
                  <a:lnTo>
                    <a:pt x="453872" y="204296"/>
                  </a:lnTo>
                  <a:lnTo>
                    <a:pt x="407680" y="149427"/>
                  </a:lnTo>
                  <a:lnTo>
                    <a:pt x="367144" y="105516"/>
                  </a:lnTo>
                  <a:lnTo>
                    <a:pt x="334319" y="72781"/>
                  </a:lnTo>
                  <a:lnTo>
                    <a:pt x="300026" y="41702"/>
                  </a:lnTo>
                  <a:lnTo>
                    <a:pt x="258532" y="15566"/>
                  </a:lnTo>
                  <a:lnTo>
                    <a:pt x="213224" y="1745"/>
                  </a:lnTo>
                  <a:lnTo>
                    <a:pt x="16652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CB05B7DE-D1A8-92D2-6742-E486186D58AC}"/>
                </a:ext>
              </a:extLst>
            </p:cNvPr>
            <p:cNvSpPr/>
            <p:nvPr/>
          </p:nvSpPr>
          <p:spPr>
            <a:xfrm>
              <a:off x="809301" y="617207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B42D0B40-8726-CFF6-45C8-D6DD9073ADC5}"/>
                </a:ext>
              </a:extLst>
            </p:cNvPr>
            <p:cNvSpPr/>
            <p:nvPr/>
          </p:nvSpPr>
          <p:spPr>
            <a:xfrm>
              <a:off x="1879928" y="6007961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94932D03-1DB6-8192-A37F-9BC1EC4AD97E}"/>
                </a:ext>
              </a:extLst>
            </p:cNvPr>
            <p:cNvSpPr/>
            <p:nvPr/>
          </p:nvSpPr>
          <p:spPr>
            <a:xfrm>
              <a:off x="1755210" y="540721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870B1266-3B19-111C-D391-A0174B1E3628}"/>
                </a:ext>
              </a:extLst>
            </p:cNvPr>
            <p:cNvSpPr/>
            <p:nvPr/>
          </p:nvSpPr>
          <p:spPr>
            <a:xfrm>
              <a:off x="1088618" y="5550074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90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9">
              <a:extLst>
                <a:ext uri="{FF2B5EF4-FFF2-40B4-BE49-F238E27FC236}">
                  <a16:creationId xmlns:a16="http://schemas.microsoft.com/office/drawing/2014/main" id="{A1B8B559-FDDD-3768-BE13-48E60B67B738}"/>
                </a:ext>
              </a:extLst>
            </p:cNvPr>
            <p:cNvSpPr/>
            <p:nvPr/>
          </p:nvSpPr>
          <p:spPr>
            <a:xfrm>
              <a:off x="2464854" y="6493633"/>
              <a:ext cx="642038" cy="362190"/>
            </a:xfrm>
            <a:custGeom>
              <a:avLst/>
              <a:gdLst/>
              <a:ahLst/>
              <a:cxnLst/>
              <a:rect l="l" t="t" r="r" b="b"/>
              <a:pathLst>
                <a:path w="708025" h="399415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2602" y="398971"/>
                  </a:lnTo>
                  <a:lnTo>
                    <a:pt x="705193" y="398971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10">
              <a:extLst>
                <a:ext uri="{FF2B5EF4-FFF2-40B4-BE49-F238E27FC236}">
                  <a16:creationId xmlns:a16="http://schemas.microsoft.com/office/drawing/2014/main" id="{9412B5DB-583A-8967-5D35-7E8CFCA6F004}"/>
                </a:ext>
              </a:extLst>
            </p:cNvPr>
            <p:cNvSpPr/>
            <p:nvPr/>
          </p:nvSpPr>
          <p:spPr>
            <a:xfrm>
              <a:off x="871644" y="4706903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11">
              <a:extLst>
                <a:ext uri="{FF2B5EF4-FFF2-40B4-BE49-F238E27FC236}">
                  <a16:creationId xmlns:a16="http://schemas.microsoft.com/office/drawing/2014/main" id="{357063B8-8F24-016B-ED8E-8A23E93B516A}"/>
                </a:ext>
              </a:extLst>
            </p:cNvPr>
            <p:cNvSpPr/>
            <p:nvPr/>
          </p:nvSpPr>
          <p:spPr>
            <a:xfrm>
              <a:off x="9598" y="4557616"/>
              <a:ext cx="660464" cy="2298092"/>
            </a:xfrm>
            <a:custGeom>
              <a:avLst/>
              <a:gdLst/>
              <a:ahLst/>
              <a:cxnLst/>
              <a:rect l="l" t="t" r="r" b="b"/>
              <a:pathLst>
                <a:path w="728345" h="2534284">
                  <a:moveTo>
                    <a:pt x="339378" y="1250138"/>
                  </a:moveTo>
                  <a:lnTo>
                    <a:pt x="0" y="1250138"/>
                  </a:lnTo>
                  <a:lnTo>
                    <a:pt x="0" y="1503516"/>
                  </a:lnTo>
                  <a:lnTo>
                    <a:pt x="293099" y="1503516"/>
                  </a:lnTo>
                  <a:lnTo>
                    <a:pt x="275124" y="1549292"/>
                  </a:lnTo>
                  <a:lnTo>
                    <a:pt x="255196" y="1595118"/>
                  </a:lnTo>
                  <a:lnTo>
                    <a:pt x="233381" y="1640986"/>
                  </a:lnTo>
                  <a:lnTo>
                    <a:pt x="209742" y="1686883"/>
                  </a:lnTo>
                  <a:lnTo>
                    <a:pt x="184347" y="1732802"/>
                  </a:lnTo>
                  <a:lnTo>
                    <a:pt x="157259" y="1778731"/>
                  </a:lnTo>
                  <a:lnTo>
                    <a:pt x="128545" y="1824661"/>
                  </a:lnTo>
                  <a:lnTo>
                    <a:pt x="0" y="1824661"/>
                  </a:lnTo>
                  <a:lnTo>
                    <a:pt x="0" y="2533969"/>
                  </a:lnTo>
                  <a:lnTo>
                    <a:pt x="37168" y="2533969"/>
                  </a:lnTo>
                  <a:lnTo>
                    <a:pt x="53615" y="2516081"/>
                  </a:lnTo>
                  <a:lnTo>
                    <a:pt x="88081" y="2477894"/>
                  </a:lnTo>
                  <a:lnTo>
                    <a:pt x="121975" y="2439592"/>
                  </a:lnTo>
                  <a:lnTo>
                    <a:pt x="155266" y="2401172"/>
                  </a:lnTo>
                  <a:lnTo>
                    <a:pt x="187926" y="2362631"/>
                  </a:lnTo>
                  <a:lnTo>
                    <a:pt x="219923" y="2323966"/>
                  </a:lnTo>
                  <a:lnTo>
                    <a:pt x="251229" y="2285174"/>
                  </a:lnTo>
                  <a:lnTo>
                    <a:pt x="281814" y="2246251"/>
                  </a:lnTo>
                  <a:lnTo>
                    <a:pt x="311647" y="2207195"/>
                  </a:lnTo>
                  <a:lnTo>
                    <a:pt x="340699" y="2168003"/>
                  </a:lnTo>
                  <a:lnTo>
                    <a:pt x="368940" y="2128671"/>
                  </a:lnTo>
                  <a:lnTo>
                    <a:pt x="396340" y="2089196"/>
                  </a:lnTo>
                  <a:lnTo>
                    <a:pt x="422870" y="2049575"/>
                  </a:lnTo>
                  <a:lnTo>
                    <a:pt x="448500" y="2009806"/>
                  </a:lnTo>
                  <a:lnTo>
                    <a:pt x="473199" y="1969884"/>
                  </a:lnTo>
                  <a:lnTo>
                    <a:pt x="496938" y="1929807"/>
                  </a:lnTo>
                  <a:lnTo>
                    <a:pt x="519688" y="1889572"/>
                  </a:lnTo>
                  <a:lnTo>
                    <a:pt x="541417" y="1849176"/>
                  </a:lnTo>
                  <a:lnTo>
                    <a:pt x="562098" y="1808615"/>
                  </a:lnTo>
                  <a:lnTo>
                    <a:pt x="581699" y="1767887"/>
                  </a:lnTo>
                  <a:lnTo>
                    <a:pt x="600190" y="1726988"/>
                  </a:lnTo>
                  <a:lnTo>
                    <a:pt x="617543" y="1685916"/>
                  </a:lnTo>
                  <a:lnTo>
                    <a:pt x="633727" y="1644667"/>
                  </a:lnTo>
                  <a:lnTo>
                    <a:pt x="648713" y="1603237"/>
                  </a:lnTo>
                  <a:lnTo>
                    <a:pt x="662470" y="1561625"/>
                  </a:lnTo>
                  <a:lnTo>
                    <a:pt x="674969" y="1519827"/>
                  </a:lnTo>
                  <a:lnTo>
                    <a:pt x="686180" y="1477840"/>
                  </a:lnTo>
                  <a:lnTo>
                    <a:pt x="696072" y="1435660"/>
                  </a:lnTo>
                  <a:lnTo>
                    <a:pt x="704618" y="1393285"/>
                  </a:lnTo>
                  <a:lnTo>
                    <a:pt x="711785" y="1350711"/>
                  </a:lnTo>
                  <a:lnTo>
                    <a:pt x="717546" y="1307936"/>
                  </a:lnTo>
                  <a:lnTo>
                    <a:pt x="722689" y="1252323"/>
                  </a:lnTo>
                  <a:lnTo>
                    <a:pt x="353602" y="1252323"/>
                  </a:lnTo>
                  <a:lnTo>
                    <a:pt x="346541" y="1251103"/>
                  </a:lnTo>
                  <a:lnTo>
                    <a:pt x="339378" y="1250138"/>
                  </a:lnTo>
                  <a:close/>
                </a:path>
                <a:path w="728345" h="2534284">
                  <a:moveTo>
                    <a:pt x="109487" y="0"/>
                  </a:moveTo>
                  <a:lnTo>
                    <a:pt x="63837" y="10091"/>
                  </a:lnTo>
                  <a:lnTo>
                    <a:pt x="21648" y="31783"/>
                  </a:lnTo>
                  <a:lnTo>
                    <a:pt x="37" y="51456"/>
                  </a:lnTo>
                  <a:lnTo>
                    <a:pt x="0" y="315397"/>
                  </a:lnTo>
                  <a:lnTo>
                    <a:pt x="7146" y="323343"/>
                  </a:lnTo>
                  <a:lnTo>
                    <a:pt x="15476" y="330759"/>
                  </a:lnTo>
                  <a:lnTo>
                    <a:pt x="32587" y="347051"/>
                  </a:lnTo>
                  <a:lnTo>
                    <a:pt x="86967" y="405526"/>
                  </a:lnTo>
                  <a:lnTo>
                    <a:pt x="121144" y="447339"/>
                  </a:lnTo>
                  <a:lnTo>
                    <a:pt x="157917" y="497291"/>
                  </a:lnTo>
                  <a:lnTo>
                    <a:pt x="195742" y="555196"/>
                  </a:lnTo>
                  <a:lnTo>
                    <a:pt x="233071" y="620872"/>
                  </a:lnTo>
                  <a:lnTo>
                    <a:pt x="268359" y="694132"/>
                  </a:lnTo>
                  <a:lnTo>
                    <a:pt x="0" y="694132"/>
                  </a:lnTo>
                  <a:lnTo>
                    <a:pt x="0" y="947497"/>
                  </a:lnTo>
                  <a:lnTo>
                    <a:pt x="344547" y="947497"/>
                  </a:lnTo>
                  <a:lnTo>
                    <a:pt x="351547" y="994539"/>
                  </a:lnTo>
                  <a:lnTo>
                    <a:pt x="356566" y="1043098"/>
                  </a:lnTo>
                  <a:lnTo>
                    <a:pt x="359442" y="1093166"/>
                  </a:lnTo>
                  <a:lnTo>
                    <a:pt x="360014" y="1144733"/>
                  </a:lnTo>
                  <a:lnTo>
                    <a:pt x="358121" y="1197788"/>
                  </a:lnTo>
                  <a:lnTo>
                    <a:pt x="353602" y="1252323"/>
                  </a:lnTo>
                  <a:lnTo>
                    <a:pt x="722689" y="1252323"/>
                  </a:lnTo>
                  <a:lnTo>
                    <a:pt x="724699" y="1230596"/>
                  </a:lnTo>
                  <a:lnTo>
                    <a:pt x="727870" y="1155425"/>
                  </a:lnTo>
                  <a:lnTo>
                    <a:pt x="727315" y="1082452"/>
                  </a:lnTo>
                  <a:lnTo>
                    <a:pt x="723292" y="1011702"/>
                  </a:lnTo>
                  <a:lnTo>
                    <a:pt x="716057" y="943204"/>
                  </a:lnTo>
                  <a:lnTo>
                    <a:pt x="705867" y="876984"/>
                  </a:lnTo>
                  <a:lnTo>
                    <a:pt x="692980" y="813069"/>
                  </a:lnTo>
                  <a:lnTo>
                    <a:pt x="677652" y="751487"/>
                  </a:lnTo>
                  <a:lnTo>
                    <a:pt x="660140" y="692264"/>
                  </a:lnTo>
                  <a:lnTo>
                    <a:pt x="640702" y="635429"/>
                  </a:lnTo>
                  <a:lnTo>
                    <a:pt x="619593" y="581007"/>
                  </a:lnTo>
                  <a:lnTo>
                    <a:pt x="597072" y="529026"/>
                  </a:lnTo>
                  <a:lnTo>
                    <a:pt x="573395" y="479514"/>
                  </a:lnTo>
                  <a:lnTo>
                    <a:pt x="548819" y="432497"/>
                  </a:lnTo>
                  <a:lnTo>
                    <a:pt x="523601" y="388002"/>
                  </a:lnTo>
                  <a:lnTo>
                    <a:pt x="497998" y="346057"/>
                  </a:lnTo>
                  <a:lnTo>
                    <a:pt x="472267" y="306688"/>
                  </a:lnTo>
                  <a:lnTo>
                    <a:pt x="446665" y="269924"/>
                  </a:lnTo>
                  <a:lnTo>
                    <a:pt x="421449" y="235790"/>
                  </a:lnTo>
                  <a:lnTo>
                    <a:pt x="396875" y="204314"/>
                  </a:lnTo>
                  <a:lnTo>
                    <a:pt x="350685" y="149446"/>
                  </a:lnTo>
                  <a:lnTo>
                    <a:pt x="310151" y="105535"/>
                  </a:lnTo>
                  <a:lnTo>
                    <a:pt x="277327" y="72800"/>
                  </a:lnTo>
                  <a:lnTo>
                    <a:pt x="247047" y="45123"/>
                  </a:lnTo>
                  <a:lnTo>
                    <a:pt x="201504" y="15575"/>
                  </a:lnTo>
                  <a:lnTo>
                    <a:pt x="156182" y="1748"/>
                  </a:lnTo>
                  <a:lnTo>
                    <a:pt x="10948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346" y="593213"/>
            <a:ext cx="8915844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5996" y="1882770"/>
            <a:ext cx="8915844" cy="3872235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6162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2128614"/>
      </p:ext>
    </p:extLst>
  </p:cSld>
  <p:clrMapOvr>
    <a:masterClrMapping/>
  </p:clrMapOvr>
  <p:hf sldNum="0"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16" name="object 9">
            <a:extLst>
              <a:ext uri="{FF2B5EF4-FFF2-40B4-BE49-F238E27FC236}">
                <a16:creationId xmlns:a16="http://schemas.microsoft.com/office/drawing/2014/main" id="{74EB452A-3F34-E4BC-36A1-B9E06407DD9D}"/>
              </a:ext>
            </a:extLst>
          </p:cNvPr>
          <p:cNvSpPr/>
          <p:nvPr/>
        </p:nvSpPr>
        <p:spPr>
          <a:xfrm rot="10800000">
            <a:off x="8177366" y="3758779"/>
            <a:ext cx="3694477" cy="4834083"/>
          </a:xfrm>
          <a:custGeom>
            <a:avLst/>
            <a:gdLst/>
            <a:ahLst/>
            <a:cxnLst/>
            <a:rect l="l" t="t" r="r" b="b"/>
            <a:pathLst>
              <a:path w="3693795" h="4721860">
                <a:moveTo>
                  <a:pt x="985329" y="60604"/>
                </a:moveTo>
                <a:lnTo>
                  <a:pt x="977315" y="10096"/>
                </a:lnTo>
                <a:lnTo>
                  <a:pt x="972172" y="0"/>
                </a:lnTo>
                <a:lnTo>
                  <a:pt x="684009" y="0"/>
                </a:lnTo>
                <a:lnTo>
                  <a:pt x="678865" y="10096"/>
                </a:lnTo>
                <a:lnTo>
                  <a:pt x="670852" y="60604"/>
                </a:lnTo>
                <a:lnTo>
                  <a:pt x="678865" y="111112"/>
                </a:lnTo>
                <a:lnTo>
                  <a:pt x="701192" y="154978"/>
                </a:lnTo>
                <a:lnTo>
                  <a:pt x="735228" y="189572"/>
                </a:lnTo>
                <a:lnTo>
                  <a:pt x="778395" y="212255"/>
                </a:lnTo>
                <a:lnTo>
                  <a:pt x="828090" y="220395"/>
                </a:lnTo>
                <a:lnTo>
                  <a:pt x="877785" y="212255"/>
                </a:lnTo>
                <a:lnTo>
                  <a:pt x="920953" y="189572"/>
                </a:lnTo>
                <a:lnTo>
                  <a:pt x="954989" y="154978"/>
                </a:lnTo>
                <a:lnTo>
                  <a:pt x="977315" y="111112"/>
                </a:lnTo>
                <a:lnTo>
                  <a:pt x="985329" y="60604"/>
                </a:lnTo>
                <a:close/>
              </a:path>
              <a:path w="3693795" h="4721860">
                <a:moveTo>
                  <a:pt x="1194587" y="628446"/>
                </a:moveTo>
                <a:lnTo>
                  <a:pt x="1189532" y="583895"/>
                </a:lnTo>
                <a:lnTo>
                  <a:pt x="1175143" y="543001"/>
                </a:lnTo>
                <a:lnTo>
                  <a:pt x="1152575" y="506920"/>
                </a:lnTo>
                <a:lnTo>
                  <a:pt x="1122972" y="476821"/>
                </a:lnTo>
                <a:lnTo>
                  <a:pt x="1087462" y="453885"/>
                </a:lnTo>
                <a:lnTo>
                  <a:pt x="1047229" y="439267"/>
                </a:lnTo>
                <a:lnTo>
                  <a:pt x="1003388" y="434136"/>
                </a:lnTo>
                <a:lnTo>
                  <a:pt x="959548" y="439267"/>
                </a:lnTo>
                <a:lnTo>
                  <a:pt x="919302" y="453885"/>
                </a:lnTo>
                <a:lnTo>
                  <a:pt x="883805" y="476821"/>
                </a:lnTo>
                <a:lnTo>
                  <a:pt x="854189" y="506920"/>
                </a:lnTo>
                <a:lnTo>
                  <a:pt x="831621" y="543001"/>
                </a:lnTo>
                <a:lnTo>
                  <a:pt x="817232" y="583895"/>
                </a:lnTo>
                <a:lnTo>
                  <a:pt x="812190" y="628446"/>
                </a:lnTo>
                <a:lnTo>
                  <a:pt x="817232" y="672998"/>
                </a:lnTo>
                <a:lnTo>
                  <a:pt x="831621" y="713905"/>
                </a:lnTo>
                <a:lnTo>
                  <a:pt x="854189" y="749973"/>
                </a:lnTo>
                <a:lnTo>
                  <a:pt x="883805" y="780072"/>
                </a:lnTo>
                <a:lnTo>
                  <a:pt x="919302" y="803008"/>
                </a:lnTo>
                <a:lnTo>
                  <a:pt x="959548" y="817626"/>
                </a:lnTo>
                <a:lnTo>
                  <a:pt x="1003388" y="822756"/>
                </a:lnTo>
                <a:lnTo>
                  <a:pt x="1047229" y="817626"/>
                </a:lnTo>
                <a:lnTo>
                  <a:pt x="1087462" y="803008"/>
                </a:lnTo>
                <a:lnTo>
                  <a:pt x="1122972" y="780072"/>
                </a:lnTo>
                <a:lnTo>
                  <a:pt x="1152575" y="749973"/>
                </a:lnTo>
                <a:lnTo>
                  <a:pt x="1175143" y="713905"/>
                </a:lnTo>
                <a:lnTo>
                  <a:pt x="1189532" y="672998"/>
                </a:lnTo>
                <a:lnTo>
                  <a:pt x="1194587" y="628446"/>
                </a:lnTo>
                <a:close/>
              </a:path>
              <a:path w="3693795" h="4721860">
                <a:moveTo>
                  <a:pt x="2110397" y="2736418"/>
                </a:moveTo>
                <a:lnTo>
                  <a:pt x="2105355" y="2691866"/>
                </a:lnTo>
                <a:lnTo>
                  <a:pt x="2090966" y="2650960"/>
                </a:lnTo>
                <a:lnTo>
                  <a:pt x="2068398" y="2614892"/>
                </a:lnTo>
                <a:lnTo>
                  <a:pt x="2038781" y="2584793"/>
                </a:lnTo>
                <a:lnTo>
                  <a:pt x="2003285" y="2561856"/>
                </a:lnTo>
                <a:lnTo>
                  <a:pt x="1963039" y="2547239"/>
                </a:lnTo>
                <a:lnTo>
                  <a:pt x="1919198" y="2542108"/>
                </a:lnTo>
                <a:lnTo>
                  <a:pt x="1875358" y="2547239"/>
                </a:lnTo>
                <a:lnTo>
                  <a:pt x="1835111" y="2561856"/>
                </a:lnTo>
                <a:lnTo>
                  <a:pt x="1799615" y="2584793"/>
                </a:lnTo>
                <a:lnTo>
                  <a:pt x="1770011" y="2614892"/>
                </a:lnTo>
                <a:lnTo>
                  <a:pt x="1747431" y="2650960"/>
                </a:lnTo>
                <a:lnTo>
                  <a:pt x="1733054" y="2691866"/>
                </a:lnTo>
                <a:lnTo>
                  <a:pt x="1728000" y="2736418"/>
                </a:lnTo>
                <a:lnTo>
                  <a:pt x="1733054" y="2780969"/>
                </a:lnTo>
                <a:lnTo>
                  <a:pt x="1747431" y="2821863"/>
                </a:lnTo>
                <a:lnTo>
                  <a:pt x="1770011" y="2857944"/>
                </a:lnTo>
                <a:lnTo>
                  <a:pt x="1799615" y="2888043"/>
                </a:lnTo>
                <a:lnTo>
                  <a:pt x="1835111" y="2910979"/>
                </a:lnTo>
                <a:lnTo>
                  <a:pt x="1875358" y="2925597"/>
                </a:lnTo>
                <a:lnTo>
                  <a:pt x="1919198" y="2930728"/>
                </a:lnTo>
                <a:lnTo>
                  <a:pt x="1963039" y="2925597"/>
                </a:lnTo>
                <a:lnTo>
                  <a:pt x="2003285" y="2910979"/>
                </a:lnTo>
                <a:lnTo>
                  <a:pt x="2038781" y="2888043"/>
                </a:lnTo>
                <a:lnTo>
                  <a:pt x="2068398" y="2857944"/>
                </a:lnTo>
                <a:lnTo>
                  <a:pt x="2090966" y="2821863"/>
                </a:lnTo>
                <a:lnTo>
                  <a:pt x="2105355" y="2780969"/>
                </a:lnTo>
                <a:lnTo>
                  <a:pt x="2110397" y="2736418"/>
                </a:lnTo>
                <a:close/>
              </a:path>
              <a:path w="3693795" h="4721860">
                <a:moveTo>
                  <a:pt x="2315591" y="3313163"/>
                </a:moveTo>
                <a:lnTo>
                  <a:pt x="2310536" y="3268611"/>
                </a:lnTo>
                <a:lnTo>
                  <a:pt x="2296160" y="3227717"/>
                </a:lnTo>
                <a:lnTo>
                  <a:pt x="2273592" y="3191637"/>
                </a:lnTo>
                <a:lnTo>
                  <a:pt x="2243975" y="3161538"/>
                </a:lnTo>
                <a:lnTo>
                  <a:pt x="2208479" y="3138601"/>
                </a:lnTo>
                <a:lnTo>
                  <a:pt x="2168233" y="3123984"/>
                </a:lnTo>
                <a:lnTo>
                  <a:pt x="2124392" y="3118853"/>
                </a:lnTo>
                <a:lnTo>
                  <a:pt x="2080552" y="3123984"/>
                </a:lnTo>
                <a:lnTo>
                  <a:pt x="2040305" y="3138601"/>
                </a:lnTo>
                <a:lnTo>
                  <a:pt x="2004809" y="3161538"/>
                </a:lnTo>
                <a:lnTo>
                  <a:pt x="1975192" y="3191637"/>
                </a:lnTo>
                <a:lnTo>
                  <a:pt x="1952625" y="3227717"/>
                </a:lnTo>
                <a:lnTo>
                  <a:pt x="1938235" y="3268611"/>
                </a:lnTo>
                <a:lnTo>
                  <a:pt x="1933194" y="3313163"/>
                </a:lnTo>
                <a:lnTo>
                  <a:pt x="1938235" y="3357715"/>
                </a:lnTo>
                <a:lnTo>
                  <a:pt x="1952625" y="3398621"/>
                </a:lnTo>
                <a:lnTo>
                  <a:pt x="1975192" y="3434689"/>
                </a:lnTo>
                <a:lnTo>
                  <a:pt x="2004809" y="3464788"/>
                </a:lnTo>
                <a:lnTo>
                  <a:pt x="2040305" y="3487724"/>
                </a:lnTo>
                <a:lnTo>
                  <a:pt x="2080552" y="3502342"/>
                </a:lnTo>
                <a:lnTo>
                  <a:pt x="2124392" y="3507473"/>
                </a:lnTo>
                <a:lnTo>
                  <a:pt x="2168233" y="3502342"/>
                </a:lnTo>
                <a:lnTo>
                  <a:pt x="2208479" y="3487724"/>
                </a:lnTo>
                <a:lnTo>
                  <a:pt x="2243975" y="3464788"/>
                </a:lnTo>
                <a:lnTo>
                  <a:pt x="2273592" y="3434689"/>
                </a:lnTo>
                <a:lnTo>
                  <a:pt x="2296160" y="3398621"/>
                </a:lnTo>
                <a:lnTo>
                  <a:pt x="2310536" y="3357715"/>
                </a:lnTo>
                <a:lnTo>
                  <a:pt x="2315591" y="3313163"/>
                </a:lnTo>
                <a:close/>
              </a:path>
              <a:path w="3693795" h="4721860">
                <a:moveTo>
                  <a:pt x="2551633" y="1956752"/>
                </a:moveTo>
                <a:lnTo>
                  <a:pt x="2547645" y="1911578"/>
                </a:lnTo>
                <a:lnTo>
                  <a:pt x="2536164" y="1869046"/>
                </a:lnTo>
                <a:lnTo>
                  <a:pt x="2517864" y="1829892"/>
                </a:lnTo>
                <a:lnTo>
                  <a:pt x="2493467" y="1794814"/>
                </a:lnTo>
                <a:lnTo>
                  <a:pt x="2463660" y="1764525"/>
                </a:lnTo>
                <a:lnTo>
                  <a:pt x="2429141" y="1739722"/>
                </a:lnTo>
                <a:lnTo>
                  <a:pt x="2390610" y="1721129"/>
                </a:lnTo>
                <a:lnTo>
                  <a:pt x="2348776" y="1709458"/>
                </a:lnTo>
                <a:lnTo>
                  <a:pt x="2304313" y="1705406"/>
                </a:lnTo>
                <a:lnTo>
                  <a:pt x="2259863" y="1709458"/>
                </a:lnTo>
                <a:lnTo>
                  <a:pt x="2218017" y="1721129"/>
                </a:lnTo>
                <a:lnTo>
                  <a:pt x="2179485" y="1739722"/>
                </a:lnTo>
                <a:lnTo>
                  <a:pt x="2144966" y="1764525"/>
                </a:lnTo>
                <a:lnTo>
                  <a:pt x="2115159" y="1794814"/>
                </a:lnTo>
                <a:lnTo>
                  <a:pt x="2090762" y="1829892"/>
                </a:lnTo>
                <a:lnTo>
                  <a:pt x="2072474" y="1869046"/>
                </a:lnTo>
                <a:lnTo>
                  <a:pt x="2060981" y="1911578"/>
                </a:lnTo>
                <a:lnTo>
                  <a:pt x="2056993" y="1956752"/>
                </a:lnTo>
                <a:lnTo>
                  <a:pt x="2060981" y="2001926"/>
                </a:lnTo>
                <a:lnTo>
                  <a:pt x="2072474" y="2044458"/>
                </a:lnTo>
                <a:lnTo>
                  <a:pt x="2090762" y="2083612"/>
                </a:lnTo>
                <a:lnTo>
                  <a:pt x="2115159" y="2118690"/>
                </a:lnTo>
                <a:lnTo>
                  <a:pt x="2144966" y="2148979"/>
                </a:lnTo>
                <a:lnTo>
                  <a:pt x="2179485" y="2173782"/>
                </a:lnTo>
                <a:lnTo>
                  <a:pt x="2218017" y="2192375"/>
                </a:lnTo>
                <a:lnTo>
                  <a:pt x="2259863" y="2204047"/>
                </a:lnTo>
                <a:lnTo>
                  <a:pt x="2304313" y="2208098"/>
                </a:lnTo>
                <a:lnTo>
                  <a:pt x="2348776" y="2204047"/>
                </a:lnTo>
                <a:lnTo>
                  <a:pt x="2390610" y="2192375"/>
                </a:lnTo>
                <a:lnTo>
                  <a:pt x="2429141" y="2173782"/>
                </a:lnTo>
                <a:lnTo>
                  <a:pt x="2463660" y="2148979"/>
                </a:lnTo>
                <a:lnTo>
                  <a:pt x="2493467" y="2118690"/>
                </a:lnTo>
                <a:lnTo>
                  <a:pt x="2517864" y="2083612"/>
                </a:lnTo>
                <a:lnTo>
                  <a:pt x="2536164" y="2044458"/>
                </a:lnTo>
                <a:lnTo>
                  <a:pt x="2547645" y="2001926"/>
                </a:lnTo>
                <a:lnTo>
                  <a:pt x="2551633" y="1956752"/>
                </a:lnTo>
                <a:close/>
              </a:path>
              <a:path w="3693795" h="4721860">
                <a:moveTo>
                  <a:pt x="2845346" y="10020"/>
                </a:moveTo>
                <a:lnTo>
                  <a:pt x="1323581" y="10020"/>
                </a:lnTo>
                <a:lnTo>
                  <a:pt x="1314577" y="48120"/>
                </a:lnTo>
                <a:lnTo>
                  <a:pt x="1324521" y="98920"/>
                </a:lnTo>
                <a:lnTo>
                  <a:pt x="1351661" y="137020"/>
                </a:lnTo>
                <a:lnTo>
                  <a:pt x="1391920" y="162420"/>
                </a:lnTo>
                <a:lnTo>
                  <a:pt x="1441234" y="175120"/>
                </a:lnTo>
                <a:lnTo>
                  <a:pt x="2424163" y="175120"/>
                </a:lnTo>
                <a:lnTo>
                  <a:pt x="2406192" y="225920"/>
                </a:lnTo>
                <a:lnTo>
                  <a:pt x="2386253" y="264020"/>
                </a:lnTo>
                <a:lnTo>
                  <a:pt x="2364435" y="314820"/>
                </a:lnTo>
                <a:lnTo>
                  <a:pt x="2340800" y="365620"/>
                </a:lnTo>
                <a:lnTo>
                  <a:pt x="2315400" y="403720"/>
                </a:lnTo>
                <a:lnTo>
                  <a:pt x="2288298" y="454520"/>
                </a:lnTo>
                <a:lnTo>
                  <a:pt x="2259584" y="492620"/>
                </a:lnTo>
                <a:lnTo>
                  <a:pt x="1496834" y="492620"/>
                </a:lnTo>
                <a:lnTo>
                  <a:pt x="1447520" y="505320"/>
                </a:lnTo>
                <a:lnTo>
                  <a:pt x="1407261" y="530720"/>
                </a:lnTo>
                <a:lnTo>
                  <a:pt x="1380121" y="581520"/>
                </a:lnTo>
                <a:lnTo>
                  <a:pt x="1370177" y="619620"/>
                </a:lnTo>
                <a:lnTo>
                  <a:pt x="1380121" y="670420"/>
                </a:lnTo>
                <a:lnTo>
                  <a:pt x="1407261" y="721220"/>
                </a:lnTo>
                <a:lnTo>
                  <a:pt x="1447520" y="746620"/>
                </a:lnTo>
                <a:lnTo>
                  <a:pt x="2074989" y="746620"/>
                </a:lnTo>
                <a:lnTo>
                  <a:pt x="2044115" y="784720"/>
                </a:lnTo>
                <a:lnTo>
                  <a:pt x="2012492" y="822820"/>
                </a:lnTo>
                <a:lnTo>
                  <a:pt x="1980171" y="860920"/>
                </a:lnTo>
                <a:lnTo>
                  <a:pt x="1947189" y="899020"/>
                </a:lnTo>
                <a:lnTo>
                  <a:pt x="1913585" y="937120"/>
                </a:lnTo>
                <a:lnTo>
                  <a:pt x="1879396" y="975220"/>
                </a:lnTo>
                <a:lnTo>
                  <a:pt x="1844662" y="1013320"/>
                </a:lnTo>
                <a:lnTo>
                  <a:pt x="1809432" y="1051420"/>
                </a:lnTo>
                <a:lnTo>
                  <a:pt x="1773732" y="1089520"/>
                </a:lnTo>
                <a:lnTo>
                  <a:pt x="1737614" y="1127620"/>
                </a:lnTo>
                <a:lnTo>
                  <a:pt x="1701114" y="1165720"/>
                </a:lnTo>
                <a:lnTo>
                  <a:pt x="1627111" y="1241920"/>
                </a:lnTo>
                <a:lnTo>
                  <a:pt x="1589697" y="1267320"/>
                </a:lnTo>
                <a:lnTo>
                  <a:pt x="1400073" y="1457820"/>
                </a:lnTo>
                <a:lnTo>
                  <a:pt x="1361909" y="1483220"/>
                </a:lnTo>
                <a:lnTo>
                  <a:pt x="1247686" y="1597520"/>
                </a:lnTo>
                <a:lnTo>
                  <a:pt x="1128903" y="1699120"/>
                </a:lnTo>
                <a:lnTo>
                  <a:pt x="1085837" y="1749920"/>
                </a:lnTo>
                <a:lnTo>
                  <a:pt x="958227" y="1864220"/>
                </a:lnTo>
                <a:lnTo>
                  <a:pt x="874915" y="1940420"/>
                </a:lnTo>
                <a:lnTo>
                  <a:pt x="833920" y="1978520"/>
                </a:lnTo>
                <a:lnTo>
                  <a:pt x="793445" y="2016620"/>
                </a:lnTo>
                <a:lnTo>
                  <a:pt x="753503" y="2054720"/>
                </a:lnTo>
                <a:lnTo>
                  <a:pt x="714159" y="2092820"/>
                </a:lnTo>
                <a:lnTo>
                  <a:pt x="675462" y="2130920"/>
                </a:lnTo>
                <a:lnTo>
                  <a:pt x="637451" y="2169020"/>
                </a:lnTo>
                <a:lnTo>
                  <a:pt x="600176" y="2207120"/>
                </a:lnTo>
                <a:lnTo>
                  <a:pt x="563664" y="2245220"/>
                </a:lnTo>
                <a:lnTo>
                  <a:pt x="527977" y="2283320"/>
                </a:lnTo>
                <a:lnTo>
                  <a:pt x="493166" y="2321420"/>
                </a:lnTo>
                <a:lnTo>
                  <a:pt x="459270" y="2359520"/>
                </a:lnTo>
                <a:lnTo>
                  <a:pt x="426326" y="2397620"/>
                </a:lnTo>
                <a:lnTo>
                  <a:pt x="394373" y="2435720"/>
                </a:lnTo>
                <a:lnTo>
                  <a:pt x="363486" y="2473820"/>
                </a:lnTo>
                <a:lnTo>
                  <a:pt x="333692" y="2511920"/>
                </a:lnTo>
                <a:lnTo>
                  <a:pt x="305028" y="2550020"/>
                </a:lnTo>
                <a:lnTo>
                  <a:pt x="277558" y="2588120"/>
                </a:lnTo>
                <a:lnTo>
                  <a:pt x="251320" y="2626220"/>
                </a:lnTo>
                <a:lnTo>
                  <a:pt x="226352" y="2664320"/>
                </a:lnTo>
                <a:lnTo>
                  <a:pt x="202704" y="2702420"/>
                </a:lnTo>
                <a:lnTo>
                  <a:pt x="180428" y="2740520"/>
                </a:lnTo>
                <a:lnTo>
                  <a:pt x="159562" y="2778620"/>
                </a:lnTo>
                <a:lnTo>
                  <a:pt x="140144" y="2816720"/>
                </a:lnTo>
                <a:lnTo>
                  <a:pt x="122237" y="2854820"/>
                </a:lnTo>
                <a:lnTo>
                  <a:pt x="105879" y="2892920"/>
                </a:lnTo>
                <a:lnTo>
                  <a:pt x="91122" y="2931020"/>
                </a:lnTo>
                <a:lnTo>
                  <a:pt x="77990" y="2956420"/>
                </a:lnTo>
                <a:lnTo>
                  <a:pt x="56781" y="3032620"/>
                </a:lnTo>
                <a:lnTo>
                  <a:pt x="39179" y="3096120"/>
                </a:lnTo>
                <a:lnTo>
                  <a:pt x="25031" y="3159620"/>
                </a:lnTo>
                <a:lnTo>
                  <a:pt x="14198" y="3235820"/>
                </a:lnTo>
                <a:lnTo>
                  <a:pt x="6502" y="3299320"/>
                </a:lnTo>
                <a:lnTo>
                  <a:pt x="1828" y="3362820"/>
                </a:lnTo>
                <a:lnTo>
                  <a:pt x="0" y="3426320"/>
                </a:lnTo>
                <a:lnTo>
                  <a:pt x="863" y="3489820"/>
                </a:lnTo>
                <a:lnTo>
                  <a:pt x="4305" y="3540620"/>
                </a:lnTo>
                <a:lnTo>
                  <a:pt x="10134" y="3604120"/>
                </a:lnTo>
                <a:lnTo>
                  <a:pt x="18224" y="3667620"/>
                </a:lnTo>
                <a:lnTo>
                  <a:pt x="28422" y="3718420"/>
                </a:lnTo>
                <a:lnTo>
                  <a:pt x="40576" y="3781920"/>
                </a:lnTo>
                <a:lnTo>
                  <a:pt x="54521" y="3832720"/>
                </a:lnTo>
                <a:lnTo>
                  <a:pt x="70142" y="3883520"/>
                </a:lnTo>
                <a:lnTo>
                  <a:pt x="87249" y="3934320"/>
                </a:lnTo>
                <a:lnTo>
                  <a:pt x="105727" y="3985120"/>
                </a:lnTo>
                <a:lnTo>
                  <a:pt x="125399" y="4035920"/>
                </a:lnTo>
                <a:lnTo>
                  <a:pt x="146138" y="4086720"/>
                </a:lnTo>
                <a:lnTo>
                  <a:pt x="167767" y="4124820"/>
                </a:lnTo>
                <a:lnTo>
                  <a:pt x="190169" y="4175620"/>
                </a:lnTo>
                <a:lnTo>
                  <a:pt x="213169" y="4213720"/>
                </a:lnTo>
                <a:lnTo>
                  <a:pt x="236613" y="4251820"/>
                </a:lnTo>
                <a:lnTo>
                  <a:pt x="260375" y="4302620"/>
                </a:lnTo>
                <a:lnTo>
                  <a:pt x="284302" y="4340720"/>
                </a:lnTo>
                <a:lnTo>
                  <a:pt x="308216" y="4366120"/>
                </a:lnTo>
                <a:lnTo>
                  <a:pt x="332003" y="4404220"/>
                </a:lnTo>
                <a:lnTo>
                  <a:pt x="355485" y="4442320"/>
                </a:lnTo>
                <a:lnTo>
                  <a:pt x="378536" y="4467720"/>
                </a:lnTo>
                <a:lnTo>
                  <a:pt x="400977" y="4493120"/>
                </a:lnTo>
                <a:lnTo>
                  <a:pt x="422681" y="4518520"/>
                </a:lnTo>
                <a:lnTo>
                  <a:pt x="443496" y="4543920"/>
                </a:lnTo>
                <a:lnTo>
                  <a:pt x="463270" y="4569320"/>
                </a:lnTo>
                <a:lnTo>
                  <a:pt x="481838" y="4594720"/>
                </a:lnTo>
                <a:lnTo>
                  <a:pt x="499071" y="4607420"/>
                </a:lnTo>
                <a:lnTo>
                  <a:pt x="514807" y="4632820"/>
                </a:lnTo>
                <a:lnTo>
                  <a:pt x="528904" y="4645520"/>
                </a:lnTo>
                <a:lnTo>
                  <a:pt x="541210" y="4658220"/>
                </a:lnTo>
                <a:lnTo>
                  <a:pt x="551573" y="4658220"/>
                </a:lnTo>
                <a:lnTo>
                  <a:pt x="559841" y="4670920"/>
                </a:lnTo>
                <a:lnTo>
                  <a:pt x="565861" y="4683620"/>
                </a:lnTo>
                <a:lnTo>
                  <a:pt x="569493" y="4683620"/>
                </a:lnTo>
                <a:lnTo>
                  <a:pt x="597319" y="4696320"/>
                </a:lnTo>
                <a:lnTo>
                  <a:pt x="627621" y="4721720"/>
                </a:lnTo>
                <a:lnTo>
                  <a:pt x="729513" y="4721720"/>
                </a:lnTo>
                <a:lnTo>
                  <a:pt x="765454" y="4709020"/>
                </a:lnTo>
                <a:lnTo>
                  <a:pt x="828370" y="4670920"/>
                </a:lnTo>
                <a:lnTo>
                  <a:pt x="856284" y="4632820"/>
                </a:lnTo>
                <a:lnTo>
                  <a:pt x="872045" y="4582020"/>
                </a:lnTo>
                <a:lnTo>
                  <a:pt x="875779" y="4531220"/>
                </a:lnTo>
                <a:lnTo>
                  <a:pt x="867625" y="4493120"/>
                </a:lnTo>
                <a:lnTo>
                  <a:pt x="847686" y="4442320"/>
                </a:lnTo>
                <a:lnTo>
                  <a:pt x="816102" y="4404220"/>
                </a:lnTo>
                <a:lnTo>
                  <a:pt x="807847" y="4404220"/>
                </a:lnTo>
                <a:lnTo>
                  <a:pt x="791743" y="4378820"/>
                </a:lnTo>
                <a:lnTo>
                  <a:pt x="768921" y="4366120"/>
                </a:lnTo>
                <a:lnTo>
                  <a:pt x="740473" y="4328020"/>
                </a:lnTo>
                <a:lnTo>
                  <a:pt x="707555" y="4289920"/>
                </a:lnTo>
                <a:lnTo>
                  <a:pt x="671258" y="4251820"/>
                </a:lnTo>
                <a:lnTo>
                  <a:pt x="632701" y="4201020"/>
                </a:lnTo>
                <a:lnTo>
                  <a:pt x="553326" y="4074020"/>
                </a:lnTo>
                <a:lnTo>
                  <a:pt x="514731" y="3997820"/>
                </a:lnTo>
                <a:lnTo>
                  <a:pt x="1159827" y="3997820"/>
                </a:lnTo>
                <a:lnTo>
                  <a:pt x="1200086" y="3959720"/>
                </a:lnTo>
                <a:lnTo>
                  <a:pt x="1227226" y="3921620"/>
                </a:lnTo>
                <a:lnTo>
                  <a:pt x="1237170" y="3870820"/>
                </a:lnTo>
                <a:lnTo>
                  <a:pt x="1227226" y="3820020"/>
                </a:lnTo>
                <a:lnTo>
                  <a:pt x="1200086" y="3781920"/>
                </a:lnTo>
                <a:lnTo>
                  <a:pt x="1159827" y="3756520"/>
                </a:lnTo>
                <a:lnTo>
                  <a:pt x="1110513" y="3743820"/>
                </a:lnTo>
                <a:lnTo>
                  <a:pt x="413499" y="3743820"/>
                </a:lnTo>
                <a:lnTo>
                  <a:pt x="401281" y="3705720"/>
                </a:lnTo>
                <a:lnTo>
                  <a:pt x="390766" y="3654920"/>
                </a:lnTo>
                <a:lnTo>
                  <a:pt x="382104" y="3604120"/>
                </a:lnTo>
                <a:lnTo>
                  <a:pt x="375450" y="3553320"/>
                </a:lnTo>
                <a:lnTo>
                  <a:pt x="370941" y="3502520"/>
                </a:lnTo>
                <a:lnTo>
                  <a:pt x="368731" y="3451720"/>
                </a:lnTo>
                <a:lnTo>
                  <a:pt x="1493862" y="3451720"/>
                </a:lnTo>
                <a:lnTo>
                  <a:pt x="1543177" y="3439020"/>
                </a:lnTo>
                <a:lnTo>
                  <a:pt x="1583436" y="3413620"/>
                </a:lnTo>
                <a:lnTo>
                  <a:pt x="1610575" y="3375520"/>
                </a:lnTo>
                <a:lnTo>
                  <a:pt x="1620520" y="3324720"/>
                </a:lnTo>
                <a:lnTo>
                  <a:pt x="1610575" y="3273920"/>
                </a:lnTo>
                <a:lnTo>
                  <a:pt x="1583436" y="3235820"/>
                </a:lnTo>
                <a:lnTo>
                  <a:pt x="1543177" y="3210420"/>
                </a:lnTo>
                <a:lnTo>
                  <a:pt x="1493862" y="3197720"/>
                </a:lnTo>
                <a:lnTo>
                  <a:pt x="393382" y="3197720"/>
                </a:lnTo>
                <a:lnTo>
                  <a:pt x="400278" y="3172320"/>
                </a:lnTo>
                <a:lnTo>
                  <a:pt x="408038" y="3134220"/>
                </a:lnTo>
                <a:lnTo>
                  <a:pt x="416763" y="3108820"/>
                </a:lnTo>
                <a:lnTo>
                  <a:pt x="426529" y="3083420"/>
                </a:lnTo>
                <a:lnTo>
                  <a:pt x="441350" y="3032620"/>
                </a:lnTo>
                <a:lnTo>
                  <a:pt x="459257" y="2994520"/>
                </a:lnTo>
                <a:lnTo>
                  <a:pt x="480085" y="2956420"/>
                </a:lnTo>
                <a:lnTo>
                  <a:pt x="503656" y="2918320"/>
                </a:lnTo>
                <a:lnTo>
                  <a:pt x="529818" y="2867520"/>
                </a:lnTo>
                <a:lnTo>
                  <a:pt x="1442580" y="2867520"/>
                </a:lnTo>
                <a:lnTo>
                  <a:pt x="1482839" y="2829420"/>
                </a:lnTo>
                <a:lnTo>
                  <a:pt x="1509979" y="2791320"/>
                </a:lnTo>
                <a:lnTo>
                  <a:pt x="1519923" y="2740520"/>
                </a:lnTo>
                <a:lnTo>
                  <a:pt x="1509979" y="2702420"/>
                </a:lnTo>
                <a:lnTo>
                  <a:pt x="1482839" y="2651620"/>
                </a:lnTo>
                <a:lnTo>
                  <a:pt x="1442580" y="2626220"/>
                </a:lnTo>
                <a:lnTo>
                  <a:pt x="1393266" y="2613520"/>
                </a:lnTo>
                <a:lnTo>
                  <a:pt x="723988" y="2613520"/>
                </a:lnTo>
                <a:lnTo>
                  <a:pt x="754214" y="2588120"/>
                </a:lnTo>
                <a:lnTo>
                  <a:pt x="785418" y="2550020"/>
                </a:lnTo>
                <a:lnTo>
                  <a:pt x="817549" y="2511920"/>
                </a:lnTo>
                <a:lnTo>
                  <a:pt x="850595" y="2486520"/>
                </a:lnTo>
                <a:lnTo>
                  <a:pt x="884466" y="2448420"/>
                </a:lnTo>
                <a:lnTo>
                  <a:pt x="919149" y="2410320"/>
                </a:lnTo>
                <a:lnTo>
                  <a:pt x="954570" y="2372220"/>
                </a:lnTo>
                <a:lnTo>
                  <a:pt x="990701" y="2334120"/>
                </a:lnTo>
                <a:lnTo>
                  <a:pt x="1027493" y="2308720"/>
                </a:lnTo>
                <a:lnTo>
                  <a:pt x="1064895" y="2270620"/>
                </a:lnTo>
                <a:lnTo>
                  <a:pt x="1102842" y="2232520"/>
                </a:lnTo>
                <a:lnTo>
                  <a:pt x="1141323" y="2194420"/>
                </a:lnTo>
                <a:lnTo>
                  <a:pt x="1180261" y="2156320"/>
                </a:lnTo>
                <a:lnTo>
                  <a:pt x="1259370" y="2080120"/>
                </a:lnTo>
                <a:lnTo>
                  <a:pt x="1339773" y="2003920"/>
                </a:lnTo>
                <a:lnTo>
                  <a:pt x="1380350" y="1978520"/>
                </a:lnTo>
                <a:lnTo>
                  <a:pt x="1460766" y="1902320"/>
                </a:lnTo>
                <a:lnTo>
                  <a:pt x="1737309" y="1635620"/>
                </a:lnTo>
                <a:lnTo>
                  <a:pt x="1776310" y="1597520"/>
                </a:lnTo>
                <a:lnTo>
                  <a:pt x="1815109" y="1572120"/>
                </a:lnTo>
                <a:lnTo>
                  <a:pt x="1891931" y="1495920"/>
                </a:lnTo>
                <a:lnTo>
                  <a:pt x="1967534" y="1419720"/>
                </a:lnTo>
                <a:lnTo>
                  <a:pt x="2004809" y="1381620"/>
                </a:lnTo>
                <a:lnTo>
                  <a:pt x="2041690" y="1343520"/>
                </a:lnTo>
                <a:lnTo>
                  <a:pt x="2078139" y="1305420"/>
                </a:lnTo>
                <a:lnTo>
                  <a:pt x="2114143" y="1267320"/>
                </a:lnTo>
                <a:lnTo>
                  <a:pt x="2149665" y="1229220"/>
                </a:lnTo>
                <a:lnTo>
                  <a:pt x="2184679" y="1191120"/>
                </a:lnTo>
                <a:lnTo>
                  <a:pt x="2219147" y="1153020"/>
                </a:lnTo>
                <a:lnTo>
                  <a:pt x="2253030" y="1114920"/>
                </a:lnTo>
                <a:lnTo>
                  <a:pt x="2286330" y="1076820"/>
                </a:lnTo>
                <a:lnTo>
                  <a:pt x="2318982" y="1038720"/>
                </a:lnTo>
                <a:lnTo>
                  <a:pt x="2350986" y="1000620"/>
                </a:lnTo>
                <a:lnTo>
                  <a:pt x="2382291" y="962520"/>
                </a:lnTo>
                <a:lnTo>
                  <a:pt x="2412873" y="924420"/>
                </a:lnTo>
                <a:lnTo>
                  <a:pt x="2442705" y="886320"/>
                </a:lnTo>
                <a:lnTo>
                  <a:pt x="2471763" y="848220"/>
                </a:lnTo>
                <a:lnTo>
                  <a:pt x="2499995" y="797420"/>
                </a:lnTo>
                <a:lnTo>
                  <a:pt x="2527401" y="759320"/>
                </a:lnTo>
                <a:lnTo>
                  <a:pt x="2553932" y="721220"/>
                </a:lnTo>
                <a:lnTo>
                  <a:pt x="2579560" y="683120"/>
                </a:lnTo>
                <a:lnTo>
                  <a:pt x="2604262" y="645020"/>
                </a:lnTo>
                <a:lnTo>
                  <a:pt x="2627998" y="606920"/>
                </a:lnTo>
                <a:lnTo>
                  <a:pt x="2650744" y="568820"/>
                </a:lnTo>
                <a:lnTo>
                  <a:pt x="2672473" y="518020"/>
                </a:lnTo>
                <a:lnTo>
                  <a:pt x="2693162" y="479920"/>
                </a:lnTo>
                <a:lnTo>
                  <a:pt x="2712758" y="441820"/>
                </a:lnTo>
                <a:lnTo>
                  <a:pt x="2731249" y="403720"/>
                </a:lnTo>
                <a:lnTo>
                  <a:pt x="2748610" y="365620"/>
                </a:lnTo>
                <a:lnTo>
                  <a:pt x="2764790" y="314820"/>
                </a:lnTo>
                <a:lnTo>
                  <a:pt x="2779776" y="276720"/>
                </a:lnTo>
                <a:lnTo>
                  <a:pt x="2793530" y="238620"/>
                </a:lnTo>
                <a:lnTo>
                  <a:pt x="2806039" y="187820"/>
                </a:lnTo>
                <a:lnTo>
                  <a:pt x="2817241" y="149720"/>
                </a:lnTo>
                <a:lnTo>
                  <a:pt x="2827134" y="111620"/>
                </a:lnTo>
                <a:lnTo>
                  <a:pt x="2835681" y="73520"/>
                </a:lnTo>
                <a:lnTo>
                  <a:pt x="2842857" y="22720"/>
                </a:lnTo>
                <a:lnTo>
                  <a:pt x="2845346" y="10020"/>
                </a:lnTo>
                <a:close/>
              </a:path>
              <a:path w="3693795" h="4721860">
                <a:moveTo>
                  <a:pt x="3506774" y="1344333"/>
                </a:moveTo>
                <a:lnTo>
                  <a:pt x="3503396" y="1297622"/>
                </a:lnTo>
                <a:lnTo>
                  <a:pt x="3493605" y="1253045"/>
                </a:lnTo>
                <a:lnTo>
                  <a:pt x="3477857" y="1211084"/>
                </a:lnTo>
                <a:lnTo>
                  <a:pt x="3456660" y="1172222"/>
                </a:lnTo>
                <a:lnTo>
                  <a:pt x="3430473" y="1136954"/>
                </a:lnTo>
                <a:lnTo>
                  <a:pt x="3399790" y="1105776"/>
                </a:lnTo>
                <a:lnTo>
                  <a:pt x="3365093" y="1079169"/>
                </a:lnTo>
                <a:lnTo>
                  <a:pt x="3326854" y="1057630"/>
                </a:lnTo>
                <a:lnTo>
                  <a:pt x="3285566" y="1041628"/>
                </a:lnTo>
                <a:lnTo>
                  <a:pt x="3241700" y="1031671"/>
                </a:lnTo>
                <a:lnTo>
                  <a:pt x="3195739" y="1028242"/>
                </a:lnTo>
                <a:lnTo>
                  <a:pt x="3149777" y="1031671"/>
                </a:lnTo>
                <a:lnTo>
                  <a:pt x="3105899" y="1041628"/>
                </a:lnTo>
                <a:lnTo>
                  <a:pt x="3064611" y="1057630"/>
                </a:lnTo>
                <a:lnTo>
                  <a:pt x="3026372" y="1079169"/>
                </a:lnTo>
                <a:lnTo>
                  <a:pt x="2991675" y="1105776"/>
                </a:lnTo>
                <a:lnTo>
                  <a:pt x="2960992" y="1136954"/>
                </a:lnTo>
                <a:lnTo>
                  <a:pt x="2934805" y="1172222"/>
                </a:lnTo>
                <a:lnTo>
                  <a:pt x="2913608" y="1211084"/>
                </a:lnTo>
                <a:lnTo>
                  <a:pt x="2897873" y="1253045"/>
                </a:lnTo>
                <a:lnTo>
                  <a:pt x="2888069" y="1297622"/>
                </a:lnTo>
                <a:lnTo>
                  <a:pt x="2884703" y="1344333"/>
                </a:lnTo>
                <a:lnTo>
                  <a:pt x="2888069" y="1391043"/>
                </a:lnTo>
                <a:lnTo>
                  <a:pt x="2897873" y="1435633"/>
                </a:lnTo>
                <a:lnTo>
                  <a:pt x="2913608" y="1477594"/>
                </a:lnTo>
                <a:lnTo>
                  <a:pt x="2934805" y="1516456"/>
                </a:lnTo>
                <a:lnTo>
                  <a:pt x="2960992" y="1551711"/>
                </a:lnTo>
                <a:lnTo>
                  <a:pt x="2991675" y="1582902"/>
                </a:lnTo>
                <a:lnTo>
                  <a:pt x="3026372" y="1609509"/>
                </a:lnTo>
                <a:lnTo>
                  <a:pt x="3064611" y="1631048"/>
                </a:lnTo>
                <a:lnTo>
                  <a:pt x="3105899" y="1647050"/>
                </a:lnTo>
                <a:lnTo>
                  <a:pt x="3149777" y="1657007"/>
                </a:lnTo>
                <a:lnTo>
                  <a:pt x="3195739" y="1660423"/>
                </a:lnTo>
                <a:lnTo>
                  <a:pt x="3241700" y="1657007"/>
                </a:lnTo>
                <a:lnTo>
                  <a:pt x="3285566" y="1647050"/>
                </a:lnTo>
                <a:lnTo>
                  <a:pt x="3326854" y="1631048"/>
                </a:lnTo>
                <a:lnTo>
                  <a:pt x="3365093" y="1609509"/>
                </a:lnTo>
                <a:lnTo>
                  <a:pt x="3399790" y="1582902"/>
                </a:lnTo>
                <a:lnTo>
                  <a:pt x="3430473" y="1551711"/>
                </a:lnTo>
                <a:lnTo>
                  <a:pt x="3456660" y="1516456"/>
                </a:lnTo>
                <a:lnTo>
                  <a:pt x="3477857" y="1477594"/>
                </a:lnTo>
                <a:lnTo>
                  <a:pt x="3493605" y="1435633"/>
                </a:lnTo>
                <a:lnTo>
                  <a:pt x="3503396" y="1391043"/>
                </a:lnTo>
                <a:lnTo>
                  <a:pt x="3506774" y="1344333"/>
                </a:lnTo>
                <a:close/>
              </a:path>
              <a:path w="3693795" h="4721860">
                <a:moveTo>
                  <a:pt x="3508527" y="2550566"/>
                </a:moveTo>
                <a:lnTo>
                  <a:pt x="3505873" y="2503855"/>
                </a:lnTo>
                <a:lnTo>
                  <a:pt x="3498113" y="2458732"/>
                </a:lnTo>
                <a:lnTo>
                  <a:pt x="3485540" y="2415476"/>
                </a:lnTo>
                <a:lnTo>
                  <a:pt x="3468459" y="2374417"/>
                </a:lnTo>
                <a:lnTo>
                  <a:pt x="3447161" y="2335834"/>
                </a:lnTo>
                <a:lnTo>
                  <a:pt x="3421938" y="2300046"/>
                </a:lnTo>
                <a:lnTo>
                  <a:pt x="3393084" y="2267331"/>
                </a:lnTo>
                <a:lnTo>
                  <a:pt x="3360890" y="2238006"/>
                </a:lnTo>
                <a:lnTo>
                  <a:pt x="3325672" y="2212378"/>
                </a:lnTo>
                <a:lnTo>
                  <a:pt x="3287712" y="2190724"/>
                </a:lnTo>
                <a:lnTo>
                  <a:pt x="3247301" y="2173363"/>
                </a:lnTo>
                <a:lnTo>
                  <a:pt x="3204756" y="2160587"/>
                </a:lnTo>
                <a:lnTo>
                  <a:pt x="3160344" y="2152713"/>
                </a:lnTo>
                <a:lnTo>
                  <a:pt x="3114383" y="2150008"/>
                </a:lnTo>
                <a:lnTo>
                  <a:pt x="3068409" y="2152713"/>
                </a:lnTo>
                <a:lnTo>
                  <a:pt x="3024009" y="2160587"/>
                </a:lnTo>
                <a:lnTo>
                  <a:pt x="2981452" y="2173363"/>
                </a:lnTo>
                <a:lnTo>
                  <a:pt x="2941040" y="2190724"/>
                </a:lnTo>
                <a:lnTo>
                  <a:pt x="2903080" y="2212378"/>
                </a:lnTo>
                <a:lnTo>
                  <a:pt x="2867863" y="2238006"/>
                </a:lnTo>
                <a:lnTo>
                  <a:pt x="2835681" y="2267331"/>
                </a:lnTo>
                <a:lnTo>
                  <a:pt x="2806827" y="2300046"/>
                </a:lnTo>
                <a:lnTo>
                  <a:pt x="2781604" y="2335834"/>
                </a:lnTo>
                <a:lnTo>
                  <a:pt x="2760294" y="2374417"/>
                </a:lnTo>
                <a:lnTo>
                  <a:pt x="2743212" y="2415476"/>
                </a:lnTo>
                <a:lnTo>
                  <a:pt x="2730639" y="2458732"/>
                </a:lnTo>
                <a:lnTo>
                  <a:pt x="2722880" y="2503855"/>
                </a:lnTo>
                <a:lnTo>
                  <a:pt x="2720238" y="2550566"/>
                </a:lnTo>
                <a:lnTo>
                  <a:pt x="2722880" y="2597289"/>
                </a:lnTo>
                <a:lnTo>
                  <a:pt x="2730639" y="2642412"/>
                </a:lnTo>
                <a:lnTo>
                  <a:pt x="2743212" y="2685669"/>
                </a:lnTo>
                <a:lnTo>
                  <a:pt x="2760294" y="2726728"/>
                </a:lnTo>
                <a:lnTo>
                  <a:pt x="2781604" y="2765310"/>
                </a:lnTo>
                <a:lnTo>
                  <a:pt x="2806827" y="2801099"/>
                </a:lnTo>
                <a:lnTo>
                  <a:pt x="2835681" y="2833814"/>
                </a:lnTo>
                <a:lnTo>
                  <a:pt x="2867863" y="2863126"/>
                </a:lnTo>
                <a:lnTo>
                  <a:pt x="2903080" y="2888767"/>
                </a:lnTo>
                <a:lnTo>
                  <a:pt x="2941040" y="2910421"/>
                </a:lnTo>
                <a:lnTo>
                  <a:pt x="2981452" y="2927781"/>
                </a:lnTo>
                <a:lnTo>
                  <a:pt x="3024009" y="2940545"/>
                </a:lnTo>
                <a:lnTo>
                  <a:pt x="3068409" y="2948432"/>
                </a:lnTo>
                <a:lnTo>
                  <a:pt x="3114383" y="2951124"/>
                </a:lnTo>
                <a:lnTo>
                  <a:pt x="3160344" y="2948432"/>
                </a:lnTo>
                <a:lnTo>
                  <a:pt x="3204756" y="2940545"/>
                </a:lnTo>
                <a:lnTo>
                  <a:pt x="3247301" y="2927781"/>
                </a:lnTo>
                <a:lnTo>
                  <a:pt x="3287712" y="2910421"/>
                </a:lnTo>
                <a:lnTo>
                  <a:pt x="3325672" y="2888767"/>
                </a:lnTo>
                <a:lnTo>
                  <a:pt x="3360890" y="2863126"/>
                </a:lnTo>
                <a:lnTo>
                  <a:pt x="3393084" y="2833814"/>
                </a:lnTo>
                <a:lnTo>
                  <a:pt x="3421938" y="2801099"/>
                </a:lnTo>
                <a:lnTo>
                  <a:pt x="3447161" y="2765310"/>
                </a:lnTo>
                <a:lnTo>
                  <a:pt x="3468459" y="2726728"/>
                </a:lnTo>
                <a:lnTo>
                  <a:pt x="3485540" y="2685669"/>
                </a:lnTo>
                <a:lnTo>
                  <a:pt x="3498113" y="2642412"/>
                </a:lnTo>
                <a:lnTo>
                  <a:pt x="3505873" y="2597289"/>
                </a:lnTo>
                <a:lnTo>
                  <a:pt x="3508527" y="2550566"/>
                </a:lnTo>
                <a:close/>
              </a:path>
              <a:path w="3693795" h="4721860">
                <a:moveTo>
                  <a:pt x="3693350" y="317944"/>
                </a:moveTo>
                <a:lnTo>
                  <a:pt x="3689007" y="268770"/>
                </a:lnTo>
                <a:lnTo>
                  <a:pt x="3676510" y="222491"/>
                </a:lnTo>
                <a:lnTo>
                  <a:pt x="3656596" y="179870"/>
                </a:lnTo>
                <a:lnTo>
                  <a:pt x="3630041" y="141693"/>
                </a:lnTo>
                <a:lnTo>
                  <a:pt x="3597592" y="108724"/>
                </a:lnTo>
                <a:lnTo>
                  <a:pt x="3560026" y="81737"/>
                </a:lnTo>
                <a:lnTo>
                  <a:pt x="3518090" y="61506"/>
                </a:lnTo>
                <a:lnTo>
                  <a:pt x="3472548" y="48793"/>
                </a:lnTo>
                <a:lnTo>
                  <a:pt x="3424161" y="44386"/>
                </a:lnTo>
                <a:lnTo>
                  <a:pt x="3375774" y="48793"/>
                </a:lnTo>
                <a:lnTo>
                  <a:pt x="3330232" y="61506"/>
                </a:lnTo>
                <a:lnTo>
                  <a:pt x="3288296" y="81737"/>
                </a:lnTo>
                <a:lnTo>
                  <a:pt x="3250730" y="108724"/>
                </a:lnTo>
                <a:lnTo>
                  <a:pt x="3218281" y="141693"/>
                </a:lnTo>
                <a:lnTo>
                  <a:pt x="3191726" y="179870"/>
                </a:lnTo>
                <a:lnTo>
                  <a:pt x="3171812" y="222491"/>
                </a:lnTo>
                <a:lnTo>
                  <a:pt x="3159315" y="268770"/>
                </a:lnTo>
                <a:lnTo>
                  <a:pt x="3154972" y="317944"/>
                </a:lnTo>
                <a:lnTo>
                  <a:pt x="3159315" y="367118"/>
                </a:lnTo>
                <a:lnTo>
                  <a:pt x="3171812" y="413397"/>
                </a:lnTo>
                <a:lnTo>
                  <a:pt x="3191726" y="456018"/>
                </a:lnTo>
                <a:lnTo>
                  <a:pt x="3218281" y="494207"/>
                </a:lnTo>
                <a:lnTo>
                  <a:pt x="3250730" y="527177"/>
                </a:lnTo>
                <a:lnTo>
                  <a:pt x="3288296" y="554164"/>
                </a:lnTo>
                <a:lnTo>
                  <a:pt x="3330232" y="574395"/>
                </a:lnTo>
                <a:lnTo>
                  <a:pt x="3375774" y="587108"/>
                </a:lnTo>
                <a:lnTo>
                  <a:pt x="3424161" y="591515"/>
                </a:lnTo>
                <a:lnTo>
                  <a:pt x="3472548" y="587108"/>
                </a:lnTo>
                <a:lnTo>
                  <a:pt x="3518090" y="574395"/>
                </a:lnTo>
                <a:lnTo>
                  <a:pt x="3560026" y="554164"/>
                </a:lnTo>
                <a:lnTo>
                  <a:pt x="3597592" y="527177"/>
                </a:lnTo>
                <a:lnTo>
                  <a:pt x="3630041" y="494207"/>
                </a:lnTo>
                <a:lnTo>
                  <a:pt x="3656596" y="456018"/>
                </a:lnTo>
                <a:lnTo>
                  <a:pt x="3676510" y="413397"/>
                </a:lnTo>
                <a:lnTo>
                  <a:pt x="3689007" y="367118"/>
                </a:lnTo>
                <a:lnTo>
                  <a:pt x="3693350" y="317944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0">
            <a:extLst>
              <a:ext uri="{FF2B5EF4-FFF2-40B4-BE49-F238E27FC236}">
                <a16:creationId xmlns:a16="http://schemas.microsoft.com/office/drawing/2014/main" id="{2691EC91-92A9-2DFD-4EDA-F8644AAFDF47}"/>
              </a:ext>
            </a:extLst>
          </p:cNvPr>
          <p:cNvSpPr/>
          <p:nvPr/>
        </p:nvSpPr>
        <p:spPr>
          <a:xfrm rot="10800000">
            <a:off x="7677415" y="6480079"/>
            <a:ext cx="765566" cy="796245"/>
          </a:xfrm>
          <a:custGeom>
            <a:avLst/>
            <a:gdLst/>
            <a:ahLst/>
            <a:cxnLst/>
            <a:rect l="l" t="t" r="r" b="b"/>
            <a:pathLst>
              <a:path w="788035" h="800735">
                <a:moveTo>
                  <a:pt x="393953" y="0"/>
                </a:moveTo>
                <a:lnTo>
                  <a:pt x="348010" y="2693"/>
                </a:lnTo>
                <a:lnTo>
                  <a:pt x="303623" y="10573"/>
                </a:lnTo>
                <a:lnTo>
                  <a:pt x="261088" y="23340"/>
                </a:lnTo>
                <a:lnTo>
                  <a:pt x="220702" y="40693"/>
                </a:lnTo>
                <a:lnTo>
                  <a:pt x="182759" y="62331"/>
                </a:lnTo>
                <a:lnTo>
                  <a:pt x="147555" y="87955"/>
                </a:lnTo>
                <a:lnTo>
                  <a:pt x="115385" y="117263"/>
                </a:lnTo>
                <a:lnTo>
                  <a:pt x="86546" y="149956"/>
                </a:lnTo>
                <a:lnTo>
                  <a:pt x="61333" y="185733"/>
                </a:lnTo>
                <a:lnTo>
                  <a:pt x="40041" y="224294"/>
                </a:lnTo>
                <a:lnTo>
                  <a:pt x="22966" y="265338"/>
                </a:lnTo>
                <a:lnTo>
                  <a:pt x="10404" y="308566"/>
                </a:lnTo>
                <a:lnTo>
                  <a:pt x="2650" y="353675"/>
                </a:lnTo>
                <a:lnTo>
                  <a:pt x="0" y="400367"/>
                </a:lnTo>
                <a:lnTo>
                  <a:pt x="2650" y="447056"/>
                </a:lnTo>
                <a:lnTo>
                  <a:pt x="10404" y="492164"/>
                </a:lnTo>
                <a:lnTo>
                  <a:pt x="22966" y="535389"/>
                </a:lnTo>
                <a:lnTo>
                  <a:pt x="40041" y="576432"/>
                </a:lnTo>
                <a:lnTo>
                  <a:pt x="61333" y="614991"/>
                </a:lnTo>
                <a:lnTo>
                  <a:pt x="86546" y="650767"/>
                </a:lnTo>
                <a:lnTo>
                  <a:pt x="115385" y="683460"/>
                </a:lnTo>
                <a:lnTo>
                  <a:pt x="147555" y="712767"/>
                </a:lnTo>
                <a:lnTo>
                  <a:pt x="182759" y="738391"/>
                </a:lnTo>
                <a:lnTo>
                  <a:pt x="220702" y="760029"/>
                </a:lnTo>
                <a:lnTo>
                  <a:pt x="261088" y="777381"/>
                </a:lnTo>
                <a:lnTo>
                  <a:pt x="303623" y="790148"/>
                </a:lnTo>
                <a:lnTo>
                  <a:pt x="348010" y="798028"/>
                </a:lnTo>
                <a:lnTo>
                  <a:pt x="393953" y="800722"/>
                </a:lnTo>
                <a:lnTo>
                  <a:pt x="439897" y="798028"/>
                </a:lnTo>
                <a:lnTo>
                  <a:pt x="484284" y="790148"/>
                </a:lnTo>
                <a:lnTo>
                  <a:pt x="526819" y="777381"/>
                </a:lnTo>
                <a:lnTo>
                  <a:pt x="567205" y="760029"/>
                </a:lnTo>
                <a:lnTo>
                  <a:pt x="605148" y="738391"/>
                </a:lnTo>
                <a:lnTo>
                  <a:pt x="640352" y="712767"/>
                </a:lnTo>
                <a:lnTo>
                  <a:pt x="672522" y="683460"/>
                </a:lnTo>
                <a:lnTo>
                  <a:pt x="701361" y="650767"/>
                </a:lnTo>
                <a:lnTo>
                  <a:pt x="726574" y="614991"/>
                </a:lnTo>
                <a:lnTo>
                  <a:pt x="747866" y="576432"/>
                </a:lnTo>
                <a:lnTo>
                  <a:pt x="764941" y="535389"/>
                </a:lnTo>
                <a:lnTo>
                  <a:pt x="777503" y="492164"/>
                </a:lnTo>
                <a:lnTo>
                  <a:pt x="785257" y="447056"/>
                </a:lnTo>
                <a:lnTo>
                  <a:pt x="787907" y="400367"/>
                </a:lnTo>
                <a:lnTo>
                  <a:pt x="785257" y="353675"/>
                </a:lnTo>
                <a:lnTo>
                  <a:pt x="777503" y="308566"/>
                </a:lnTo>
                <a:lnTo>
                  <a:pt x="764941" y="265338"/>
                </a:lnTo>
                <a:lnTo>
                  <a:pt x="747866" y="224294"/>
                </a:lnTo>
                <a:lnTo>
                  <a:pt x="726574" y="185733"/>
                </a:lnTo>
                <a:lnTo>
                  <a:pt x="701361" y="149956"/>
                </a:lnTo>
                <a:lnTo>
                  <a:pt x="672522" y="117263"/>
                </a:lnTo>
                <a:lnTo>
                  <a:pt x="640352" y="87955"/>
                </a:lnTo>
                <a:lnTo>
                  <a:pt x="605148" y="62331"/>
                </a:lnTo>
                <a:lnTo>
                  <a:pt x="567205" y="40693"/>
                </a:lnTo>
                <a:lnTo>
                  <a:pt x="526819" y="23340"/>
                </a:lnTo>
                <a:lnTo>
                  <a:pt x="484284" y="10573"/>
                </a:lnTo>
                <a:lnTo>
                  <a:pt x="439897" y="2693"/>
                </a:lnTo>
                <a:lnTo>
                  <a:pt x="39395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12">
            <a:extLst>
              <a:ext uri="{FF2B5EF4-FFF2-40B4-BE49-F238E27FC236}">
                <a16:creationId xmlns:a16="http://schemas.microsoft.com/office/drawing/2014/main" id="{4849155B-A9DE-EE8A-9AF8-81425A554348}"/>
              </a:ext>
            </a:extLst>
          </p:cNvPr>
          <p:cNvSpPr/>
          <p:nvPr/>
        </p:nvSpPr>
        <p:spPr>
          <a:xfrm rot="10800000">
            <a:off x="11530830" y="6395080"/>
            <a:ext cx="638498" cy="334033"/>
          </a:xfrm>
          <a:custGeom>
            <a:avLst/>
            <a:gdLst/>
            <a:ahLst/>
            <a:cxnLst/>
            <a:rect l="l" t="t" r="r" b="b"/>
            <a:pathLst>
              <a:path w="440055" h="253364">
                <a:moveTo>
                  <a:pt x="312827" y="0"/>
                </a:moveTo>
                <a:lnTo>
                  <a:pt x="0" y="0"/>
                </a:lnTo>
                <a:lnTo>
                  <a:pt x="0" y="253365"/>
                </a:lnTo>
                <a:lnTo>
                  <a:pt x="312827" y="253365"/>
                </a:lnTo>
                <a:lnTo>
                  <a:pt x="362132" y="243409"/>
                </a:lnTo>
                <a:lnTo>
                  <a:pt x="402400" y="216260"/>
                </a:lnTo>
                <a:lnTo>
                  <a:pt x="429552" y="175992"/>
                </a:lnTo>
                <a:lnTo>
                  <a:pt x="439510" y="126682"/>
                </a:lnTo>
                <a:lnTo>
                  <a:pt x="429552" y="77372"/>
                </a:lnTo>
                <a:lnTo>
                  <a:pt x="402400" y="37104"/>
                </a:lnTo>
                <a:lnTo>
                  <a:pt x="362132" y="9955"/>
                </a:lnTo>
                <a:lnTo>
                  <a:pt x="312827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42757" y="1766139"/>
            <a:ext cx="9282430" cy="3337640"/>
          </a:xfrm>
        </p:spPr>
        <p:txBody>
          <a:bodyPr>
            <a:norm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6162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E177F1D-8B04-881D-29E5-088E64B385E9}"/>
              </a:ext>
            </a:extLst>
          </p:cNvPr>
          <p:cNvGrpSpPr/>
          <p:nvPr/>
        </p:nvGrpSpPr>
        <p:grpSpPr>
          <a:xfrm>
            <a:off x="9597" y="0"/>
            <a:ext cx="4329657" cy="4281798"/>
            <a:chOff x="9597" y="0"/>
            <a:chExt cx="4329657" cy="4281798"/>
          </a:xfrm>
        </p:grpSpPr>
        <p:sp>
          <p:nvSpPr>
            <p:cNvPr id="9" name="object 9">
              <a:extLst>
                <a:ext uri="{FF2B5EF4-FFF2-40B4-BE49-F238E27FC236}">
                  <a16:creationId xmlns:a16="http://schemas.microsoft.com/office/drawing/2014/main" id="{D7A29DDB-840F-FC84-9103-E3E5B573BF40}"/>
                </a:ext>
              </a:extLst>
            </p:cNvPr>
            <p:cNvSpPr/>
            <p:nvPr/>
          </p:nvSpPr>
          <p:spPr>
            <a:xfrm>
              <a:off x="108938" y="11"/>
              <a:ext cx="3349537" cy="4281787"/>
            </a:xfrm>
            <a:custGeom>
              <a:avLst/>
              <a:gdLst/>
              <a:ahLst/>
              <a:cxnLst/>
              <a:rect l="l" t="t" r="r" b="b"/>
              <a:pathLst>
                <a:path w="3693795" h="4721860">
                  <a:moveTo>
                    <a:pt x="985329" y="60604"/>
                  </a:moveTo>
                  <a:lnTo>
                    <a:pt x="977315" y="10096"/>
                  </a:lnTo>
                  <a:lnTo>
                    <a:pt x="972172" y="0"/>
                  </a:lnTo>
                  <a:lnTo>
                    <a:pt x="684009" y="0"/>
                  </a:lnTo>
                  <a:lnTo>
                    <a:pt x="678865" y="10096"/>
                  </a:lnTo>
                  <a:lnTo>
                    <a:pt x="670852" y="60604"/>
                  </a:lnTo>
                  <a:lnTo>
                    <a:pt x="678865" y="111112"/>
                  </a:lnTo>
                  <a:lnTo>
                    <a:pt x="701192" y="154978"/>
                  </a:lnTo>
                  <a:lnTo>
                    <a:pt x="735228" y="189572"/>
                  </a:lnTo>
                  <a:lnTo>
                    <a:pt x="778395" y="212255"/>
                  </a:lnTo>
                  <a:lnTo>
                    <a:pt x="828090" y="220395"/>
                  </a:lnTo>
                  <a:lnTo>
                    <a:pt x="877785" y="212255"/>
                  </a:lnTo>
                  <a:lnTo>
                    <a:pt x="920953" y="189572"/>
                  </a:lnTo>
                  <a:lnTo>
                    <a:pt x="954989" y="154978"/>
                  </a:lnTo>
                  <a:lnTo>
                    <a:pt x="977315" y="111112"/>
                  </a:lnTo>
                  <a:lnTo>
                    <a:pt x="985329" y="60604"/>
                  </a:lnTo>
                  <a:close/>
                </a:path>
                <a:path w="3693795" h="4721860">
                  <a:moveTo>
                    <a:pt x="1194587" y="628446"/>
                  </a:moveTo>
                  <a:lnTo>
                    <a:pt x="1189532" y="583895"/>
                  </a:lnTo>
                  <a:lnTo>
                    <a:pt x="1175143" y="543001"/>
                  </a:lnTo>
                  <a:lnTo>
                    <a:pt x="1152575" y="506920"/>
                  </a:lnTo>
                  <a:lnTo>
                    <a:pt x="1122972" y="476821"/>
                  </a:lnTo>
                  <a:lnTo>
                    <a:pt x="1087462" y="453885"/>
                  </a:lnTo>
                  <a:lnTo>
                    <a:pt x="1047229" y="439267"/>
                  </a:lnTo>
                  <a:lnTo>
                    <a:pt x="1003388" y="434136"/>
                  </a:lnTo>
                  <a:lnTo>
                    <a:pt x="959548" y="439267"/>
                  </a:lnTo>
                  <a:lnTo>
                    <a:pt x="919302" y="453885"/>
                  </a:lnTo>
                  <a:lnTo>
                    <a:pt x="883805" y="476821"/>
                  </a:lnTo>
                  <a:lnTo>
                    <a:pt x="854189" y="506920"/>
                  </a:lnTo>
                  <a:lnTo>
                    <a:pt x="831621" y="543001"/>
                  </a:lnTo>
                  <a:lnTo>
                    <a:pt x="817232" y="583895"/>
                  </a:lnTo>
                  <a:lnTo>
                    <a:pt x="812190" y="628446"/>
                  </a:lnTo>
                  <a:lnTo>
                    <a:pt x="817232" y="672998"/>
                  </a:lnTo>
                  <a:lnTo>
                    <a:pt x="831621" y="713905"/>
                  </a:lnTo>
                  <a:lnTo>
                    <a:pt x="854189" y="749973"/>
                  </a:lnTo>
                  <a:lnTo>
                    <a:pt x="883805" y="780072"/>
                  </a:lnTo>
                  <a:lnTo>
                    <a:pt x="919302" y="803008"/>
                  </a:lnTo>
                  <a:lnTo>
                    <a:pt x="959548" y="817626"/>
                  </a:lnTo>
                  <a:lnTo>
                    <a:pt x="1003388" y="822756"/>
                  </a:lnTo>
                  <a:lnTo>
                    <a:pt x="1047229" y="817626"/>
                  </a:lnTo>
                  <a:lnTo>
                    <a:pt x="1087462" y="803008"/>
                  </a:lnTo>
                  <a:lnTo>
                    <a:pt x="1122972" y="780072"/>
                  </a:lnTo>
                  <a:lnTo>
                    <a:pt x="1152575" y="749973"/>
                  </a:lnTo>
                  <a:lnTo>
                    <a:pt x="1175143" y="713905"/>
                  </a:lnTo>
                  <a:lnTo>
                    <a:pt x="1189532" y="672998"/>
                  </a:lnTo>
                  <a:lnTo>
                    <a:pt x="1194587" y="628446"/>
                  </a:lnTo>
                  <a:close/>
                </a:path>
                <a:path w="3693795" h="4721860">
                  <a:moveTo>
                    <a:pt x="2110397" y="2736418"/>
                  </a:moveTo>
                  <a:lnTo>
                    <a:pt x="2105355" y="2691866"/>
                  </a:lnTo>
                  <a:lnTo>
                    <a:pt x="2090966" y="2650960"/>
                  </a:lnTo>
                  <a:lnTo>
                    <a:pt x="2068398" y="2614892"/>
                  </a:lnTo>
                  <a:lnTo>
                    <a:pt x="2038781" y="2584793"/>
                  </a:lnTo>
                  <a:lnTo>
                    <a:pt x="2003285" y="2561856"/>
                  </a:lnTo>
                  <a:lnTo>
                    <a:pt x="1963039" y="2547239"/>
                  </a:lnTo>
                  <a:lnTo>
                    <a:pt x="1919198" y="2542108"/>
                  </a:lnTo>
                  <a:lnTo>
                    <a:pt x="1875358" y="2547239"/>
                  </a:lnTo>
                  <a:lnTo>
                    <a:pt x="1835111" y="2561856"/>
                  </a:lnTo>
                  <a:lnTo>
                    <a:pt x="1799615" y="2584793"/>
                  </a:lnTo>
                  <a:lnTo>
                    <a:pt x="1770011" y="2614892"/>
                  </a:lnTo>
                  <a:lnTo>
                    <a:pt x="1747431" y="2650960"/>
                  </a:lnTo>
                  <a:lnTo>
                    <a:pt x="1733054" y="2691866"/>
                  </a:lnTo>
                  <a:lnTo>
                    <a:pt x="1728000" y="2736418"/>
                  </a:lnTo>
                  <a:lnTo>
                    <a:pt x="1733054" y="2780969"/>
                  </a:lnTo>
                  <a:lnTo>
                    <a:pt x="1747431" y="2821863"/>
                  </a:lnTo>
                  <a:lnTo>
                    <a:pt x="1770011" y="2857944"/>
                  </a:lnTo>
                  <a:lnTo>
                    <a:pt x="1799615" y="2888043"/>
                  </a:lnTo>
                  <a:lnTo>
                    <a:pt x="1835111" y="2910979"/>
                  </a:lnTo>
                  <a:lnTo>
                    <a:pt x="1875358" y="2925597"/>
                  </a:lnTo>
                  <a:lnTo>
                    <a:pt x="1919198" y="2930728"/>
                  </a:lnTo>
                  <a:lnTo>
                    <a:pt x="1963039" y="2925597"/>
                  </a:lnTo>
                  <a:lnTo>
                    <a:pt x="2003285" y="2910979"/>
                  </a:lnTo>
                  <a:lnTo>
                    <a:pt x="2038781" y="2888043"/>
                  </a:lnTo>
                  <a:lnTo>
                    <a:pt x="2068398" y="2857944"/>
                  </a:lnTo>
                  <a:lnTo>
                    <a:pt x="2090966" y="2821863"/>
                  </a:lnTo>
                  <a:lnTo>
                    <a:pt x="2105355" y="2780969"/>
                  </a:lnTo>
                  <a:lnTo>
                    <a:pt x="2110397" y="2736418"/>
                  </a:lnTo>
                  <a:close/>
                </a:path>
                <a:path w="3693795" h="4721860">
                  <a:moveTo>
                    <a:pt x="2315591" y="3313163"/>
                  </a:moveTo>
                  <a:lnTo>
                    <a:pt x="2310536" y="3268611"/>
                  </a:lnTo>
                  <a:lnTo>
                    <a:pt x="2296160" y="3227717"/>
                  </a:lnTo>
                  <a:lnTo>
                    <a:pt x="2273592" y="3191637"/>
                  </a:lnTo>
                  <a:lnTo>
                    <a:pt x="2243975" y="3161538"/>
                  </a:lnTo>
                  <a:lnTo>
                    <a:pt x="2208479" y="3138601"/>
                  </a:lnTo>
                  <a:lnTo>
                    <a:pt x="2168233" y="3123984"/>
                  </a:lnTo>
                  <a:lnTo>
                    <a:pt x="2124392" y="3118853"/>
                  </a:lnTo>
                  <a:lnTo>
                    <a:pt x="2080552" y="3123984"/>
                  </a:lnTo>
                  <a:lnTo>
                    <a:pt x="2040305" y="3138601"/>
                  </a:lnTo>
                  <a:lnTo>
                    <a:pt x="2004809" y="3161538"/>
                  </a:lnTo>
                  <a:lnTo>
                    <a:pt x="1975192" y="3191637"/>
                  </a:lnTo>
                  <a:lnTo>
                    <a:pt x="1952625" y="3227717"/>
                  </a:lnTo>
                  <a:lnTo>
                    <a:pt x="1938235" y="3268611"/>
                  </a:lnTo>
                  <a:lnTo>
                    <a:pt x="1933194" y="3313163"/>
                  </a:lnTo>
                  <a:lnTo>
                    <a:pt x="1938235" y="3357715"/>
                  </a:lnTo>
                  <a:lnTo>
                    <a:pt x="1952625" y="3398621"/>
                  </a:lnTo>
                  <a:lnTo>
                    <a:pt x="1975192" y="3434689"/>
                  </a:lnTo>
                  <a:lnTo>
                    <a:pt x="2004809" y="3464788"/>
                  </a:lnTo>
                  <a:lnTo>
                    <a:pt x="2040305" y="3487724"/>
                  </a:lnTo>
                  <a:lnTo>
                    <a:pt x="2080552" y="3502342"/>
                  </a:lnTo>
                  <a:lnTo>
                    <a:pt x="2124392" y="3507473"/>
                  </a:lnTo>
                  <a:lnTo>
                    <a:pt x="2168233" y="3502342"/>
                  </a:lnTo>
                  <a:lnTo>
                    <a:pt x="2208479" y="3487724"/>
                  </a:lnTo>
                  <a:lnTo>
                    <a:pt x="2243975" y="3464788"/>
                  </a:lnTo>
                  <a:lnTo>
                    <a:pt x="2273592" y="3434689"/>
                  </a:lnTo>
                  <a:lnTo>
                    <a:pt x="2296160" y="3398621"/>
                  </a:lnTo>
                  <a:lnTo>
                    <a:pt x="2310536" y="3357715"/>
                  </a:lnTo>
                  <a:lnTo>
                    <a:pt x="2315591" y="3313163"/>
                  </a:lnTo>
                  <a:close/>
                </a:path>
                <a:path w="3693795" h="4721860">
                  <a:moveTo>
                    <a:pt x="2551633" y="1956752"/>
                  </a:moveTo>
                  <a:lnTo>
                    <a:pt x="2547645" y="1911578"/>
                  </a:lnTo>
                  <a:lnTo>
                    <a:pt x="2536164" y="1869046"/>
                  </a:lnTo>
                  <a:lnTo>
                    <a:pt x="2517864" y="1829892"/>
                  </a:lnTo>
                  <a:lnTo>
                    <a:pt x="2493467" y="1794814"/>
                  </a:lnTo>
                  <a:lnTo>
                    <a:pt x="2463660" y="1764525"/>
                  </a:lnTo>
                  <a:lnTo>
                    <a:pt x="2429141" y="1739722"/>
                  </a:lnTo>
                  <a:lnTo>
                    <a:pt x="2390610" y="1721129"/>
                  </a:lnTo>
                  <a:lnTo>
                    <a:pt x="2348776" y="1709458"/>
                  </a:lnTo>
                  <a:lnTo>
                    <a:pt x="2304313" y="1705406"/>
                  </a:lnTo>
                  <a:lnTo>
                    <a:pt x="2259863" y="1709458"/>
                  </a:lnTo>
                  <a:lnTo>
                    <a:pt x="2218017" y="1721129"/>
                  </a:lnTo>
                  <a:lnTo>
                    <a:pt x="2179485" y="1739722"/>
                  </a:lnTo>
                  <a:lnTo>
                    <a:pt x="2144966" y="1764525"/>
                  </a:lnTo>
                  <a:lnTo>
                    <a:pt x="2115159" y="1794814"/>
                  </a:lnTo>
                  <a:lnTo>
                    <a:pt x="2090762" y="1829892"/>
                  </a:lnTo>
                  <a:lnTo>
                    <a:pt x="2072474" y="1869046"/>
                  </a:lnTo>
                  <a:lnTo>
                    <a:pt x="2060981" y="1911578"/>
                  </a:lnTo>
                  <a:lnTo>
                    <a:pt x="2056993" y="1956752"/>
                  </a:lnTo>
                  <a:lnTo>
                    <a:pt x="2060981" y="2001926"/>
                  </a:lnTo>
                  <a:lnTo>
                    <a:pt x="2072474" y="2044458"/>
                  </a:lnTo>
                  <a:lnTo>
                    <a:pt x="2090762" y="2083612"/>
                  </a:lnTo>
                  <a:lnTo>
                    <a:pt x="2115159" y="2118690"/>
                  </a:lnTo>
                  <a:lnTo>
                    <a:pt x="2144966" y="2148979"/>
                  </a:lnTo>
                  <a:lnTo>
                    <a:pt x="2179485" y="2173782"/>
                  </a:lnTo>
                  <a:lnTo>
                    <a:pt x="2218017" y="2192375"/>
                  </a:lnTo>
                  <a:lnTo>
                    <a:pt x="2259863" y="2204047"/>
                  </a:lnTo>
                  <a:lnTo>
                    <a:pt x="2304313" y="2208098"/>
                  </a:lnTo>
                  <a:lnTo>
                    <a:pt x="2348776" y="2204047"/>
                  </a:lnTo>
                  <a:lnTo>
                    <a:pt x="2390610" y="2192375"/>
                  </a:lnTo>
                  <a:lnTo>
                    <a:pt x="2429141" y="2173782"/>
                  </a:lnTo>
                  <a:lnTo>
                    <a:pt x="2463660" y="2148979"/>
                  </a:lnTo>
                  <a:lnTo>
                    <a:pt x="2493467" y="2118690"/>
                  </a:lnTo>
                  <a:lnTo>
                    <a:pt x="2517864" y="2083612"/>
                  </a:lnTo>
                  <a:lnTo>
                    <a:pt x="2536164" y="2044458"/>
                  </a:lnTo>
                  <a:lnTo>
                    <a:pt x="2547645" y="2001926"/>
                  </a:lnTo>
                  <a:lnTo>
                    <a:pt x="2551633" y="1956752"/>
                  </a:lnTo>
                  <a:close/>
                </a:path>
                <a:path w="3693795" h="4721860">
                  <a:moveTo>
                    <a:pt x="2845346" y="10020"/>
                  </a:moveTo>
                  <a:lnTo>
                    <a:pt x="1323581" y="10020"/>
                  </a:lnTo>
                  <a:lnTo>
                    <a:pt x="1314577" y="48120"/>
                  </a:lnTo>
                  <a:lnTo>
                    <a:pt x="1324521" y="98920"/>
                  </a:lnTo>
                  <a:lnTo>
                    <a:pt x="1351661" y="137020"/>
                  </a:lnTo>
                  <a:lnTo>
                    <a:pt x="1391920" y="162420"/>
                  </a:lnTo>
                  <a:lnTo>
                    <a:pt x="1441234" y="175120"/>
                  </a:lnTo>
                  <a:lnTo>
                    <a:pt x="2424163" y="175120"/>
                  </a:lnTo>
                  <a:lnTo>
                    <a:pt x="2406192" y="225920"/>
                  </a:lnTo>
                  <a:lnTo>
                    <a:pt x="2386253" y="264020"/>
                  </a:lnTo>
                  <a:lnTo>
                    <a:pt x="2364435" y="314820"/>
                  </a:lnTo>
                  <a:lnTo>
                    <a:pt x="2340800" y="365620"/>
                  </a:lnTo>
                  <a:lnTo>
                    <a:pt x="2315400" y="403720"/>
                  </a:lnTo>
                  <a:lnTo>
                    <a:pt x="2288298" y="454520"/>
                  </a:lnTo>
                  <a:lnTo>
                    <a:pt x="2259584" y="492620"/>
                  </a:lnTo>
                  <a:lnTo>
                    <a:pt x="1496834" y="492620"/>
                  </a:lnTo>
                  <a:lnTo>
                    <a:pt x="1447520" y="505320"/>
                  </a:lnTo>
                  <a:lnTo>
                    <a:pt x="1407261" y="530720"/>
                  </a:lnTo>
                  <a:lnTo>
                    <a:pt x="1380121" y="581520"/>
                  </a:lnTo>
                  <a:lnTo>
                    <a:pt x="1370177" y="619620"/>
                  </a:lnTo>
                  <a:lnTo>
                    <a:pt x="1380121" y="670420"/>
                  </a:lnTo>
                  <a:lnTo>
                    <a:pt x="1407261" y="721220"/>
                  </a:lnTo>
                  <a:lnTo>
                    <a:pt x="1447520" y="746620"/>
                  </a:lnTo>
                  <a:lnTo>
                    <a:pt x="2074989" y="746620"/>
                  </a:lnTo>
                  <a:lnTo>
                    <a:pt x="2044115" y="784720"/>
                  </a:lnTo>
                  <a:lnTo>
                    <a:pt x="2012492" y="822820"/>
                  </a:lnTo>
                  <a:lnTo>
                    <a:pt x="1980171" y="860920"/>
                  </a:lnTo>
                  <a:lnTo>
                    <a:pt x="1947189" y="899020"/>
                  </a:lnTo>
                  <a:lnTo>
                    <a:pt x="1913585" y="937120"/>
                  </a:lnTo>
                  <a:lnTo>
                    <a:pt x="1879396" y="975220"/>
                  </a:lnTo>
                  <a:lnTo>
                    <a:pt x="1844662" y="1013320"/>
                  </a:lnTo>
                  <a:lnTo>
                    <a:pt x="1809432" y="1051420"/>
                  </a:lnTo>
                  <a:lnTo>
                    <a:pt x="1773732" y="1089520"/>
                  </a:lnTo>
                  <a:lnTo>
                    <a:pt x="1737614" y="1127620"/>
                  </a:lnTo>
                  <a:lnTo>
                    <a:pt x="1701114" y="1165720"/>
                  </a:lnTo>
                  <a:lnTo>
                    <a:pt x="1627111" y="1241920"/>
                  </a:lnTo>
                  <a:lnTo>
                    <a:pt x="1589697" y="1267320"/>
                  </a:lnTo>
                  <a:lnTo>
                    <a:pt x="1400073" y="1457820"/>
                  </a:lnTo>
                  <a:lnTo>
                    <a:pt x="1361909" y="1483220"/>
                  </a:lnTo>
                  <a:lnTo>
                    <a:pt x="1247686" y="1597520"/>
                  </a:lnTo>
                  <a:lnTo>
                    <a:pt x="1128903" y="1699120"/>
                  </a:lnTo>
                  <a:lnTo>
                    <a:pt x="1085837" y="1749920"/>
                  </a:lnTo>
                  <a:lnTo>
                    <a:pt x="958227" y="1864220"/>
                  </a:lnTo>
                  <a:lnTo>
                    <a:pt x="874915" y="1940420"/>
                  </a:lnTo>
                  <a:lnTo>
                    <a:pt x="833920" y="1978520"/>
                  </a:lnTo>
                  <a:lnTo>
                    <a:pt x="793445" y="2016620"/>
                  </a:lnTo>
                  <a:lnTo>
                    <a:pt x="753503" y="2054720"/>
                  </a:lnTo>
                  <a:lnTo>
                    <a:pt x="714159" y="2092820"/>
                  </a:lnTo>
                  <a:lnTo>
                    <a:pt x="675462" y="2130920"/>
                  </a:lnTo>
                  <a:lnTo>
                    <a:pt x="637451" y="2169020"/>
                  </a:lnTo>
                  <a:lnTo>
                    <a:pt x="600176" y="2207120"/>
                  </a:lnTo>
                  <a:lnTo>
                    <a:pt x="563664" y="2245220"/>
                  </a:lnTo>
                  <a:lnTo>
                    <a:pt x="527977" y="2283320"/>
                  </a:lnTo>
                  <a:lnTo>
                    <a:pt x="493166" y="2321420"/>
                  </a:lnTo>
                  <a:lnTo>
                    <a:pt x="459270" y="2359520"/>
                  </a:lnTo>
                  <a:lnTo>
                    <a:pt x="426326" y="2397620"/>
                  </a:lnTo>
                  <a:lnTo>
                    <a:pt x="394373" y="2435720"/>
                  </a:lnTo>
                  <a:lnTo>
                    <a:pt x="363486" y="2473820"/>
                  </a:lnTo>
                  <a:lnTo>
                    <a:pt x="333692" y="2511920"/>
                  </a:lnTo>
                  <a:lnTo>
                    <a:pt x="305028" y="2550020"/>
                  </a:lnTo>
                  <a:lnTo>
                    <a:pt x="277558" y="2588120"/>
                  </a:lnTo>
                  <a:lnTo>
                    <a:pt x="251320" y="2626220"/>
                  </a:lnTo>
                  <a:lnTo>
                    <a:pt x="226352" y="2664320"/>
                  </a:lnTo>
                  <a:lnTo>
                    <a:pt x="202704" y="2702420"/>
                  </a:lnTo>
                  <a:lnTo>
                    <a:pt x="180428" y="2740520"/>
                  </a:lnTo>
                  <a:lnTo>
                    <a:pt x="159562" y="2778620"/>
                  </a:lnTo>
                  <a:lnTo>
                    <a:pt x="140144" y="2816720"/>
                  </a:lnTo>
                  <a:lnTo>
                    <a:pt x="122237" y="2854820"/>
                  </a:lnTo>
                  <a:lnTo>
                    <a:pt x="105879" y="2892920"/>
                  </a:lnTo>
                  <a:lnTo>
                    <a:pt x="91122" y="2931020"/>
                  </a:lnTo>
                  <a:lnTo>
                    <a:pt x="77990" y="2956420"/>
                  </a:lnTo>
                  <a:lnTo>
                    <a:pt x="56781" y="3032620"/>
                  </a:lnTo>
                  <a:lnTo>
                    <a:pt x="39179" y="3096120"/>
                  </a:lnTo>
                  <a:lnTo>
                    <a:pt x="25031" y="3159620"/>
                  </a:lnTo>
                  <a:lnTo>
                    <a:pt x="14198" y="3235820"/>
                  </a:lnTo>
                  <a:lnTo>
                    <a:pt x="6502" y="3299320"/>
                  </a:lnTo>
                  <a:lnTo>
                    <a:pt x="1828" y="3362820"/>
                  </a:lnTo>
                  <a:lnTo>
                    <a:pt x="0" y="3426320"/>
                  </a:lnTo>
                  <a:lnTo>
                    <a:pt x="863" y="3489820"/>
                  </a:lnTo>
                  <a:lnTo>
                    <a:pt x="4305" y="3540620"/>
                  </a:lnTo>
                  <a:lnTo>
                    <a:pt x="10134" y="3604120"/>
                  </a:lnTo>
                  <a:lnTo>
                    <a:pt x="18224" y="3667620"/>
                  </a:lnTo>
                  <a:lnTo>
                    <a:pt x="28422" y="3718420"/>
                  </a:lnTo>
                  <a:lnTo>
                    <a:pt x="40576" y="3781920"/>
                  </a:lnTo>
                  <a:lnTo>
                    <a:pt x="54521" y="3832720"/>
                  </a:lnTo>
                  <a:lnTo>
                    <a:pt x="70142" y="3883520"/>
                  </a:lnTo>
                  <a:lnTo>
                    <a:pt x="87249" y="3934320"/>
                  </a:lnTo>
                  <a:lnTo>
                    <a:pt x="105727" y="3985120"/>
                  </a:lnTo>
                  <a:lnTo>
                    <a:pt x="125399" y="4035920"/>
                  </a:lnTo>
                  <a:lnTo>
                    <a:pt x="146138" y="4086720"/>
                  </a:lnTo>
                  <a:lnTo>
                    <a:pt x="167767" y="4124820"/>
                  </a:lnTo>
                  <a:lnTo>
                    <a:pt x="190169" y="4175620"/>
                  </a:lnTo>
                  <a:lnTo>
                    <a:pt x="213169" y="4213720"/>
                  </a:lnTo>
                  <a:lnTo>
                    <a:pt x="236613" y="4251820"/>
                  </a:lnTo>
                  <a:lnTo>
                    <a:pt x="260375" y="4302620"/>
                  </a:lnTo>
                  <a:lnTo>
                    <a:pt x="284302" y="4340720"/>
                  </a:lnTo>
                  <a:lnTo>
                    <a:pt x="308216" y="4366120"/>
                  </a:lnTo>
                  <a:lnTo>
                    <a:pt x="332003" y="4404220"/>
                  </a:lnTo>
                  <a:lnTo>
                    <a:pt x="355485" y="4442320"/>
                  </a:lnTo>
                  <a:lnTo>
                    <a:pt x="378536" y="4467720"/>
                  </a:lnTo>
                  <a:lnTo>
                    <a:pt x="400977" y="4493120"/>
                  </a:lnTo>
                  <a:lnTo>
                    <a:pt x="422681" y="4518520"/>
                  </a:lnTo>
                  <a:lnTo>
                    <a:pt x="443496" y="4543920"/>
                  </a:lnTo>
                  <a:lnTo>
                    <a:pt x="463270" y="4569320"/>
                  </a:lnTo>
                  <a:lnTo>
                    <a:pt x="481838" y="4594720"/>
                  </a:lnTo>
                  <a:lnTo>
                    <a:pt x="499071" y="4607420"/>
                  </a:lnTo>
                  <a:lnTo>
                    <a:pt x="514807" y="4632820"/>
                  </a:lnTo>
                  <a:lnTo>
                    <a:pt x="528904" y="4645520"/>
                  </a:lnTo>
                  <a:lnTo>
                    <a:pt x="541210" y="4658220"/>
                  </a:lnTo>
                  <a:lnTo>
                    <a:pt x="551573" y="4658220"/>
                  </a:lnTo>
                  <a:lnTo>
                    <a:pt x="559841" y="4670920"/>
                  </a:lnTo>
                  <a:lnTo>
                    <a:pt x="565861" y="4683620"/>
                  </a:lnTo>
                  <a:lnTo>
                    <a:pt x="569493" y="4683620"/>
                  </a:lnTo>
                  <a:lnTo>
                    <a:pt x="597319" y="4696320"/>
                  </a:lnTo>
                  <a:lnTo>
                    <a:pt x="627621" y="4721720"/>
                  </a:lnTo>
                  <a:lnTo>
                    <a:pt x="729513" y="4721720"/>
                  </a:lnTo>
                  <a:lnTo>
                    <a:pt x="765454" y="4709020"/>
                  </a:lnTo>
                  <a:lnTo>
                    <a:pt x="828370" y="4670920"/>
                  </a:lnTo>
                  <a:lnTo>
                    <a:pt x="856284" y="4632820"/>
                  </a:lnTo>
                  <a:lnTo>
                    <a:pt x="872045" y="4582020"/>
                  </a:lnTo>
                  <a:lnTo>
                    <a:pt x="875779" y="4531220"/>
                  </a:lnTo>
                  <a:lnTo>
                    <a:pt x="867625" y="4493120"/>
                  </a:lnTo>
                  <a:lnTo>
                    <a:pt x="847686" y="4442320"/>
                  </a:lnTo>
                  <a:lnTo>
                    <a:pt x="816102" y="4404220"/>
                  </a:lnTo>
                  <a:lnTo>
                    <a:pt x="807847" y="4404220"/>
                  </a:lnTo>
                  <a:lnTo>
                    <a:pt x="791743" y="4378820"/>
                  </a:lnTo>
                  <a:lnTo>
                    <a:pt x="768921" y="4366120"/>
                  </a:lnTo>
                  <a:lnTo>
                    <a:pt x="740473" y="4328020"/>
                  </a:lnTo>
                  <a:lnTo>
                    <a:pt x="707555" y="4289920"/>
                  </a:lnTo>
                  <a:lnTo>
                    <a:pt x="671258" y="4251820"/>
                  </a:lnTo>
                  <a:lnTo>
                    <a:pt x="632701" y="4201020"/>
                  </a:lnTo>
                  <a:lnTo>
                    <a:pt x="553326" y="4074020"/>
                  </a:lnTo>
                  <a:lnTo>
                    <a:pt x="514731" y="3997820"/>
                  </a:lnTo>
                  <a:lnTo>
                    <a:pt x="1159827" y="3997820"/>
                  </a:lnTo>
                  <a:lnTo>
                    <a:pt x="1200086" y="3959720"/>
                  </a:lnTo>
                  <a:lnTo>
                    <a:pt x="1227226" y="3921620"/>
                  </a:lnTo>
                  <a:lnTo>
                    <a:pt x="1237170" y="3870820"/>
                  </a:lnTo>
                  <a:lnTo>
                    <a:pt x="1227226" y="3820020"/>
                  </a:lnTo>
                  <a:lnTo>
                    <a:pt x="1200086" y="3781920"/>
                  </a:lnTo>
                  <a:lnTo>
                    <a:pt x="1159827" y="3756520"/>
                  </a:lnTo>
                  <a:lnTo>
                    <a:pt x="1110513" y="3743820"/>
                  </a:lnTo>
                  <a:lnTo>
                    <a:pt x="413499" y="3743820"/>
                  </a:lnTo>
                  <a:lnTo>
                    <a:pt x="401281" y="3705720"/>
                  </a:lnTo>
                  <a:lnTo>
                    <a:pt x="390766" y="3654920"/>
                  </a:lnTo>
                  <a:lnTo>
                    <a:pt x="382104" y="3604120"/>
                  </a:lnTo>
                  <a:lnTo>
                    <a:pt x="375450" y="3553320"/>
                  </a:lnTo>
                  <a:lnTo>
                    <a:pt x="370941" y="3502520"/>
                  </a:lnTo>
                  <a:lnTo>
                    <a:pt x="368731" y="3451720"/>
                  </a:lnTo>
                  <a:lnTo>
                    <a:pt x="1493862" y="3451720"/>
                  </a:lnTo>
                  <a:lnTo>
                    <a:pt x="1543177" y="3439020"/>
                  </a:lnTo>
                  <a:lnTo>
                    <a:pt x="1583436" y="3413620"/>
                  </a:lnTo>
                  <a:lnTo>
                    <a:pt x="1610575" y="3375520"/>
                  </a:lnTo>
                  <a:lnTo>
                    <a:pt x="1620520" y="3324720"/>
                  </a:lnTo>
                  <a:lnTo>
                    <a:pt x="1610575" y="3273920"/>
                  </a:lnTo>
                  <a:lnTo>
                    <a:pt x="1583436" y="3235820"/>
                  </a:lnTo>
                  <a:lnTo>
                    <a:pt x="1543177" y="3210420"/>
                  </a:lnTo>
                  <a:lnTo>
                    <a:pt x="1493862" y="3197720"/>
                  </a:lnTo>
                  <a:lnTo>
                    <a:pt x="393382" y="3197720"/>
                  </a:lnTo>
                  <a:lnTo>
                    <a:pt x="400278" y="3172320"/>
                  </a:lnTo>
                  <a:lnTo>
                    <a:pt x="408038" y="3134220"/>
                  </a:lnTo>
                  <a:lnTo>
                    <a:pt x="416763" y="3108820"/>
                  </a:lnTo>
                  <a:lnTo>
                    <a:pt x="426529" y="3083420"/>
                  </a:lnTo>
                  <a:lnTo>
                    <a:pt x="441350" y="3032620"/>
                  </a:lnTo>
                  <a:lnTo>
                    <a:pt x="459257" y="2994520"/>
                  </a:lnTo>
                  <a:lnTo>
                    <a:pt x="480085" y="2956420"/>
                  </a:lnTo>
                  <a:lnTo>
                    <a:pt x="503656" y="2918320"/>
                  </a:lnTo>
                  <a:lnTo>
                    <a:pt x="529818" y="2867520"/>
                  </a:lnTo>
                  <a:lnTo>
                    <a:pt x="1442580" y="2867520"/>
                  </a:lnTo>
                  <a:lnTo>
                    <a:pt x="1482839" y="2829420"/>
                  </a:lnTo>
                  <a:lnTo>
                    <a:pt x="1509979" y="2791320"/>
                  </a:lnTo>
                  <a:lnTo>
                    <a:pt x="1519923" y="2740520"/>
                  </a:lnTo>
                  <a:lnTo>
                    <a:pt x="1509979" y="2702420"/>
                  </a:lnTo>
                  <a:lnTo>
                    <a:pt x="1482839" y="2651620"/>
                  </a:lnTo>
                  <a:lnTo>
                    <a:pt x="1442580" y="2626220"/>
                  </a:lnTo>
                  <a:lnTo>
                    <a:pt x="1393266" y="2613520"/>
                  </a:lnTo>
                  <a:lnTo>
                    <a:pt x="723988" y="2613520"/>
                  </a:lnTo>
                  <a:lnTo>
                    <a:pt x="754214" y="2588120"/>
                  </a:lnTo>
                  <a:lnTo>
                    <a:pt x="785418" y="2550020"/>
                  </a:lnTo>
                  <a:lnTo>
                    <a:pt x="817549" y="2511920"/>
                  </a:lnTo>
                  <a:lnTo>
                    <a:pt x="850595" y="2486520"/>
                  </a:lnTo>
                  <a:lnTo>
                    <a:pt x="884466" y="2448420"/>
                  </a:lnTo>
                  <a:lnTo>
                    <a:pt x="919149" y="2410320"/>
                  </a:lnTo>
                  <a:lnTo>
                    <a:pt x="954570" y="2372220"/>
                  </a:lnTo>
                  <a:lnTo>
                    <a:pt x="990701" y="2334120"/>
                  </a:lnTo>
                  <a:lnTo>
                    <a:pt x="1027493" y="2308720"/>
                  </a:lnTo>
                  <a:lnTo>
                    <a:pt x="1064895" y="2270620"/>
                  </a:lnTo>
                  <a:lnTo>
                    <a:pt x="1102842" y="2232520"/>
                  </a:lnTo>
                  <a:lnTo>
                    <a:pt x="1141323" y="2194420"/>
                  </a:lnTo>
                  <a:lnTo>
                    <a:pt x="1180261" y="2156320"/>
                  </a:lnTo>
                  <a:lnTo>
                    <a:pt x="1259370" y="2080120"/>
                  </a:lnTo>
                  <a:lnTo>
                    <a:pt x="1339773" y="2003920"/>
                  </a:lnTo>
                  <a:lnTo>
                    <a:pt x="1380350" y="1978520"/>
                  </a:lnTo>
                  <a:lnTo>
                    <a:pt x="1460766" y="1902320"/>
                  </a:lnTo>
                  <a:lnTo>
                    <a:pt x="1737309" y="1635620"/>
                  </a:lnTo>
                  <a:lnTo>
                    <a:pt x="1776310" y="1597520"/>
                  </a:lnTo>
                  <a:lnTo>
                    <a:pt x="1815109" y="1572120"/>
                  </a:lnTo>
                  <a:lnTo>
                    <a:pt x="1891931" y="1495920"/>
                  </a:lnTo>
                  <a:lnTo>
                    <a:pt x="1967534" y="1419720"/>
                  </a:lnTo>
                  <a:lnTo>
                    <a:pt x="2004809" y="1381620"/>
                  </a:lnTo>
                  <a:lnTo>
                    <a:pt x="2041690" y="1343520"/>
                  </a:lnTo>
                  <a:lnTo>
                    <a:pt x="2078139" y="1305420"/>
                  </a:lnTo>
                  <a:lnTo>
                    <a:pt x="2114143" y="1267320"/>
                  </a:lnTo>
                  <a:lnTo>
                    <a:pt x="2149665" y="1229220"/>
                  </a:lnTo>
                  <a:lnTo>
                    <a:pt x="2184679" y="1191120"/>
                  </a:lnTo>
                  <a:lnTo>
                    <a:pt x="2219147" y="1153020"/>
                  </a:lnTo>
                  <a:lnTo>
                    <a:pt x="2253030" y="1114920"/>
                  </a:lnTo>
                  <a:lnTo>
                    <a:pt x="2286330" y="1076820"/>
                  </a:lnTo>
                  <a:lnTo>
                    <a:pt x="2318982" y="1038720"/>
                  </a:lnTo>
                  <a:lnTo>
                    <a:pt x="2350986" y="1000620"/>
                  </a:lnTo>
                  <a:lnTo>
                    <a:pt x="2382291" y="962520"/>
                  </a:lnTo>
                  <a:lnTo>
                    <a:pt x="2412873" y="924420"/>
                  </a:lnTo>
                  <a:lnTo>
                    <a:pt x="2442705" y="886320"/>
                  </a:lnTo>
                  <a:lnTo>
                    <a:pt x="2471763" y="848220"/>
                  </a:lnTo>
                  <a:lnTo>
                    <a:pt x="2499995" y="797420"/>
                  </a:lnTo>
                  <a:lnTo>
                    <a:pt x="2527401" y="759320"/>
                  </a:lnTo>
                  <a:lnTo>
                    <a:pt x="2553932" y="721220"/>
                  </a:lnTo>
                  <a:lnTo>
                    <a:pt x="2579560" y="683120"/>
                  </a:lnTo>
                  <a:lnTo>
                    <a:pt x="2604262" y="645020"/>
                  </a:lnTo>
                  <a:lnTo>
                    <a:pt x="2627998" y="606920"/>
                  </a:lnTo>
                  <a:lnTo>
                    <a:pt x="2650744" y="568820"/>
                  </a:lnTo>
                  <a:lnTo>
                    <a:pt x="2672473" y="518020"/>
                  </a:lnTo>
                  <a:lnTo>
                    <a:pt x="2693162" y="479920"/>
                  </a:lnTo>
                  <a:lnTo>
                    <a:pt x="2712758" y="441820"/>
                  </a:lnTo>
                  <a:lnTo>
                    <a:pt x="2731249" y="403720"/>
                  </a:lnTo>
                  <a:lnTo>
                    <a:pt x="2748610" y="365620"/>
                  </a:lnTo>
                  <a:lnTo>
                    <a:pt x="2764790" y="314820"/>
                  </a:lnTo>
                  <a:lnTo>
                    <a:pt x="2779776" y="276720"/>
                  </a:lnTo>
                  <a:lnTo>
                    <a:pt x="2793530" y="238620"/>
                  </a:lnTo>
                  <a:lnTo>
                    <a:pt x="2806039" y="187820"/>
                  </a:lnTo>
                  <a:lnTo>
                    <a:pt x="2817241" y="149720"/>
                  </a:lnTo>
                  <a:lnTo>
                    <a:pt x="2827134" y="111620"/>
                  </a:lnTo>
                  <a:lnTo>
                    <a:pt x="2835681" y="73520"/>
                  </a:lnTo>
                  <a:lnTo>
                    <a:pt x="2842857" y="22720"/>
                  </a:lnTo>
                  <a:lnTo>
                    <a:pt x="2845346" y="10020"/>
                  </a:lnTo>
                  <a:close/>
                </a:path>
                <a:path w="3693795" h="4721860">
                  <a:moveTo>
                    <a:pt x="3506774" y="1344333"/>
                  </a:moveTo>
                  <a:lnTo>
                    <a:pt x="3503396" y="1297622"/>
                  </a:lnTo>
                  <a:lnTo>
                    <a:pt x="3493605" y="1253045"/>
                  </a:lnTo>
                  <a:lnTo>
                    <a:pt x="3477857" y="1211084"/>
                  </a:lnTo>
                  <a:lnTo>
                    <a:pt x="3456660" y="1172222"/>
                  </a:lnTo>
                  <a:lnTo>
                    <a:pt x="3430473" y="1136954"/>
                  </a:lnTo>
                  <a:lnTo>
                    <a:pt x="3399790" y="1105776"/>
                  </a:lnTo>
                  <a:lnTo>
                    <a:pt x="3365093" y="1079169"/>
                  </a:lnTo>
                  <a:lnTo>
                    <a:pt x="3326854" y="1057630"/>
                  </a:lnTo>
                  <a:lnTo>
                    <a:pt x="3285566" y="1041628"/>
                  </a:lnTo>
                  <a:lnTo>
                    <a:pt x="3241700" y="1031671"/>
                  </a:lnTo>
                  <a:lnTo>
                    <a:pt x="3195739" y="1028242"/>
                  </a:lnTo>
                  <a:lnTo>
                    <a:pt x="3149777" y="1031671"/>
                  </a:lnTo>
                  <a:lnTo>
                    <a:pt x="3105899" y="1041628"/>
                  </a:lnTo>
                  <a:lnTo>
                    <a:pt x="3064611" y="1057630"/>
                  </a:lnTo>
                  <a:lnTo>
                    <a:pt x="3026372" y="1079169"/>
                  </a:lnTo>
                  <a:lnTo>
                    <a:pt x="2991675" y="1105776"/>
                  </a:lnTo>
                  <a:lnTo>
                    <a:pt x="2960992" y="1136954"/>
                  </a:lnTo>
                  <a:lnTo>
                    <a:pt x="2934805" y="1172222"/>
                  </a:lnTo>
                  <a:lnTo>
                    <a:pt x="2913608" y="1211084"/>
                  </a:lnTo>
                  <a:lnTo>
                    <a:pt x="2897873" y="1253045"/>
                  </a:lnTo>
                  <a:lnTo>
                    <a:pt x="2888069" y="1297622"/>
                  </a:lnTo>
                  <a:lnTo>
                    <a:pt x="2884703" y="1344333"/>
                  </a:lnTo>
                  <a:lnTo>
                    <a:pt x="2888069" y="1391043"/>
                  </a:lnTo>
                  <a:lnTo>
                    <a:pt x="2897873" y="1435633"/>
                  </a:lnTo>
                  <a:lnTo>
                    <a:pt x="2913608" y="1477594"/>
                  </a:lnTo>
                  <a:lnTo>
                    <a:pt x="2934805" y="1516456"/>
                  </a:lnTo>
                  <a:lnTo>
                    <a:pt x="2960992" y="1551711"/>
                  </a:lnTo>
                  <a:lnTo>
                    <a:pt x="2991675" y="1582902"/>
                  </a:lnTo>
                  <a:lnTo>
                    <a:pt x="3026372" y="1609509"/>
                  </a:lnTo>
                  <a:lnTo>
                    <a:pt x="3064611" y="1631048"/>
                  </a:lnTo>
                  <a:lnTo>
                    <a:pt x="3105899" y="1647050"/>
                  </a:lnTo>
                  <a:lnTo>
                    <a:pt x="3149777" y="1657007"/>
                  </a:lnTo>
                  <a:lnTo>
                    <a:pt x="3195739" y="1660423"/>
                  </a:lnTo>
                  <a:lnTo>
                    <a:pt x="3241700" y="1657007"/>
                  </a:lnTo>
                  <a:lnTo>
                    <a:pt x="3285566" y="1647050"/>
                  </a:lnTo>
                  <a:lnTo>
                    <a:pt x="3326854" y="1631048"/>
                  </a:lnTo>
                  <a:lnTo>
                    <a:pt x="3365093" y="1609509"/>
                  </a:lnTo>
                  <a:lnTo>
                    <a:pt x="3399790" y="1582902"/>
                  </a:lnTo>
                  <a:lnTo>
                    <a:pt x="3430473" y="1551711"/>
                  </a:lnTo>
                  <a:lnTo>
                    <a:pt x="3456660" y="1516456"/>
                  </a:lnTo>
                  <a:lnTo>
                    <a:pt x="3477857" y="1477594"/>
                  </a:lnTo>
                  <a:lnTo>
                    <a:pt x="3493605" y="1435633"/>
                  </a:lnTo>
                  <a:lnTo>
                    <a:pt x="3503396" y="1391043"/>
                  </a:lnTo>
                  <a:lnTo>
                    <a:pt x="3506774" y="1344333"/>
                  </a:lnTo>
                  <a:close/>
                </a:path>
                <a:path w="3693795" h="4721860">
                  <a:moveTo>
                    <a:pt x="3508527" y="2550566"/>
                  </a:moveTo>
                  <a:lnTo>
                    <a:pt x="3505873" y="2503855"/>
                  </a:lnTo>
                  <a:lnTo>
                    <a:pt x="3498113" y="2458732"/>
                  </a:lnTo>
                  <a:lnTo>
                    <a:pt x="3485540" y="2415476"/>
                  </a:lnTo>
                  <a:lnTo>
                    <a:pt x="3468459" y="2374417"/>
                  </a:lnTo>
                  <a:lnTo>
                    <a:pt x="3447161" y="2335834"/>
                  </a:lnTo>
                  <a:lnTo>
                    <a:pt x="3421938" y="2300046"/>
                  </a:lnTo>
                  <a:lnTo>
                    <a:pt x="3393084" y="2267331"/>
                  </a:lnTo>
                  <a:lnTo>
                    <a:pt x="3360890" y="2238006"/>
                  </a:lnTo>
                  <a:lnTo>
                    <a:pt x="3325672" y="2212378"/>
                  </a:lnTo>
                  <a:lnTo>
                    <a:pt x="3287712" y="2190724"/>
                  </a:lnTo>
                  <a:lnTo>
                    <a:pt x="3247301" y="2173363"/>
                  </a:lnTo>
                  <a:lnTo>
                    <a:pt x="3204756" y="2160587"/>
                  </a:lnTo>
                  <a:lnTo>
                    <a:pt x="3160344" y="2152713"/>
                  </a:lnTo>
                  <a:lnTo>
                    <a:pt x="3114383" y="2150008"/>
                  </a:lnTo>
                  <a:lnTo>
                    <a:pt x="3068409" y="2152713"/>
                  </a:lnTo>
                  <a:lnTo>
                    <a:pt x="3024009" y="2160587"/>
                  </a:lnTo>
                  <a:lnTo>
                    <a:pt x="2981452" y="2173363"/>
                  </a:lnTo>
                  <a:lnTo>
                    <a:pt x="2941040" y="2190724"/>
                  </a:lnTo>
                  <a:lnTo>
                    <a:pt x="2903080" y="2212378"/>
                  </a:lnTo>
                  <a:lnTo>
                    <a:pt x="2867863" y="2238006"/>
                  </a:lnTo>
                  <a:lnTo>
                    <a:pt x="2835681" y="2267331"/>
                  </a:lnTo>
                  <a:lnTo>
                    <a:pt x="2806827" y="2300046"/>
                  </a:lnTo>
                  <a:lnTo>
                    <a:pt x="2781604" y="2335834"/>
                  </a:lnTo>
                  <a:lnTo>
                    <a:pt x="2760294" y="2374417"/>
                  </a:lnTo>
                  <a:lnTo>
                    <a:pt x="2743212" y="2415476"/>
                  </a:lnTo>
                  <a:lnTo>
                    <a:pt x="2730639" y="2458732"/>
                  </a:lnTo>
                  <a:lnTo>
                    <a:pt x="2722880" y="2503855"/>
                  </a:lnTo>
                  <a:lnTo>
                    <a:pt x="2720238" y="2550566"/>
                  </a:lnTo>
                  <a:lnTo>
                    <a:pt x="2722880" y="2597289"/>
                  </a:lnTo>
                  <a:lnTo>
                    <a:pt x="2730639" y="2642412"/>
                  </a:lnTo>
                  <a:lnTo>
                    <a:pt x="2743212" y="2685669"/>
                  </a:lnTo>
                  <a:lnTo>
                    <a:pt x="2760294" y="2726728"/>
                  </a:lnTo>
                  <a:lnTo>
                    <a:pt x="2781604" y="2765310"/>
                  </a:lnTo>
                  <a:lnTo>
                    <a:pt x="2806827" y="2801099"/>
                  </a:lnTo>
                  <a:lnTo>
                    <a:pt x="2835681" y="2833814"/>
                  </a:lnTo>
                  <a:lnTo>
                    <a:pt x="2867863" y="2863126"/>
                  </a:lnTo>
                  <a:lnTo>
                    <a:pt x="2903080" y="2888767"/>
                  </a:lnTo>
                  <a:lnTo>
                    <a:pt x="2941040" y="2910421"/>
                  </a:lnTo>
                  <a:lnTo>
                    <a:pt x="2981452" y="2927781"/>
                  </a:lnTo>
                  <a:lnTo>
                    <a:pt x="3024009" y="2940545"/>
                  </a:lnTo>
                  <a:lnTo>
                    <a:pt x="3068409" y="2948432"/>
                  </a:lnTo>
                  <a:lnTo>
                    <a:pt x="3114383" y="2951124"/>
                  </a:lnTo>
                  <a:lnTo>
                    <a:pt x="3160344" y="2948432"/>
                  </a:lnTo>
                  <a:lnTo>
                    <a:pt x="3204756" y="2940545"/>
                  </a:lnTo>
                  <a:lnTo>
                    <a:pt x="3247301" y="2927781"/>
                  </a:lnTo>
                  <a:lnTo>
                    <a:pt x="3287712" y="2910421"/>
                  </a:lnTo>
                  <a:lnTo>
                    <a:pt x="3325672" y="2888767"/>
                  </a:lnTo>
                  <a:lnTo>
                    <a:pt x="3360890" y="2863126"/>
                  </a:lnTo>
                  <a:lnTo>
                    <a:pt x="3393084" y="2833814"/>
                  </a:lnTo>
                  <a:lnTo>
                    <a:pt x="3421938" y="2801099"/>
                  </a:lnTo>
                  <a:lnTo>
                    <a:pt x="3447161" y="2765310"/>
                  </a:lnTo>
                  <a:lnTo>
                    <a:pt x="3468459" y="2726728"/>
                  </a:lnTo>
                  <a:lnTo>
                    <a:pt x="3485540" y="2685669"/>
                  </a:lnTo>
                  <a:lnTo>
                    <a:pt x="3498113" y="2642412"/>
                  </a:lnTo>
                  <a:lnTo>
                    <a:pt x="3505873" y="2597289"/>
                  </a:lnTo>
                  <a:lnTo>
                    <a:pt x="3508527" y="2550566"/>
                  </a:lnTo>
                  <a:close/>
                </a:path>
                <a:path w="3693795" h="4721860">
                  <a:moveTo>
                    <a:pt x="3693350" y="317944"/>
                  </a:moveTo>
                  <a:lnTo>
                    <a:pt x="3689007" y="268770"/>
                  </a:lnTo>
                  <a:lnTo>
                    <a:pt x="3676510" y="222491"/>
                  </a:lnTo>
                  <a:lnTo>
                    <a:pt x="3656596" y="179870"/>
                  </a:lnTo>
                  <a:lnTo>
                    <a:pt x="3630041" y="141693"/>
                  </a:lnTo>
                  <a:lnTo>
                    <a:pt x="3597592" y="108724"/>
                  </a:lnTo>
                  <a:lnTo>
                    <a:pt x="3560026" y="81737"/>
                  </a:lnTo>
                  <a:lnTo>
                    <a:pt x="3518090" y="61506"/>
                  </a:lnTo>
                  <a:lnTo>
                    <a:pt x="3472548" y="48793"/>
                  </a:lnTo>
                  <a:lnTo>
                    <a:pt x="3424161" y="44386"/>
                  </a:lnTo>
                  <a:lnTo>
                    <a:pt x="3375774" y="48793"/>
                  </a:lnTo>
                  <a:lnTo>
                    <a:pt x="3330232" y="61506"/>
                  </a:lnTo>
                  <a:lnTo>
                    <a:pt x="3288296" y="81737"/>
                  </a:lnTo>
                  <a:lnTo>
                    <a:pt x="3250730" y="108724"/>
                  </a:lnTo>
                  <a:lnTo>
                    <a:pt x="3218281" y="141693"/>
                  </a:lnTo>
                  <a:lnTo>
                    <a:pt x="3191726" y="179870"/>
                  </a:lnTo>
                  <a:lnTo>
                    <a:pt x="3171812" y="222491"/>
                  </a:lnTo>
                  <a:lnTo>
                    <a:pt x="3159315" y="268770"/>
                  </a:lnTo>
                  <a:lnTo>
                    <a:pt x="3154972" y="317944"/>
                  </a:lnTo>
                  <a:lnTo>
                    <a:pt x="3159315" y="367118"/>
                  </a:lnTo>
                  <a:lnTo>
                    <a:pt x="3171812" y="413397"/>
                  </a:lnTo>
                  <a:lnTo>
                    <a:pt x="3191726" y="456018"/>
                  </a:lnTo>
                  <a:lnTo>
                    <a:pt x="3218281" y="494207"/>
                  </a:lnTo>
                  <a:lnTo>
                    <a:pt x="3250730" y="527177"/>
                  </a:lnTo>
                  <a:lnTo>
                    <a:pt x="3288296" y="554164"/>
                  </a:lnTo>
                  <a:lnTo>
                    <a:pt x="3330232" y="574395"/>
                  </a:lnTo>
                  <a:lnTo>
                    <a:pt x="3375774" y="587108"/>
                  </a:lnTo>
                  <a:lnTo>
                    <a:pt x="3424161" y="591515"/>
                  </a:lnTo>
                  <a:lnTo>
                    <a:pt x="3472548" y="587108"/>
                  </a:lnTo>
                  <a:lnTo>
                    <a:pt x="3518090" y="574395"/>
                  </a:lnTo>
                  <a:lnTo>
                    <a:pt x="3560026" y="554164"/>
                  </a:lnTo>
                  <a:lnTo>
                    <a:pt x="3597592" y="527177"/>
                  </a:lnTo>
                  <a:lnTo>
                    <a:pt x="3630041" y="494207"/>
                  </a:lnTo>
                  <a:lnTo>
                    <a:pt x="3656596" y="456018"/>
                  </a:lnTo>
                  <a:lnTo>
                    <a:pt x="3676510" y="413397"/>
                  </a:lnTo>
                  <a:lnTo>
                    <a:pt x="3689007" y="367118"/>
                  </a:lnTo>
                  <a:lnTo>
                    <a:pt x="3693350" y="317944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>
              <a:extLst>
                <a:ext uri="{FF2B5EF4-FFF2-40B4-BE49-F238E27FC236}">
                  <a16:creationId xmlns:a16="http://schemas.microsoft.com/office/drawing/2014/main" id="{5D0CF7AA-5EBE-7C05-F897-4819BD7C555D}"/>
                </a:ext>
              </a:extLst>
            </p:cNvPr>
            <p:cNvSpPr/>
            <p:nvPr/>
          </p:nvSpPr>
          <p:spPr>
            <a:xfrm>
              <a:off x="3624663" y="653716"/>
              <a:ext cx="714591" cy="726107"/>
            </a:xfrm>
            <a:custGeom>
              <a:avLst/>
              <a:gdLst/>
              <a:ahLst/>
              <a:cxnLst/>
              <a:rect l="l" t="t" r="r" b="b"/>
              <a:pathLst>
                <a:path w="788035" h="800735">
                  <a:moveTo>
                    <a:pt x="393953" y="0"/>
                  </a:moveTo>
                  <a:lnTo>
                    <a:pt x="348010" y="2693"/>
                  </a:lnTo>
                  <a:lnTo>
                    <a:pt x="303623" y="10573"/>
                  </a:lnTo>
                  <a:lnTo>
                    <a:pt x="261088" y="23340"/>
                  </a:lnTo>
                  <a:lnTo>
                    <a:pt x="220702" y="40693"/>
                  </a:lnTo>
                  <a:lnTo>
                    <a:pt x="182759" y="62331"/>
                  </a:lnTo>
                  <a:lnTo>
                    <a:pt x="147555" y="87955"/>
                  </a:lnTo>
                  <a:lnTo>
                    <a:pt x="115385" y="117263"/>
                  </a:lnTo>
                  <a:lnTo>
                    <a:pt x="86546" y="149956"/>
                  </a:lnTo>
                  <a:lnTo>
                    <a:pt x="61333" y="185733"/>
                  </a:lnTo>
                  <a:lnTo>
                    <a:pt x="40041" y="224294"/>
                  </a:lnTo>
                  <a:lnTo>
                    <a:pt x="22966" y="265338"/>
                  </a:lnTo>
                  <a:lnTo>
                    <a:pt x="10404" y="308566"/>
                  </a:lnTo>
                  <a:lnTo>
                    <a:pt x="2650" y="353675"/>
                  </a:lnTo>
                  <a:lnTo>
                    <a:pt x="0" y="400367"/>
                  </a:lnTo>
                  <a:lnTo>
                    <a:pt x="2650" y="447056"/>
                  </a:lnTo>
                  <a:lnTo>
                    <a:pt x="10404" y="492164"/>
                  </a:lnTo>
                  <a:lnTo>
                    <a:pt x="22966" y="535389"/>
                  </a:lnTo>
                  <a:lnTo>
                    <a:pt x="40041" y="576432"/>
                  </a:lnTo>
                  <a:lnTo>
                    <a:pt x="61333" y="614991"/>
                  </a:lnTo>
                  <a:lnTo>
                    <a:pt x="86546" y="650767"/>
                  </a:lnTo>
                  <a:lnTo>
                    <a:pt x="115385" y="683460"/>
                  </a:lnTo>
                  <a:lnTo>
                    <a:pt x="147555" y="712767"/>
                  </a:lnTo>
                  <a:lnTo>
                    <a:pt x="182759" y="738391"/>
                  </a:lnTo>
                  <a:lnTo>
                    <a:pt x="220702" y="760029"/>
                  </a:lnTo>
                  <a:lnTo>
                    <a:pt x="261088" y="777381"/>
                  </a:lnTo>
                  <a:lnTo>
                    <a:pt x="303623" y="790148"/>
                  </a:lnTo>
                  <a:lnTo>
                    <a:pt x="348010" y="798028"/>
                  </a:lnTo>
                  <a:lnTo>
                    <a:pt x="393953" y="800722"/>
                  </a:lnTo>
                  <a:lnTo>
                    <a:pt x="439897" y="798028"/>
                  </a:lnTo>
                  <a:lnTo>
                    <a:pt x="484284" y="790148"/>
                  </a:lnTo>
                  <a:lnTo>
                    <a:pt x="526819" y="777381"/>
                  </a:lnTo>
                  <a:lnTo>
                    <a:pt x="567205" y="760029"/>
                  </a:lnTo>
                  <a:lnTo>
                    <a:pt x="605148" y="738391"/>
                  </a:lnTo>
                  <a:lnTo>
                    <a:pt x="640352" y="712767"/>
                  </a:lnTo>
                  <a:lnTo>
                    <a:pt x="672522" y="683460"/>
                  </a:lnTo>
                  <a:lnTo>
                    <a:pt x="701361" y="650767"/>
                  </a:lnTo>
                  <a:lnTo>
                    <a:pt x="726574" y="614991"/>
                  </a:lnTo>
                  <a:lnTo>
                    <a:pt x="747866" y="576432"/>
                  </a:lnTo>
                  <a:lnTo>
                    <a:pt x="764941" y="535389"/>
                  </a:lnTo>
                  <a:lnTo>
                    <a:pt x="777503" y="492164"/>
                  </a:lnTo>
                  <a:lnTo>
                    <a:pt x="785257" y="447056"/>
                  </a:lnTo>
                  <a:lnTo>
                    <a:pt x="787907" y="400367"/>
                  </a:lnTo>
                  <a:lnTo>
                    <a:pt x="785257" y="353675"/>
                  </a:lnTo>
                  <a:lnTo>
                    <a:pt x="777503" y="308566"/>
                  </a:lnTo>
                  <a:lnTo>
                    <a:pt x="764941" y="265338"/>
                  </a:lnTo>
                  <a:lnTo>
                    <a:pt x="747866" y="224294"/>
                  </a:lnTo>
                  <a:lnTo>
                    <a:pt x="726574" y="185733"/>
                  </a:lnTo>
                  <a:lnTo>
                    <a:pt x="701361" y="149956"/>
                  </a:lnTo>
                  <a:lnTo>
                    <a:pt x="672522" y="117263"/>
                  </a:lnTo>
                  <a:lnTo>
                    <a:pt x="640352" y="87955"/>
                  </a:lnTo>
                  <a:lnTo>
                    <a:pt x="605148" y="62331"/>
                  </a:lnTo>
                  <a:lnTo>
                    <a:pt x="567205" y="40693"/>
                  </a:lnTo>
                  <a:lnTo>
                    <a:pt x="526819" y="23340"/>
                  </a:lnTo>
                  <a:lnTo>
                    <a:pt x="484284" y="10573"/>
                  </a:lnTo>
                  <a:lnTo>
                    <a:pt x="439897" y="2693"/>
                  </a:lnTo>
                  <a:lnTo>
                    <a:pt x="393953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25DD953B-F14D-071F-E4DD-C54031B4394C}"/>
                </a:ext>
              </a:extLst>
            </p:cNvPr>
            <p:cNvSpPr/>
            <p:nvPr/>
          </p:nvSpPr>
          <p:spPr>
            <a:xfrm>
              <a:off x="9597" y="0"/>
              <a:ext cx="210750" cy="1356629"/>
            </a:xfrm>
            <a:custGeom>
              <a:avLst/>
              <a:gdLst/>
              <a:ahLst/>
              <a:cxnLst/>
              <a:rect l="l" t="t" r="r" b="b"/>
              <a:pathLst>
                <a:path w="232410" h="1496060">
                  <a:moveTo>
                    <a:pt x="105352" y="1242277"/>
                  </a:moveTo>
                  <a:lnTo>
                    <a:pt x="0" y="1242277"/>
                  </a:lnTo>
                  <a:lnTo>
                    <a:pt x="0" y="1495642"/>
                  </a:lnTo>
                  <a:lnTo>
                    <a:pt x="105352" y="1495642"/>
                  </a:lnTo>
                  <a:lnTo>
                    <a:pt x="154663" y="1485686"/>
                  </a:lnTo>
                  <a:lnTo>
                    <a:pt x="194930" y="1458537"/>
                  </a:lnTo>
                  <a:lnTo>
                    <a:pt x="222079" y="1418269"/>
                  </a:lnTo>
                  <a:lnTo>
                    <a:pt x="232035" y="1368959"/>
                  </a:lnTo>
                  <a:lnTo>
                    <a:pt x="222079" y="1319649"/>
                  </a:lnTo>
                  <a:lnTo>
                    <a:pt x="194930" y="1279381"/>
                  </a:lnTo>
                  <a:lnTo>
                    <a:pt x="154663" y="1252232"/>
                  </a:lnTo>
                  <a:lnTo>
                    <a:pt x="105352" y="1242277"/>
                  </a:lnTo>
                  <a:close/>
                </a:path>
                <a:path w="232410" h="1496060">
                  <a:moveTo>
                    <a:pt x="4730" y="660413"/>
                  </a:moveTo>
                  <a:lnTo>
                    <a:pt x="0" y="660413"/>
                  </a:lnTo>
                  <a:lnTo>
                    <a:pt x="0" y="913778"/>
                  </a:lnTo>
                  <a:lnTo>
                    <a:pt x="4730" y="913778"/>
                  </a:lnTo>
                  <a:lnTo>
                    <a:pt x="54035" y="903821"/>
                  </a:lnTo>
                  <a:lnTo>
                    <a:pt x="94303" y="876669"/>
                  </a:lnTo>
                  <a:lnTo>
                    <a:pt x="121456" y="836401"/>
                  </a:lnTo>
                  <a:lnTo>
                    <a:pt x="131413" y="787096"/>
                  </a:lnTo>
                  <a:lnTo>
                    <a:pt x="121456" y="737786"/>
                  </a:lnTo>
                  <a:lnTo>
                    <a:pt x="94303" y="697518"/>
                  </a:lnTo>
                  <a:lnTo>
                    <a:pt x="54035" y="670369"/>
                  </a:lnTo>
                  <a:lnTo>
                    <a:pt x="4730" y="660413"/>
                  </a:lnTo>
                  <a:close/>
                </a:path>
                <a:path w="232410" h="1496060">
                  <a:moveTo>
                    <a:pt x="6762" y="0"/>
                  </a:moveTo>
                  <a:lnTo>
                    <a:pt x="0" y="0"/>
                  </a:lnTo>
                  <a:lnTo>
                    <a:pt x="0" y="6232"/>
                  </a:lnTo>
                  <a:lnTo>
                    <a:pt x="6762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0789B18E-19FB-CD65-207B-43C48EBE5A69}"/>
                </a:ext>
              </a:extLst>
            </p:cNvPr>
            <p:cNvSpPr/>
            <p:nvPr/>
          </p:nvSpPr>
          <p:spPr>
            <a:xfrm>
              <a:off x="9598" y="1623705"/>
              <a:ext cx="399042" cy="229752"/>
            </a:xfrm>
            <a:custGeom>
              <a:avLst/>
              <a:gdLst/>
              <a:ahLst/>
              <a:cxnLst/>
              <a:rect l="l" t="t" r="r" b="b"/>
              <a:pathLst>
                <a:path w="440055" h="253364">
                  <a:moveTo>
                    <a:pt x="312827" y="0"/>
                  </a:moveTo>
                  <a:lnTo>
                    <a:pt x="0" y="0"/>
                  </a:lnTo>
                  <a:lnTo>
                    <a:pt x="0" y="253365"/>
                  </a:lnTo>
                  <a:lnTo>
                    <a:pt x="312827" y="253365"/>
                  </a:lnTo>
                  <a:lnTo>
                    <a:pt x="362132" y="243409"/>
                  </a:lnTo>
                  <a:lnTo>
                    <a:pt x="402400" y="216260"/>
                  </a:lnTo>
                  <a:lnTo>
                    <a:pt x="429552" y="175992"/>
                  </a:lnTo>
                  <a:lnTo>
                    <a:pt x="439510" y="126682"/>
                  </a:lnTo>
                  <a:lnTo>
                    <a:pt x="429552" y="77372"/>
                  </a:lnTo>
                  <a:lnTo>
                    <a:pt x="402400" y="37104"/>
                  </a:lnTo>
                  <a:lnTo>
                    <a:pt x="362132" y="9955"/>
                  </a:lnTo>
                  <a:lnTo>
                    <a:pt x="312827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E815F2B0-E8A3-E494-B8FD-FEAD7DDF456A}"/>
                </a:ext>
              </a:extLst>
            </p:cNvPr>
            <p:cNvSpPr/>
            <p:nvPr/>
          </p:nvSpPr>
          <p:spPr>
            <a:xfrm>
              <a:off x="304371" y="530626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19">
                  <a:moveTo>
                    <a:pt x="191198" y="0"/>
                  </a:moveTo>
                  <a:lnTo>
                    <a:pt x="147361" y="5131"/>
                  </a:lnTo>
                  <a:lnTo>
                    <a:pt x="107117" y="19747"/>
                  </a:lnTo>
                  <a:lnTo>
                    <a:pt x="71617" y="42682"/>
                  </a:lnTo>
                  <a:lnTo>
                    <a:pt x="42006" y="72771"/>
                  </a:lnTo>
                  <a:lnTo>
                    <a:pt x="19435" y="108846"/>
                  </a:lnTo>
                  <a:lnTo>
                    <a:pt x="5050" y="149744"/>
                  </a:lnTo>
                  <a:lnTo>
                    <a:pt x="0" y="194297"/>
                  </a:lnTo>
                  <a:lnTo>
                    <a:pt x="5050" y="238850"/>
                  </a:lnTo>
                  <a:lnTo>
                    <a:pt x="19435" y="279750"/>
                  </a:lnTo>
                  <a:lnTo>
                    <a:pt x="42006" y="315828"/>
                  </a:lnTo>
                  <a:lnTo>
                    <a:pt x="71617" y="345919"/>
                  </a:lnTo>
                  <a:lnTo>
                    <a:pt x="107117" y="368857"/>
                  </a:lnTo>
                  <a:lnTo>
                    <a:pt x="147361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4"/>
                  </a:lnTo>
                  <a:lnTo>
                    <a:pt x="362964" y="108846"/>
                  </a:lnTo>
                  <a:lnTo>
                    <a:pt x="340394" y="72771"/>
                  </a:lnTo>
                  <a:lnTo>
                    <a:pt x="310785" y="42682"/>
                  </a:lnTo>
                  <a:lnTo>
                    <a:pt x="275284" y="19747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C1CF5157-7353-D424-0299-651CBB82B636}"/>
                </a:ext>
              </a:extLst>
            </p:cNvPr>
            <p:cNvSpPr/>
            <p:nvPr/>
          </p:nvSpPr>
          <p:spPr>
            <a:xfrm>
              <a:off x="508301" y="1080912"/>
              <a:ext cx="292516" cy="297122"/>
            </a:xfrm>
            <a:custGeom>
              <a:avLst/>
              <a:gdLst/>
              <a:ahLst/>
              <a:cxnLst/>
              <a:rect l="l" t="t" r="r" b="b"/>
              <a:pathLst>
                <a:path w="322580" h="327659">
                  <a:moveTo>
                    <a:pt x="161213" y="0"/>
                  </a:moveTo>
                  <a:lnTo>
                    <a:pt x="118355" y="5851"/>
                  </a:lnTo>
                  <a:lnTo>
                    <a:pt x="79844" y="22366"/>
                  </a:lnTo>
                  <a:lnTo>
                    <a:pt x="47217" y="47982"/>
                  </a:lnTo>
                  <a:lnTo>
                    <a:pt x="22009" y="81138"/>
                  </a:lnTo>
                  <a:lnTo>
                    <a:pt x="5758" y="120275"/>
                  </a:lnTo>
                  <a:lnTo>
                    <a:pt x="0" y="163830"/>
                  </a:lnTo>
                  <a:lnTo>
                    <a:pt x="5758" y="207380"/>
                  </a:lnTo>
                  <a:lnTo>
                    <a:pt x="22009" y="246515"/>
                  </a:lnTo>
                  <a:lnTo>
                    <a:pt x="47217" y="279673"/>
                  </a:lnTo>
                  <a:lnTo>
                    <a:pt x="79844" y="305291"/>
                  </a:lnTo>
                  <a:lnTo>
                    <a:pt x="118355" y="321807"/>
                  </a:lnTo>
                  <a:lnTo>
                    <a:pt x="161213" y="327660"/>
                  </a:lnTo>
                  <a:lnTo>
                    <a:pt x="204072" y="321807"/>
                  </a:lnTo>
                  <a:lnTo>
                    <a:pt x="242583" y="305291"/>
                  </a:lnTo>
                  <a:lnTo>
                    <a:pt x="275210" y="279673"/>
                  </a:lnTo>
                  <a:lnTo>
                    <a:pt x="300418" y="246515"/>
                  </a:lnTo>
                  <a:lnTo>
                    <a:pt x="316669" y="207380"/>
                  </a:lnTo>
                  <a:lnTo>
                    <a:pt x="322427" y="163830"/>
                  </a:lnTo>
                  <a:lnTo>
                    <a:pt x="316669" y="120275"/>
                  </a:lnTo>
                  <a:lnTo>
                    <a:pt x="300418" y="81138"/>
                  </a:lnTo>
                  <a:lnTo>
                    <a:pt x="275210" y="47982"/>
                  </a:lnTo>
                  <a:lnTo>
                    <a:pt x="242583" y="22366"/>
                  </a:lnTo>
                  <a:lnTo>
                    <a:pt x="204072" y="5851"/>
                  </a:lnTo>
                  <a:lnTo>
                    <a:pt x="161213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9107" y="476581"/>
            <a:ext cx="9282430" cy="752109"/>
          </a:xfrm>
        </p:spPr>
        <p:txBody>
          <a:bodyPr anchor="b">
            <a:normAutofit/>
          </a:bodyPr>
          <a:lstStyle>
            <a:lvl1pPr algn="r">
              <a:defRPr sz="48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object 10">
            <a:extLst>
              <a:ext uri="{FF2B5EF4-FFF2-40B4-BE49-F238E27FC236}">
                <a16:creationId xmlns:a16="http://schemas.microsoft.com/office/drawing/2014/main" id="{A0C72F04-F457-6AB5-12E0-833F45AA60AC}"/>
              </a:ext>
            </a:extLst>
          </p:cNvPr>
          <p:cNvSpPr/>
          <p:nvPr/>
        </p:nvSpPr>
        <p:spPr>
          <a:xfrm rot="10800000">
            <a:off x="11929385" y="3918569"/>
            <a:ext cx="767112" cy="726458"/>
          </a:xfrm>
          <a:custGeom>
            <a:avLst/>
            <a:gdLst/>
            <a:ahLst/>
            <a:cxnLst/>
            <a:rect l="l" t="t" r="r" b="b"/>
            <a:pathLst>
              <a:path w="788035" h="800735">
                <a:moveTo>
                  <a:pt x="393953" y="0"/>
                </a:moveTo>
                <a:lnTo>
                  <a:pt x="348010" y="2693"/>
                </a:lnTo>
                <a:lnTo>
                  <a:pt x="303623" y="10573"/>
                </a:lnTo>
                <a:lnTo>
                  <a:pt x="261088" y="23340"/>
                </a:lnTo>
                <a:lnTo>
                  <a:pt x="220702" y="40693"/>
                </a:lnTo>
                <a:lnTo>
                  <a:pt x="182759" y="62331"/>
                </a:lnTo>
                <a:lnTo>
                  <a:pt x="147555" y="87955"/>
                </a:lnTo>
                <a:lnTo>
                  <a:pt x="115385" y="117263"/>
                </a:lnTo>
                <a:lnTo>
                  <a:pt x="86546" y="149956"/>
                </a:lnTo>
                <a:lnTo>
                  <a:pt x="61333" y="185733"/>
                </a:lnTo>
                <a:lnTo>
                  <a:pt x="40041" y="224294"/>
                </a:lnTo>
                <a:lnTo>
                  <a:pt x="22966" y="265338"/>
                </a:lnTo>
                <a:lnTo>
                  <a:pt x="10404" y="308566"/>
                </a:lnTo>
                <a:lnTo>
                  <a:pt x="2650" y="353675"/>
                </a:lnTo>
                <a:lnTo>
                  <a:pt x="0" y="400367"/>
                </a:lnTo>
                <a:lnTo>
                  <a:pt x="2650" y="447056"/>
                </a:lnTo>
                <a:lnTo>
                  <a:pt x="10404" y="492164"/>
                </a:lnTo>
                <a:lnTo>
                  <a:pt x="22966" y="535389"/>
                </a:lnTo>
                <a:lnTo>
                  <a:pt x="40041" y="576432"/>
                </a:lnTo>
                <a:lnTo>
                  <a:pt x="61333" y="614991"/>
                </a:lnTo>
                <a:lnTo>
                  <a:pt x="86546" y="650767"/>
                </a:lnTo>
                <a:lnTo>
                  <a:pt x="115385" y="683460"/>
                </a:lnTo>
                <a:lnTo>
                  <a:pt x="147555" y="712767"/>
                </a:lnTo>
                <a:lnTo>
                  <a:pt x="182759" y="738391"/>
                </a:lnTo>
                <a:lnTo>
                  <a:pt x="220702" y="760029"/>
                </a:lnTo>
                <a:lnTo>
                  <a:pt x="261088" y="777381"/>
                </a:lnTo>
                <a:lnTo>
                  <a:pt x="303623" y="790148"/>
                </a:lnTo>
                <a:lnTo>
                  <a:pt x="348010" y="798028"/>
                </a:lnTo>
                <a:lnTo>
                  <a:pt x="393953" y="800722"/>
                </a:lnTo>
                <a:lnTo>
                  <a:pt x="439897" y="798028"/>
                </a:lnTo>
                <a:lnTo>
                  <a:pt x="484284" y="790148"/>
                </a:lnTo>
                <a:lnTo>
                  <a:pt x="526819" y="777381"/>
                </a:lnTo>
                <a:lnTo>
                  <a:pt x="567205" y="760029"/>
                </a:lnTo>
                <a:lnTo>
                  <a:pt x="605148" y="738391"/>
                </a:lnTo>
                <a:lnTo>
                  <a:pt x="640352" y="712767"/>
                </a:lnTo>
                <a:lnTo>
                  <a:pt x="672522" y="683460"/>
                </a:lnTo>
                <a:lnTo>
                  <a:pt x="701361" y="650767"/>
                </a:lnTo>
                <a:lnTo>
                  <a:pt x="726574" y="614991"/>
                </a:lnTo>
                <a:lnTo>
                  <a:pt x="747866" y="576432"/>
                </a:lnTo>
                <a:lnTo>
                  <a:pt x="764941" y="535389"/>
                </a:lnTo>
                <a:lnTo>
                  <a:pt x="777503" y="492164"/>
                </a:lnTo>
                <a:lnTo>
                  <a:pt x="785257" y="447056"/>
                </a:lnTo>
                <a:lnTo>
                  <a:pt x="787907" y="400367"/>
                </a:lnTo>
                <a:lnTo>
                  <a:pt x="785257" y="353675"/>
                </a:lnTo>
                <a:lnTo>
                  <a:pt x="777503" y="308566"/>
                </a:lnTo>
                <a:lnTo>
                  <a:pt x="764941" y="265338"/>
                </a:lnTo>
                <a:lnTo>
                  <a:pt x="747866" y="224294"/>
                </a:lnTo>
                <a:lnTo>
                  <a:pt x="726574" y="185733"/>
                </a:lnTo>
                <a:lnTo>
                  <a:pt x="701361" y="149956"/>
                </a:lnTo>
                <a:lnTo>
                  <a:pt x="672522" y="117263"/>
                </a:lnTo>
                <a:lnTo>
                  <a:pt x="640352" y="87955"/>
                </a:lnTo>
                <a:lnTo>
                  <a:pt x="605148" y="62331"/>
                </a:lnTo>
                <a:lnTo>
                  <a:pt x="567205" y="40693"/>
                </a:lnTo>
                <a:lnTo>
                  <a:pt x="526819" y="23340"/>
                </a:lnTo>
                <a:lnTo>
                  <a:pt x="484284" y="10573"/>
                </a:lnTo>
                <a:lnTo>
                  <a:pt x="439897" y="2693"/>
                </a:lnTo>
                <a:lnTo>
                  <a:pt x="39395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12">
            <a:extLst>
              <a:ext uri="{FF2B5EF4-FFF2-40B4-BE49-F238E27FC236}">
                <a16:creationId xmlns:a16="http://schemas.microsoft.com/office/drawing/2014/main" id="{BED36AC7-786D-8EDD-B9F6-31DD1F862F88}"/>
              </a:ext>
            </a:extLst>
          </p:cNvPr>
          <p:cNvSpPr/>
          <p:nvPr/>
        </p:nvSpPr>
        <p:spPr>
          <a:xfrm rot="10800000">
            <a:off x="11955863" y="5877240"/>
            <a:ext cx="638498" cy="334035"/>
          </a:xfrm>
          <a:custGeom>
            <a:avLst/>
            <a:gdLst/>
            <a:ahLst/>
            <a:cxnLst/>
            <a:rect l="l" t="t" r="r" b="b"/>
            <a:pathLst>
              <a:path w="440055" h="253364">
                <a:moveTo>
                  <a:pt x="312827" y="0"/>
                </a:moveTo>
                <a:lnTo>
                  <a:pt x="0" y="0"/>
                </a:lnTo>
                <a:lnTo>
                  <a:pt x="0" y="253365"/>
                </a:lnTo>
                <a:lnTo>
                  <a:pt x="312827" y="253365"/>
                </a:lnTo>
                <a:lnTo>
                  <a:pt x="362132" y="243409"/>
                </a:lnTo>
                <a:lnTo>
                  <a:pt x="402400" y="216260"/>
                </a:lnTo>
                <a:lnTo>
                  <a:pt x="429552" y="175992"/>
                </a:lnTo>
                <a:lnTo>
                  <a:pt x="439510" y="126682"/>
                </a:lnTo>
                <a:lnTo>
                  <a:pt x="429552" y="77372"/>
                </a:lnTo>
                <a:lnTo>
                  <a:pt x="402400" y="37104"/>
                </a:lnTo>
                <a:lnTo>
                  <a:pt x="362132" y="9955"/>
                </a:lnTo>
                <a:lnTo>
                  <a:pt x="312827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64904154"/>
      </p:ext>
    </p:extLst>
  </p:cSld>
  <p:clrMapOvr>
    <a:masterClrMapping/>
  </p:clrMapOvr>
  <p:hf sldNum="0"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4122" y="593213"/>
            <a:ext cx="8904068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accent1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4" name="object 41">
            <a:extLst>
              <a:ext uri="{FF2B5EF4-FFF2-40B4-BE49-F238E27FC236}">
                <a16:creationId xmlns:a16="http://schemas.microsoft.com/office/drawing/2014/main" id="{FBC006D3-0A54-93B6-4CCC-16B74A7470A7}"/>
              </a:ext>
            </a:extLst>
          </p:cNvPr>
          <p:cNvGrpSpPr/>
          <p:nvPr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5" name="object 42">
              <a:extLst>
                <a:ext uri="{FF2B5EF4-FFF2-40B4-BE49-F238E27FC236}">
                  <a16:creationId xmlns:a16="http://schemas.microsoft.com/office/drawing/2014/main" id="{3DC9DC2C-26DF-CC61-5EF9-0D16A177B12B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6" name="object 43">
              <a:extLst>
                <a:ext uri="{FF2B5EF4-FFF2-40B4-BE49-F238E27FC236}">
                  <a16:creationId xmlns:a16="http://schemas.microsoft.com/office/drawing/2014/main" id="{DE522677-B305-5913-4089-A926AF11D49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7" name="object 44">
              <a:extLst>
                <a:ext uri="{FF2B5EF4-FFF2-40B4-BE49-F238E27FC236}">
                  <a16:creationId xmlns:a16="http://schemas.microsoft.com/office/drawing/2014/main" id="{54E2F8A9-7845-E09E-8B79-723848C5AA1D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FBF597C-A0FC-EE2B-C75A-6AFEBEC69750}"/>
              </a:ext>
            </a:extLst>
          </p:cNvPr>
          <p:cNvGrpSpPr/>
          <p:nvPr/>
        </p:nvGrpSpPr>
        <p:grpSpPr>
          <a:xfrm>
            <a:off x="9598" y="4391414"/>
            <a:ext cx="3729812" cy="2464571"/>
            <a:chOff x="9598" y="4391414"/>
            <a:chExt cx="3729812" cy="2464571"/>
          </a:xfrm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8FECB771-16CA-A0E5-0DFE-DEA5D2B1B8F4}"/>
                </a:ext>
              </a:extLst>
            </p:cNvPr>
            <p:cNvSpPr/>
            <p:nvPr/>
          </p:nvSpPr>
          <p:spPr>
            <a:xfrm>
              <a:off x="1102322" y="6790972"/>
              <a:ext cx="599427" cy="64492"/>
            </a:xfrm>
            <a:custGeom>
              <a:avLst/>
              <a:gdLst/>
              <a:ahLst/>
              <a:cxnLst/>
              <a:rect l="l" t="t" r="r" b="b"/>
              <a:pathLst>
                <a:path w="661035" h="71120">
                  <a:moveTo>
                    <a:pt x="547984" y="0"/>
                  </a:moveTo>
                  <a:lnTo>
                    <a:pt x="112463" y="0"/>
                  </a:lnTo>
                  <a:lnTo>
                    <a:pt x="63146" y="9955"/>
                  </a:lnTo>
                  <a:lnTo>
                    <a:pt x="22888" y="37104"/>
                  </a:lnTo>
                  <a:lnTo>
                    <a:pt x="0" y="71071"/>
                  </a:lnTo>
                  <a:lnTo>
                    <a:pt x="660448" y="71071"/>
                  </a:lnTo>
                  <a:lnTo>
                    <a:pt x="637559" y="37104"/>
                  </a:lnTo>
                  <a:lnTo>
                    <a:pt x="597301" y="9955"/>
                  </a:lnTo>
                  <a:lnTo>
                    <a:pt x="54798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4">
              <a:extLst>
                <a:ext uri="{FF2B5EF4-FFF2-40B4-BE49-F238E27FC236}">
                  <a16:creationId xmlns:a16="http://schemas.microsoft.com/office/drawing/2014/main" id="{D3CA8ECF-9710-8720-2CD0-DA636B54B0B5}"/>
                </a:ext>
              </a:extLst>
            </p:cNvPr>
            <p:cNvSpPr/>
            <p:nvPr/>
          </p:nvSpPr>
          <p:spPr>
            <a:xfrm>
              <a:off x="1847987" y="6161548"/>
              <a:ext cx="770445" cy="694437"/>
            </a:xfrm>
            <a:custGeom>
              <a:avLst/>
              <a:gdLst/>
              <a:ahLst/>
              <a:cxnLst/>
              <a:rect l="l" t="t" r="r" b="b"/>
              <a:pathLst>
                <a:path w="849630" h="765809">
                  <a:moveTo>
                    <a:pt x="277797" y="0"/>
                  </a:moveTo>
                  <a:lnTo>
                    <a:pt x="232138" y="10089"/>
                  </a:lnTo>
                  <a:lnTo>
                    <a:pt x="189939" y="31774"/>
                  </a:lnTo>
                  <a:lnTo>
                    <a:pt x="153625" y="64816"/>
                  </a:lnTo>
                  <a:lnTo>
                    <a:pt x="127301" y="106257"/>
                  </a:lnTo>
                  <a:lnTo>
                    <a:pt x="113256" y="151637"/>
                  </a:lnTo>
                  <a:lnTo>
                    <a:pt x="111269" y="198494"/>
                  </a:lnTo>
                  <a:lnTo>
                    <a:pt x="121117" y="244368"/>
                  </a:lnTo>
                  <a:lnTo>
                    <a:pt x="142578" y="286798"/>
                  </a:lnTo>
                  <a:lnTo>
                    <a:pt x="175431" y="323324"/>
                  </a:lnTo>
                  <a:lnTo>
                    <a:pt x="183761" y="330740"/>
                  </a:lnTo>
                  <a:lnTo>
                    <a:pt x="200872" y="347032"/>
                  </a:lnTo>
                  <a:lnTo>
                    <a:pt x="255253" y="405507"/>
                  </a:lnTo>
                  <a:lnTo>
                    <a:pt x="289431" y="447320"/>
                  </a:lnTo>
                  <a:lnTo>
                    <a:pt x="326206" y="497272"/>
                  </a:lnTo>
                  <a:lnTo>
                    <a:pt x="364033" y="555177"/>
                  </a:lnTo>
                  <a:lnTo>
                    <a:pt x="401365" y="620853"/>
                  </a:lnTo>
                  <a:lnTo>
                    <a:pt x="436657" y="694113"/>
                  </a:lnTo>
                  <a:lnTo>
                    <a:pt x="112464" y="694113"/>
                  </a:lnTo>
                  <a:lnTo>
                    <a:pt x="63147" y="704069"/>
                  </a:lnTo>
                  <a:lnTo>
                    <a:pt x="22889" y="731218"/>
                  </a:lnTo>
                  <a:lnTo>
                    <a:pt x="0" y="765186"/>
                  </a:lnTo>
                  <a:lnTo>
                    <a:pt x="849346" y="765186"/>
                  </a:lnTo>
                  <a:lnTo>
                    <a:pt x="828420" y="692250"/>
                  </a:lnTo>
                  <a:lnTo>
                    <a:pt x="808980" y="635413"/>
                  </a:lnTo>
                  <a:lnTo>
                    <a:pt x="787871" y="580991"/>
                  </a:lnTo>
                  <a:lnTo>
                    <a:pt x="765348" y="529010"/>
                  </a:lnTo>
                  <a:lnTo>
                    <a:pt x="741670" y="479497"/>
                  </a:lnTo>
                  <a:lnTo>
                    <a:pt x="717092" y="432480"/>
                  </a:lnTo>
                  <a:lnTo>
                    <a:pt x="691873" y="387985"/>
                  </a:lnTo>
                  <a:lnTo>
                    <a:pt x="666269" y="346039"/>
                  </a:lnTo>
                  <a:lnTo>
                    <a:pt x="640536" y="306670"/>
                  </a:lnTo>
                  <a:lnTo>
                    <a:pt x="614933" y="269906"/>
                  </a:lnTo>
                  <a:lnTo>
                    <a:pt x="589716" y="235772"/>
                  </a:lnTo>
                  <a:lnTo>
                    <a:pt x="565141" y="204296"/>
                  </a:lnTo>
                  <a:lnTo>
                    <a:pt x="518949" y="149427"/>
                  </a:lnTo>
                  <a:lnTo>
                    <a:pt x="478413" y="105516"/>
                  </a:lnTo>
                  <a:lnTo>
                    <a:pt x="445588" y="72781"/>
                  </a:lnTo>
                  <a:lnTo>
                    <a:pt x="411295" y="41702"/>
                  </a:lnTo>
                  <a:lnTo>
                    <a:pt x="369801" y="15566"/>
                  </a:lnTo>
                  <a:lnTo>
                    <a:pt x="324493" y="1745"/>
                  </a:lnTo>
                  <a:lnTo>
                    <a:pt x="277797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5">
              <a:extLst>
                <a:ext uri="{FF2B5EF4-FFF2-40B4-BE49-F238E27FC236}">
                  <a16:creationId xmlns:a16="http://schemas.microsoft.com/office/drawing/2014/main" id="{2862B2D7-BDD5-F2B2-3968-D2FDB60BD32C}"/>
                </a:ext>
              </a:extLst>
            </p:cNvPr>
            <p:cNvSpPr/>
            <p:nvPr/>
          </p:nvSpPr>
          <p:spPr>
            <a:xfrm>
              <a:off x="1441820" y="600587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6">
              <a:extLst>
                <a:ext uri="{FF2B5EF4-FFF2-40B4-BE49-F238E27FC236}">
                  <a16:creationId xmlns:a16="http://schemas.microsoft.com/office/drawing/2014/main" id="{2D450728-55B2-39CD-7B12-8A800D0D1A22}"/>
                </a:ext>
              </a:extLst>
            </p:cNvPr>
            <p:cNvSpPr/>
            <p:nvPr/>
          </p:nvSpPr>
          <p:spPr>
            <a:xfrm>
              <a:off x="2512448" y="5841762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7">
              <a:extLst>
                <a:ext uri="{FF2B5EF4-FFF2-40B4-BE49-F238E27FC236}">
                  <a16:creationId xmlns:a16="http://schemas.microsoft.com/office/drawing/2014/main" id="{14B3E2E4-7B25-7179-7814-2E18247203F3}"/>
                </a:ext>
              </a:extLst>
            </p:cNvPr>
            <p:cNvSpPr/>
            <p:nvPr/>
          </p:nvSpPr>
          <p:spPr>
            <a:xfrm>
              <a:off x="2387729" y="5241019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8">
              <a:extLst>
                <a:ext uri="{FF2B5EF4-FFF2-40B4-BE49-F238E27FC236}">
                  <a16:creationId xmlns:a16="http://schemas.microsoft.com/office/drawing/2014/main" id="{2CFC7019-072F-B9FC-DA69-CEFBC5ABD001}"/>
                </a:ext>
              </a:extLst>
            </p:cNvPr>
            <p:cNvSpPr/>
            <p:nvPr/>
          </p:nvSpPr>
          <p:spPr>
            <a:xfrm>
              <a:off x="1721136" y="5383874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9">
              <a:extLst>
                <a:ext uri="{FF2B5EF4-FFF2-40B4-BE49-F238E27FC236}">
                  <a16:creationId xmlns:a16="http://schemas.microsoft.com/office/drawing/2014/main" id="{EA3EC4CC-0D07-2030-5906-D47FB104B0F3}"/>
                </a:ext>
              </a:extLst>
            </p:cNvPr>
            <p:cNvSpPr/>
            <p:nvPr/>
          </p:nvSpPr>
          <p:spPr>
            <a:xfrm>
              <a:off x="3097372" y="6327434"/>
              <a:ext cx="642038" cy="528026"/>
            </a:xfrm>
            <a:custGeom>
              <a:avLst/>
              <a:gdLst/>
              <a:ahLst/>
              <a:cxnLst/>
              <a:rect l="l" t="t" r="r" b="b"/>
              <a:pathLst>
                <a:path w="708025" h="582295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76190" y="582253"/>
                  </a:lnTo>
                  <a:lnTo>
                    <a:pt x="631605" y="582253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0">
              <a:extLst>
                <a:ext uri="{FF2B5EF4-FFF2-40B4-BE49-F238E27FC236}">
                  <a16:creationId xmlns:a16="http://schemas.microsoft.com/office/drawing/2014/main" id="{DB3AFB29-2CA1-6E61-DF86-C2BFC5F2BB0C}"/>
                </a:ext>
              </a:extLst>
            </p:cNvPr>
            <p:cNvSpPr/>
            <p:nvPr/>
          </p:nvSpPr>
          <p:spPr>
            <a:xfrm>
              <a:off x="1504163" y="4540703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1">
              <a:extLst>
                <a:ext uri="{FF2B5EF4-FFF2-40B4-BE49-F238E27FC236}">
                  <a16:creationId xmlns:a16="http://schemas.microsoft.com/office/drawing/2014/main" id="{A1D57932-C3DE-E260-FEA6-803480C75E84}"/>
                </a:ext>
              </a:extLst>
            </p:cNvPr>
            <p:cNvSpPr/>
            <p:nvPr/>
          </p:nvSpPr>
          <p:spPr>
            <a:xfrm>
              <a:off x="9598" y="4391414"/>
              <a:ext cx="1292713" cy="2464504"/>
            </a:xfrm>
            <a:custGeom>
              <a:avLst/>
              <a:gdLst/>
              <a:ahLst/>
              <a:cxnLst/>
              <a:rect l="l" t="t" r="r" b="b"/>
              <a:pathLst>
                <a:path w="1425575" h="2717800">
                  <a:moveTo>
                    <a:pt x="1036905" y="1250138"/>
                  </a:moveTo>
                  <a:lnTo>
                    <a:pt x="7697" y="1250138"/>
                  </a:lnTo>
                  <a:lnTo>
                    <a:pt x="0" y="1251693"/>
                  </a:lnTo>
                  <a:lnTo>
                    <a:pt x="0" y="1501962"/>
                  </a:lnTo>
                  <a:lnTo>
                    <a:pt x="7697" y="1503516"/>
                  </a:lnTo>
                  <a:lnTo>
                    <a:pt x="990626" y="1503516"/>
                  </a:lnTo>
                  <a:lnTo>
                    <a:pt x="972652" y="1549292"/>
                  </a:lnTo>
                  <a:lnTo>
                    <a:pt x="952724" y="1595118"/>
                  </a:lnTo>
                  <a:lnTo>
                    <a:pt x="930908" y="1640986"/>
                  </a:lnTo>
                  <a:lnTo>
                    <a:pt x="907270" y="1686883"/>
                  </a:lnTo>
                  <a:lnTo>
                    <a:pt x="881874" y="1732802"/>
                  </a:lnTo>
                  <a:lnTo>
                    <a:pt x="854786" y="1778731"/>
                  </a:lnTo>
                  <a:lnTo>
                    <a:pt x="826072" y="1824661"/>
                  </a:lnTo>
                  <a:lnTo>
                    <a:pt x="63298" y="1824661"/>
                  </a:lnTo>
                  <a:lnTo>
                    <a:pt x="13987" y="1834618"/>
                  </a:lnTo>
                  <a:lnTo>
                    <a:pt x="0" y="1844050"/>
                  </a:lnTo>
                  <a:lnTo>
                    <a:pt x="0" y="2058640"/>
                  </a:lnTo>
                  <a:lnTo>
                    <a:pt x="13987" y="2068070"/>
                  </a:lnTo>
                  <a:lnTo>
                    <a:pt x="63298" y="2078026"/>
                  </a:lnTo>
                  <a:lnTo>
                    <a:pt x="641478" y="2078026"/>
                  </a:lnTo>
                  <a:lnTo>
                    <a:pt x="610598" y="2115724"/>
                  </a:lnTo>
                  <a:lnTo>
                    <a:pt x="578977" y="2153368"/>
                  </a:lnTo>
                  <a:lnTo>
                    <a:pt x="546654" y="2190951"/>
                  </a:lnTo>
                  <a:lnTo>
                    <a:pt x="513670" y="2228468"/>
                  </a:lnTo>
                  <a:lnTo>
                    <a:pt x="480063" y="2265912"/>
                  </a:lnTo>
                  <a:lnTo>
                    <a:pt x="445873" y="2303278"/>
                  </a:lnTo>
                  <a:lnTo>
                    <a:pt x="411141" y="2340559"/>
                  </a:lnTo>
                  <a:lnTo>
                    <a:pt x="375907" y="2377749"/>
                  </a:lnTo>
                  <a:lnTo>
                    <a:pt x="340209" y="2414843"/>
                  </a:lnTo>
                  <a:lnTo>
                    <a:pt x="304089" y="2451835"/>
                  </a:lnTo>
                  <a:lnTo>
                    <a:pt x="267585" y="2488718"/>
                  </a:lnTo>
                  <a:lnTo>
                    <a:pt x="230738" y="2525486"/>
                  </a:lnTo>
                  <a:lnTo>
                    <a:pt x="193588" y="2562134"/>
                  </a:lnTo>
                  <a:lnTo>
                    <a:pt x="118536" y="2635044"/>
                  </a:lnTo>
                  <a:lnTo>
                    <a:pt x="32318" y="2717250"/>
                  </a:lnTo>
                  <a:lnTo>
                    <a:pt x="559514" y="2717250"/>
                  </a:lnTo>
                  <a:lnTo>
                    <a:pt x="608152" y="2667742"/>
                  </a:lnTo>
                  <a:lnTo>
                    <a:pt x="644609" y="2629983"/>
                  </a:lnTo>
                  <a:lnTo>
                    <a:pt x="680613" y="2592122"/>
                  </a:lnTo>
                  <a:lnTo>
                    <a:pt x="716134" y="2554156"/>
                  </a:lnTo>
                  <a:lnTo>
                    <a:pt x="751143" y="2516081"/>
                  </a:lnTo>
                  <a:lnTo>
                    <a:pt x="785608" y="2477894"/>
                  </a:lnTo>
                  <a:lnTo>
                    <a:pt x="819502" y="2439592"/>
                  </a:lnTo>
                  <a:lnTo>
                    <a:pt x="852793" y="2401172"/>
                  </a:lnTo>
                  <a:lnTo>
                    <a:pt x="885453" y="2362631"/>
                  </a:lnTo>
                  <a:lnTo>
                    <a:pt x="917450" y="2323966"/>
                  </a:lnTo>
                  <a:lnTo>
                    <a:pt x="948756" y="2285174"/>
                  </a:lnTo>
                  <a:lnTo>
                    <a:pt x="979341" y="2246251"/>
                  </a:lnTo>
                  <a:lnTo>
                    <a:pt x="1009174" y="2207195"/>
                  </a:lnTo>
                  <a:lnTo>
                    <a:pt x="1038226" y="2168003"/>
                  </a:lnTo>
                  <a:lnTo>
                    <a:pt x="1066467" y="2128671"/>
                  </a:lnTo>
                  <a:lnTo>
                    <a:pt x="1093868" y="2089196"/>
                  </a:lnTo>
                  <a:lnTo>
                    <a:pt x="1120397" y="2049575"/>
                  </a:lnTo>
                  <a:lnTo>
                    <a:pt x="1146027" y="2009806"/>
                  </a:lnTo>
                  <a:lnTo>
                    <a:pt x="1170726" y="1969884"/>
                  </a:lnTo>
                  <a:lnTo>
                    <a:pt x="1194466" y="1929807"/>
                  </a:lnTo>
                  <a:lnTo>
                    <a:pt x="1217215" y="1889572"/>
                  </a:lnTo>
                  <a:lnTo>
                    <a:pt x="1238945" y="1849176"/>
                  </a:lnTo>
                  <a:lnTo>
                    <a:pt x="1259625" y="1808615"/>
                  </a:lnTo>
                  <a:lnTo>
                    <a:pt x="1279226" y="1767887"/>
                  </a:lnTo>
                  <a:lnTo>
                    <a:pt x="1297718" y="1726988"/>
                  </a:lnTo>
                  <a:lnTo>
                    <a:pt x="1315070" y="1685916"/>
                  </a:lnTo>
                  <a:lnTo>
                    <a:pt x="1331255" y="1644667"/>
                  </a:lnTo>
                  <a:lnTo>
                    <a:pt x="1346240" y="1603237"/>
                  </a:lnTo>
                  <a:lnTo>
                    <a:pt x="1359997" y="1561625"/>
                  </a:lnTo>
                  <a:lnTo>
                    <a:pt x="1372496" y="1519827"/>
                  </a:lnTo>
                  <a:lnTo>
                    <a:pt x="1383707" y="1477840"/>
                  </a:lnTo>
                  <a:lnTo>
                    <a:pt x="1393600" y="1435660"/>
                  </a:lnTo>
                  <a:lnTo>
                    <a:pt x="1402145" y="1393285"/>
                  </a:lnTo>
                  <a:lnTo>
                    <a:pt x="1409313" y="1350711"/>
                  </a:lnTo>
                  <a:lnTo>
                    <a:pt x="1415073" y="1307936"/>
                  </a:lnTo>
                  <a:lnTo>
                    <a:pt x="1420217" y="1252323"/>
                  </a:lnTo>
                  <a:lnTo>
                    <a:pt x="1051129" y="1252323"/>
                  </a:lnTo>
                  <a:lnTo>
                    <a:pt x="1044068" y="1251103"/>
                  </a:lnTo>
                  <a:lnTo>
                    <a:pt x="1036905" y="1250138"/>
                  </a:lnTo>
                  <a:close/>
                </a:path>
                <a:path w="1425575" h="2717800">
                  <a:moveTo>
                    <a:pt x="807014" y="0"/>
                  </a:moveTo>
                  <a:lnTo>
                    <a:pt x="761364" y="10091"/>
                  </a:lnTo>
                  <a:lnTo>
                    <a:pt x="719176" y="31783"/>
                  </a:lnTo>
                  <a:lnTo>
                    <a:pt x="682867" y="64835"/>
                  </a:lnTo>
                  <a:lnTo>
                    <a:pt x="656535" y="106276"/>
                  </a:lnTo>
                  <a:lnTo>
                    <a:pt x="642490" y="151656"/>
                  </a:lnTo>
                  <a:lnTo>
                    <a:pt x="640506" y="198513"/>
                  </a:lnTo>
                  <a:lnTo>
                    <a:pt x="650359" y="244387"/>
                  </a:lnTo>
                  <a:lnTo>
                    <a:pt x="671823" y="286817"/>
                  </a:lnTo>
                  <a:lnTo>
                    <a:pt x="704673" y="323343"/>
                  </a:lnTo>
                  <a:lnTo>
                    <a:pt x="713003" y="330759"/>
                  </a:lnTo>
                  <a:lnTo>
                    <a:pt x="730114" y="347051"/>
                  </a:lnTo>
                  <a:lnTo>
                    <a:pt x="784494" y="405526"/>
                  </a:lnTo>
                  <a:lnTo>
                    <a:pt x="818671" y="447339"/>
                  </a:lnTo>
                  <a:lnTo>
                    <a:pt x="855445" y="497291"/>
                  </a:lnTo>
                  <a:lnTo>
                    <a:pt x="893269" y="555196"/>
                  </a:lnTo>
                  <a:lnTo>
                    <a:pt x="930598" y="620872"/>
                  </a:lnTo>
                  <a:lnTo>
                    <a:pt x="965887" y="694132"/>
                  </a:lnTo>
                  <a:lnTo>
                    <a:pt x="394272" y="694132"/>
                  </a:lnTo>
                  <a:lnTo>
                    <a:pt x="344967" y="704088"/>
                  </a:lnTo>
                  <a:lnTo>
                    <a:pt x="304699" y="731237"/>
                  </a:lnTo>
                  <a:lnTo>
                    <a:pt x="277547" y="771504"/>
                  </a:lnTo>
                  <a:lnTo>
                    <a:pt x="267590" y="820815"/>
                  </a:lnTo>
                  <a:lnTo>
                    <a:pt x="277547" y="870120"/>
                  </a:lnTo>
                  <a:lnTo>
                    <a:pt x="304699" y="910388"/>
                  </a:lnTo>
                  <a:lnTo>
                    <a:pt x="344967" y="937540"/>
                  </a:lnTo>
                  <a:lnTo>
                    <a:pt x="394272" y="947497"/>
                  </a:lnTo>
                  <a:lnTo>
                    <a:pt x="1042074" y="947497"/>
                  </a:lnTo>
                  <a:lnTo>
                    <a:pt x="1049074" y="994539"/>
                  </a:lnTo>
                  <a:lnTo>
                    <a:pt x="1054093" y="1043098"/>
                  </a:lnTo>
                  <a:lnTo>
                    <a:pt x="1056969" y="1093166"/>
                  </a:lnTo>
                  <a:lnTo>
                    <a:pt x="1057542" y="1144733"/>
                  </a:lnTo>
                  <a:lnTo>
                    <a:pt x="1055648" y="1197788"/>
                  </a:lnTo>
                  <a:lnTo>
                    <a:pt x="1051129" y="1252323"/>
                  </a:lnTo>
                  <a:lnTo>
                    <a:pt x="1420217" y="1252323"/>
                  </a:lnTo>
                  <a:lnTo>
                    <a:pt x="1422226" y="1230596"/>
                  </a:lnTo>
                  <a:lnTo>
                    <a:pt x="1425397" y="1155425"/>
                  </a:lnTo>
                  <a:lnTo>
                    <a:pt x="1424842" y="1082452"/>
                  </a:lnTo>
                  <a:lnTo>
                    <a:pt x="1420819" y="1011702"/>
                  </a:lnTo>
                  <a:lnTo>
                    <a:pt x="1413584" y="943204"/>
                  </a:lnTo>
                  <a:lnTo>
                    <a:pt x="1403395" y="876984"/>
                  </a:lnTo>
                  <a:lnTo>
                    <a:pt x="1390507" y="813069"/>
                  </a:lnTo>
                  <a:lnTo>
                    <a:pt x="1375179" y="751487"/>
                  </a:lnTo>
                  <a:lnTo>
                    <a:pt x="1357668" y="692264"/>
                  </a:lnTo>
                  <a:lnTo>
                    <a:pt x="1338229" y="635429"/>
                  </a:lnTo>
                  <a:lnTo>
                    <a:pt x="1317120" y="581007"/>
                  </a:lnTo>
                  <a:lnTo>
                    <a:pt x="1294599" y="529026"/>
                  </a:lnTo>
                  <a:lnTo>
                    <a:pt x="1270922" y="479514"/>
                  </a:lnTo>
                  <a:lnTo>
                    <a:pt x="1246346" y="432497"/>
                  </a:lnTo>
                  <a:lnTo>
                    <a:pt x="1221128" y="388002"/>
                  </a:lnTo>
                  <a:lnTo>
                    <a:pt x="1195525" y="346057"/>
                  </a:lnTo>
                  <a:lnTo>
                    <a:pt x="1169794" y="306688"/>
                  </a:lnTo>
                  <a:lnTo>
                    <a:pt x="1144192" y="269924"/>
                  </a:lnTo>
                  <a:lnTo>
                    <a:pt x="1118976" y="235790"/>
                  </a:lnTo>
                  <a:lnTo>
                    <a:pt x="1094403" y="204314"/>
                  </a:lnTo>
                  <a:lnTo>
                    <a:pt x="1048213" y="149446"/>
                  </a:lnTo>
                  <a:lnTo>
                    <a:pt x="1007678" y="105535"/>
                  </a:lnTo>
                  <a:lnTo>
                    <a:pt x="974854" y="72800"/>
                  </a:lnTo>
                  <a:lnTo>
                    <a:pt x="944574" y="45123"/>
                  </a:lnTo>
                  <a:lnTo>
                    <a:pt x="899031" y="15575"/>
                  </a:lnTo>
                  <a:lnTo>
                    <a:pt x="853709" y="1748"/>
                  </a:lnTo>
                  <a:lnTo>
                    <a:pt x="80701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0962" y="1882771"/>
            <a:ext cx="9449837" cy="365443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7461167"/>
      </p:ext>
    </p:extLst>
  </p:cSld>
  <p:clrMapOvr>
    <a:masterClrMapping/>
  </p:clrMapOvr>
  <p:hf sldNum="0"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0724100" y="6405519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6163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20B4B95D-64D5-9E5B-BAC5-0B7670771DF2}"/>
              </a:ext>
            </a:extLst>
          </p:cNvPr>
          <p:cNvSpPr/>
          <p:nvPr/>
        </p:nvSpPr>
        <p:spPr>
          <a:xfrm>
            <a:off x="9598" y="0"/>
            <a:ext cx="3603472" cy="4812692"/>
          </a:xfrm>
          <a:custGeom>
            <a:avLst/>
            <a:gdLst/>
            <a:ahLst/>
            <a:cxnLst/>
            <a:rect l="l" t="t" r="r" b="b"/>
            <a:pathLst>
              <a:path w="3973829" h="5307330">
                <a:moveTo>
                  <a:pt x="71374" y="1940839"/>
                </a:moveTo>
                <a:lnTo>
                  <a:pt x="65620" y="1897291"/>
                </a:lnTo>
                <a:lnTo>
                  <a:pt x="49364" y="1858149"/>
                </a:lnTo>
                <a:lnTo>
                  <a:pt x="24168" y="1824990"/>
                </a:lnTo>
                <a:lnTo>
                  <a:pt x="0" y="1806016"/>
                </a:lnTo>
                <a:lnTo>
                  <a:pt x="0" y="2075662"/>
                </a:lnTo>
                <a:lnTo>
                  <a:pt x="24168" y="2056688"/>
                </a:lnTo>
                <a:lnTo>
                  <a:pt x="49364" y="2023529"/>
                </a:lnTo>
                <a:lnTo>
                  <a:pt x="65620" y="1984387"/>
                </a:lnTo>
                <a:lnTo>
                  <a:pt x="71374" y="1940839"/>
                </a:lnTo>
                <a:close/>
              </a:path>
              <a:path w="3973829" h="5307330">
                <a:moveTo>
                  <a:pt x="184327" y="5114302"/>
                </a:moveTo>
                <a:lnTo>
                  <a:pt x="176174" y="5068062"/>
                </a:lnTo>
                <a:lnTo>
                  <a:pt x="156235" y="5024856"/>
                </a:lnTo>
                <a:lnTo>
                  <a:pt x="124650" y="4987137"/>
                </a:lnTo>
                <a:lnTo>
                  <a:pt x="116395" y="4979378"/>
                </a:lnTo>
                <a:lnTo>
                  <a:pt x="100291" y="4963541"/>
                </a:lnTo>
                <a:lnTo>
                  <a:pt x="77470" y="4939919"/>
                </a:lnTo>
                <a:lnTo>
                  <a:pt x="49022" y="4908791"/>
                </a:lnTo>
                <a:lnTo>
                  <a:pt x="16103" y="4870462"/>
                </a:lnTo>
                <a:lnTo>
                  <a:pt x="0" y="4850384"/>
                </a:lnTo>
                <a:lnTo>
                  <a:pt x="0" y="5306657"/>
                </a:lnTo>
                <a:lnTo>
                  <a:pt x="38061" y="5302923"/>
                </a:lnTo>
                <a:lnTo>
                  <a:pt x="107365" y="5272710"/>
                </a:lnTo>
                <a:lnTo>
                  <a:pt x="136918" y="5246446"/>
                </a:lnTo>
                <a:lnTo>
                  <a:pt x="164833" y="5205958"/>
                </a:lnTo>
                <a:lnTo>
                  <a:pt x="180594" y="5161089"/>
                </a:lnTo>
                <a:lnTo>
                  <a:pt x="184327" y="5114302"/>
                </a:lnTo>
                <a:close/>
              </a:path>
              <a:path w="3973829" h="5307330">
                <a:moveTo>
                  <a:pt x="293878" y="645617"/>
                </a:moveTo>
                <a:lnTo>
                  <a:pt x="285864" y="595109"/>
                </a:lnTo>
                <a:lnTo>
                  <a:pt x="263537" y="551243"/>
                </a:lnTo>
                <a:lnTo>
                  <a:pt x="229501" y="516661"/>
                </a:lnTo>
                <a:lnTo>
                  <a:pt x="186334" y="493979"/>
                </a:lnTo>
                <a:lnTo>
                  <a:pt x="136639" y="485825"/>
                </a:lnTo>
                <a:lnTo>
                  <a:pt x="86944" y="493979"/>
                </a:lnTo>
                <a:lnTo>
                  <a:pt x="43776" y="516661"/>
                </a:lnTo>
                <a:lnTo>
                  <a:pt x="9740" y="551243"/>
                </a:lnTo>
                <a:lnTo>
                  <a:pt x="0" y="570395"/>
                </a:lnTo>
                <a:lnTo>
                  <a:pt x="0" y="720839"/>
                </a:lnTo>
                <a:lnTo>
                  <a:pt x="9740" y="739990"/>
                </a:lnTo>
                <a:lnTo>
                  <a:pt x="43776" y="774585"/>
                </a:lnTo>
                <a:lnTo>
                  <a:pt x="86944" y="797267"/>
                </a:lnTo>
                <a:lnTo>
                  <a:pt x="136639" y="805408"/>
                </a:lnTo>
                <a:lnTo>
                  <a:pt x="186334" y="797267"/>
                </a:lnTo>
                <a:lnTo>
                  <a:pt x="229501" y="774585"/>
                </a:lnTo>
                <a:lnTo>
                  <a:pt x="263537" y="739990"/>
                </a:lnTo>
                <a:lnTo>
                  <a:pt x="285864" y="696125"/>
                </a:lnTo>
                <a:lnTo>
                  <a:pt x="293878" y="645617"/>
                </a:lnTo>
                <a:close/>
              </a:path>
              <a:path w="3973829" h="5307330">
                <a:moveTo>
                  <a:pt x="503135" y="1213459"/>
                </a:moveTo>
                <a:lnTo>
                  <a:pt x="498081" y="1168908"/>
                </a:lnTo>
                <a:lnTo>
                  <a:pt x="483692" y="1128014"/>
                </a:lnTo>
                <a:lnTo>
                  <a:pt x="461124" y="1091933"/>
                </a:lnTo>
                <a:lnTo>
                  <a:pt x="431520" y="1061834"/>
                </a:lnTo>
                <a:lnTo>
                  <a:pt x="396011" y="1038898"/>
                </a:lnTo>
                <a:lnTo>
                  <a:pt x="355777" y="1024280"/>
                </a:lnTo>
                <a:lnTo>
                  <a:pt x="311937" y="1019149"/>
                </a:lnTo>
                <a:lnTo>
                  <a:pt x="268097" y="1024280"/>
                </a:lnTo>
                <a:lnTo>
                  <a:pt x="227850" y="1038898"/>
                </a:lnTo>
                <a:lnTo>
                  <a:pt x="192354" y="1061834"/>
                </a:lnTo>
                <a:lnTo>
                  <a:pt x="162737" y="1091933"/>
                </a:lnTo>
                <a:lnTo>
                  <a:pt x="140169" y="1128014"/>
                </a:lnTo>
                <a:lnTo>
                  <a:pt x="125780" y="1168908"/>
                </a:lnTo>
                <a:lnTo>
                  <a:pt x="120738" y="1213459"/>
                </a:lnTo>
                <a:lnTo>
                  <a:pt x="125780" y="1258011"/>
                </a:lnTo>
                <a:lnTo>
                  <a:pt x="140169" y="1298917"/>
                </a:lnTo>
                <a:lnTo>
                  <a:pt x="162737" y="1334985"/>
                </a:lnTo>
                <a:lnTo>
                  <a:pt x="192354" y="1365084"/>
                </a:lnTo>
                <a:lnTo>
                  <a:pt x="227850" y="1388021"/>
                </a:lnTo>
                <a:lnTo>
                  <a:pt x="268097" y="1402638"/>
                </a:lnTo>
                <a:lnTo>
                  <a:pt x="311937" y="1407769"/>
                </a:lnTo>
                <a:lnTo>
                  <a:pt x="355777" y="1402638"/>
                </a:lnTo>
                <a:lnTo>
                  <a:pt x="396011" y="1388021"/>
                </a:lnTo>
                <a:lnTo>
                  <a:pt x="431520" y="1365084"/>
                </a:lnTo>
                <a:lnTo>
                  <a:pt x="461124" y="1334985"/>
                </a:lnTo>
                <a:lnTo>
                  <a:pt x="483692" y="1298917"/>
                </a:lnTo>
                <a:lnTo>
                  <a:pt x="498081" y="1258011"/>
                </a:lnTo>
                <a:lnTo>
                  <a:pt x="503135" y="1213459"/>
                </a:lnTo>
                <a:close/>
              </a:path>
              <a:path w="3973829" h="5307330">
                <a:moveTo>
                  <a:pt x="545719" y="4454322"/>
                </a:moveTo>
                <a:lnTo>
                  <a:pt x="535774" y="4405007"/>
                </a:lnTo>
                <a:lnTo>
                  <a:pt x="508635" y="4364736"/>
                </a:lnTo>
                <a:lnTo>
                  <a:pt x="468376" y="4337596"/>
                </a:lnTo>
                <a:lnTo>
                  <a:pt x="419061" y="4327639"/>
                </a:lnTo>
                <a:lnTo>
                  <a:pt x="0" y="4327639"/>
                </a:lnTo>
                <a:lnTo>
                  <a:pt x="0" y="4581004"/>
                </a:lnTo>
                <a:lnTo>
                  <a:pt x="419061" y="4581004"/>
                </a:lnTo>
                <a:lnTo>
                  <a:pt x="468376" y="4571047"/>
                </a:lnTo>
                <a:lnTo>
                  <a:pt x="508635" y="4543895"/>
                </a:lnTo>
                <a:lnTo>
                  <a:pt x="535774" y="4503623"/>
                </a:lnTo>
                <a:lnTo>
                  <a:pt x="545719" y="4454322"/>
                </a:lnTo>
                <a:close/>
              </a:path>
              <a:path w="3973829" h="5307330">
                <a:moveTo>
                  <a:pt x="929068" y="3906012"/>
                </a:moveTo>
                <a:lnTo>
                  <a:pt x="919124" y="3856710"/>
                </a:lnTo>
                <a:lnTo>
                  <a:pt x="891984" y="3816439"/>
                </a:lnTo>
                <a:lnTo>
                  <a:pt x="851725" y="3789286"/>
                </a:lnTo>
                <a:lnTo>
                  <a:pt x="802411" y="3779329"/>
                </a:lnTo>
                <a:lnTo>
                  <a:pt x="0" y="3779329"/>
                </a:lnTo>
                <a:lnTo>
                  <a:pt x="0" y="4032694"/>
                </a:lnTo>
                <a:lnTo>
                  <a:pt x="802411" y="4032694"/>
                </a:lnTo>
                <a:lnTo>
                  <a:pt x="851725" y="4022737"/>
                </a:lnTo>
                <a:lnTo>
                  <a:pt x="891984" y="3995585"/>
                </a:lnTo>
                <a:lnTo>
                  <a:pt x="919124" y="3955326"/>
                </a:lnTo>
                <a:lnTo>
                  <a:pt x="929068" y="3906012"/>
                </a:lnTo>
                <a:close/>
              </a:path>
              <a:path w="3973829" h="5307330">
                <a:moveTo>
                  <a:pt x="1123670" y="73621"/>
                </a:moveTo>
                <a:lnTo>
                  <a:pt x="1113713" y="24307"/>
                </a:lnTo>
                <a:lnTo>
                  <a:pt x="1097343" y="0"/>
                </a:lnTo>
                <a:lnTo>
                  <a:pt x="461149" y="0"/>
                </a:lnTo>
                <a:lnTo>
                  <a:pt x="444779" y="24307"/>
                </a:lnTo>
                <a:lnTo>
                  <a:pt x="434835" y="73621"/>
                </a:lnTo>
                <a:lnTo>
                  <a:pt x="444779" y="122936"/>
                </a:lnTo>
                <a:lnTo>
                  <a:pt x="471906" y="163195"/>
                </a:lnTo>
                <a:lnTo>
                  <a:pt x="512165" y="190347"/>
                </a:lnTo>
                <a:lnTo>
                  <a:pt x="561492" y="200304"/>
                </a:lnTo>
                <a:lnTo>
                  <a:pt x="997013" y="200304"/>
                </a:lnTo>
                <a:lnTo>
                  <a:pt x="1046327" y="190347"/>
                </a:lnTo>
                <a:lnTo>
                  <a:pt x="1086586" y="163195"/>
                </a:lnTo>
                <a:lnTo>
                  <a:pt x="1113713" y="122936"/>
                </a:lnTo>
                <a:lnTo>
                  <a:pt x="1123670" y="73621"/>
                </a:lnTo>
                <a:close/>
              </a:path>
              <a:path w="3973829" h="5307330">
                <a:moveTo>
                  <a:pt x="1418945" y="3321431"/>
                </a:moveTo>
                <a:lnTo>
                  <a:pt x="1413903" y="3276879"/>
                </a:lnTo>
                <a:lnTo>
                  <a:pt x="1399514" y="3235972"/>
                </a:lnTo>
                <a:lnTo>
                  <a:pt x="1376946" y="3199904"/>
                </a:lnTo>
                <a:lnTo>
                  <a:pt x="1347343" y="3169805"/>
                </a:lnTo>
                <a:lnTo>
                  <a:pt x="1311833" y="3146869"/>
                </a:lnTo>
                <a:lnTo>
                  <a:pt x="1271587" y="3132251"/>
                </a:lnTo>
                <a:lnTo>
                  <a:pt x="1227747" y="3127121"/>
                </a:lnTo>
                <a:lnTo>
                  <a:pt x="1183906" y="3132251"/>
                </a:lnTo>
                <a:lnTo>
                  <a:pt x="1143660" y="3146869"/>
                </a:lnTo>
                <a:lnTo>
                  <a:pt x="1108163" y="3169805"/>
                </a:lnTo>
                <a:lnTo>
                  <a:pt x="1078560" y="3199904"/>
                </a:lnTo>
                <a:lnTo>
                  <a:pt x="1055979" y="3235972"/>
                </a:lnTo>
                <a:lnTo>
                  <a:pt x="1041603" y="3276879"/>
                </a:lnTo>
                <a:lnTo>
                  <a:pt x="1036548" y="3321431"/>
                </a:lnTo>
                <a:lnTo>
                  <a:pt x="1041603" y="3365982"/>
                </a:lnTo>
                <a:lnTo>
                  <a:pt x="1055979" y="3406876"/>
                </a:lnTo>
                <a:lnTo>
                  <a:pt x="1078560" y="3442957"/>
                </a:lnTo>
                <a:lnTo>
                  <a:pt x="1108163" y="3473056"/>
                </a:lnTo>
                <a:lnTo>
                  <a:pt x="1143660" y="3495992"/>
                </a:lnTo>
                <a:lnTo>
                  <a:pt x="1183906" y="3510610"/>
                </a:lnTo>
                <a:lnTo>
                  <a:pt x="1227747" y="3515741"/>
                </a:lnTo>
                <a:lnTo>
                  <a:pt x="1271587" y="3510610"/>
                </a:lnTo>
                <a:lnTo>
                  <a:pt x="1311833" y="3495992"/>
                </a:lnTo>
                <a:lnTo>
                  <a:pt x="1347343" y="3473056"/>
                </a:lnTo>
                <a:lnTo>
                  <a:pt x="1376946" y="3442957"/>
                </a:lnTo>
                <a:lnTo>
                  <a:pt x="1399514" y="3406876"/>
                </a:lnTo>
                <a:lnTo>
                  <a:pt x="1413903" y="3365982"/>
                </a:lnTo>
                <a:lnTo>
                  <a:pt x="1418945" y="3321431"/>
                </a:lnTo>
                <a:close/>
              </a:path>
              <a:path w="3973829" h="5307330">
                <a:moveTo>
                  <a:pt x="1624139" y="3898176"/>
                </a:moveTo>
                <a:lnTo>
                  <a:pt x="1619084" y="3853624"/>
                </a:lnTo>
                <a:lnTo>
                  <a:pt x="1604708" y="3812730"/>
                </a:lnTo>
                <a:lnTo>
                  <a:pt x="1582140" y="3776649"/>
                </a:lnTo>
                <a:lnTo>
                  <a:pt x="1552524" y="3746550"/>
                </a:lnTo>
                <a:lnTo>
                  <a:pt x="1517027" y="3723614"/>
                </a:lnTo>
                <a:lnTo>
                  <a:pt x="1476781" y="3708997"/>
                </a:lnTo>
                <a:lnTo>
                  <a:pt x="1432941" y="3703866"/>
                </a:lnTo>
                <a:lnTo>
                  <a:pt x="1389100" y="3708997"/>
                </a:lnTo>
                <a:lnTo>
                  <a:pt x="1348854" y="3723614"/>
                </a:lnTo>
                <a:lnTo>
                  <a:pt x="1313357" y="3746550"/>
                </a:lnTo>
                <a:lnTo>
                  <a:pt x="1283741" y="3776649"/>
                </a:lnTo>
                <a:lnTo>
                  <a:pt x="1261173" y="3812730"/>
                </a:lnTo>
                <a:lnTo>
                  <a:pt x="1246784" y="3853624"/>
                </a:lnTo>
                <a:lnTo>
                  <a:pt x="1241742" y="3898176"/>
                </a:lnTo>
                <a:lnTo>
                  <a:pt x="1246784" y="3942727"/>
                </a:lnTo>
                <a:lnTo>
                  <a:pt x="1261173" y="3983634"/>
                </a:lnTo>
                <a:lnTo>
                  <a:pt x="1283741" y="4019702"/>
                </a:lnTo>
                <a:lnTo>
                  <a:pt x="1313357" y="4049801"/>
                </a:lnTo>
                <a:lnTo>
                  <a:pt x="1348854" y="4072737"/>
                </a:lnTo>
                <a:lnTo>
                  <a:pt x="1389100" y="4087355"/>
                </a:lnTo>
                <a:lnTo>
                  <a:pt x="1432941" y="4092486"/>
                </a:lnTo>
                <a:lnTo>
                  <a:pt x="1476781" y="4087355"/>
                </a:lnTo>
                <a:lnTo>
                  <a:pt x="1517027" y="4072737"/>
                </a:lnTo>
                <a:lnTo>
                  <a:pt x="1552524" y="4049801"/>
                </a:lnTo>
                <a:lnTo>
                  <a:pt x="1582140" y="4019702"/>
                </a:lnTo>
                <a:lnTo>
                  <a:pt x="1604708" y="3983634"/>
                </a:lnTo>
                <a:lnTo>
                  <a:pt x="1619084" y="3942727"/>
                </a:lnTo>
                <a:lnTo>
                  <a:pt x="1624139" y="3898176"/>
                </a:lnTo>
                <a:close/>
              </a:path>
              <a:path w="3973829" h="5307330">
                <a:moveTo>
                  <a:pt x="1860181" y="2541765"/>
                </a:moveTo>
                <a:lnTo>
                  <a:pt x="1856193" y="2496591"/>
                </a:lnTo>
                <a:lnTo>
                  <a:pt x="1844713" y="2454059"/>
                </a:lnTo>
                <a:lnTo>
                  <a:pt x="1826412" y="2414905"/>
                </a:lnTo>
                <a:lnTo>
                  <a:pt x="1802015" y="2379827"/>
                </a:lnTo>
                <a:lnTo>
                  <a:pt x="1772208" y="2349538"/>
                </a:lnTo>
                <a:lnTo>
                  <a:pt x="1737690" y="2324735"/>
                </a:lnTo>
                <a:lnTo>
                  <a:pt x="1699158" y="2306142"/>
                </a:lnTo>
                <a:lnTo>
                  <a:pt x="1657324" y="2294471"/>
                </a:lnTo>
                <a:lnTo>
                  <a:pt x="1612861" y="2290419"/>
                </a:lnTo>
                <a:lnTo>
                  <a:pt x="1568411" y="2294471"/>
                </a:lnTo>
                <a:lnTo>
                  <a:pt x="1526565" y="2306142"/>
                </a:lnTo>
                <a:lnTo>
                  <a:pt x="1488033" y="2324735"/>
                </a:lnTo>
                <a:lnTo>
                  <a:pt x="1453515" y="2349538"/>
                </a:lnTo>
                <a:lnTo>
                  <a:pt x="1423708" y="2379827"/>
                </a:lnTo>
                <a:lnTo>
                  <a:pt x="1399311" y="2414905"/>
                </a:lnTo>
                <a:lnTo>
                  <a:pt x="1381023" y="2454059"/>
                </a:lnTo>
                <a:lnTo>
                  <a:pt x="1369529" y="2496591"/>
                </a:lnTo>
                <a:lnTo>
                  <a:pt x="1365542" y="2541765"/>
                </a:lnTo>
                <a:lnTo>
                  <a:pt x="1369529" y="2586939"/>
                </a:lnTo>
                <a:lnTo>
                  <a:pt x="1381023" y="2629471"/>
                </a:lnTo>
                <a:lnTo>
                  <a:pt x="1399311" y="2668625"/>
                </a:lnTo>
                <a:lnTo>
                  <a:pt x="1423708" y="2703703"/>
                </a:lnTo>
                <a:lnTo>
                  <a:pt x="1453515" y="2733992"/>
                </a:lnTo>
                <a:lnTo>
                  <a:pt x="1488033" y="2758795"/>
                </a:lnTo>
                <a:lnTo>
                  <a:pt x="1526565" y="2777388"/>
                </a:lnTo>
                <a:lnTo>
                  <a:pt x="1568411" y="2789059"/>
                </a:lnTo>
                <a:lnTo>
                  <a:pt x="1612861" y="2793111"/>
                </a:lnTo>
                <a:lnTo>
                  <a:pt x="1657324" y="2789059"/>
                </a:lnTo>
                <a:lnTo>
                  <a:pt x="1699158" y="2777388"/>
                </a:lnTo>
                <a:lnTo>
                  <a:pt x="1737690" y="2758795"/>
                </a:lnTo>
                <a:lnTo>
                  <a:pt x="1772208" y="2733992"/>
                </a:lnTo>
                <a:lnTo>
                  <a:pt x="1802015" y="2703703"/>
                </a:lnTo>
                <a:lnTo>
                  <a:pt x="1826412" y="2668625"/>
                </a:lnTo>
                <a:lnTo>
                  <a:pt x="1844713" y="2629471"/>
                </a:lnTo>
                <a:lnTo>
                  <a:pt x="1856193" y="2586939"/>
                </a:lnTo>
                <a:lnTo>
                  <a:pt x="1860181" y="2541765"/>
                </a:lnTo>
                <a:close/>
              </a:path>
              <a:path w="3973829" h="5307330">
                <a:moveTo>
                  <a:pt x="2167483" y="408241"/>
                </a:moveTo>
                <a:lnTo>
                  <a:pt x="2166924" y="335267"/>
                </a:lnTo>
                <a:lnTo>
                  <a:pt x="2162899" y="264515"/>
                </a:lnTo>
                <a:lnTo>
                  <a:pt x="2155672" y="196011"/>
                </a:lnTo>
                <a:lnTo>
                  <a:pt x="2145474" y="129794"/>
                </a:lnTo>
                <a:lnTo>
                  <a:pt x="2132596" y="65874"/>
                </a:lnTo>
                <a:lnTo>
                  <a:pt x="2117267" y="4292"/>
                </a:lnTo>
                <a:lnTo>
                  <a:pt x="2115997" y="12"/>
                </a:lnTo>
                <a:lnTo>
                  <a:pt x="1283462" y="12"/>
                </a:lnTo>
                <a:lnTo>
                  <a:pt x="1267079" y="24307"/>
                </a:lnTo>
                <a:lnTo>
                  <a:pt x="1257134" y="73621"/>
                </a:lnTo>
                <a:lnTo>
                  <a:pt x="1267079" y="122936"/>
                </a:lnTo>
                <a:lnTo>
                  <a:pt x="1294218" y="163195"/>
                </a:lnTo>
                <a:lnTo>
                  <a:pt x="1334477" y="190347"/>
                </a:lnTo>
                <a:lnTo>
                  <a:pt x="1383792" y="200304"/>
                </a:lnTo>
                <a:lnTo>
                  <a:pt x="1784172" y="200304"/>
                </a:lnTo>
                <a:lnTo>
                  <a:pt x="1791182" y="247345"/>
                </a:lnTo>
                <a:lnTo>
                  <a:pt x="1796199" y="295897"/>
                </a:lnTo>
                <a:lnTo>
                  <a:pt x="1799069" y="345973"/>
                </a:lnTo>
                <a:lnTo>
                  <a:pt x="1799653" y="397535"/>
                </a:lnTo>
                <a:lnTo>
                  <a:pt x="1797761" y="450596"/>
                </a:lnTo>
                <a:lnTo>
                  <a:pt x="1793240" y="505142"/>
                </a:lnTo>
                <a:lnTo>
                  <a:pt x="1786153" y="503910"/>
                </a:lnTo>
                <a:lnTo>
                  <a:pt x="1778977" y="502945"/>
                </a:lnTo>
                <a:lnTo>
                  <a:pt x="749782" y="502945"/>
                </a:lnTo>
                <a:lnTo>
                  <a:pt x="700468" y="512902"/>
                </a:lnTo>
                <a:lnTo>
                  <a:pt x="660209" y="540054"/>
                </a:lnTo>
                <a:lnTo>
                  <a:pt x="633069" y="580326"/>
                </a:lnTo>
                <a:lnTo>
                  <a:pt x="623125" y="629627"/>
                </a:lnTo>
                <a:lnTo>
                  <a:pt x="633069" y="678942"/>
                </a:lnTo>
                <a:lnTo>
                  <a:pt x="660209" y="719213"/>
                </a:lnTo>
                <a:lnTo>
                  <a:pt x="700468" y="746366"/>
                </a:lnTo>
                <a:lnTo>
                  <a:pt x="749782" y="756323"/>
                </a:lnTo>
                <a:lnTo>
                  <a:pt x="1732711" y="756323"/>
                </a:lnTo>
                <a:lnTo>
                  <a:pt x="1714741" y="802106"/>
                </a:lnTo>
                <a:lnTo>
                  <a:pt x="1694802" y="847928"/>
                </a:lnTo>
                <a:lnTo>
                  <a:pt x="1672983" y="893800"/>
                </a:lnTo>
                <a:lnTo>
                  <a:pt x="1649349" y="939711"/>
                </a:lnTo>
                <a:lnTo>
                  <a:pt x="1623949" y="985634"/>
                </a:lnTo>
                <a:lnTo>
                  <a:pt x="1596847" y="1031557"/>
                </a:lnTo>
                <a:lnTo>
                  <a:pt x="1568132" y="1077493"/>
                </a:lnTo>
                <a:lnTo>
                  <a:pt x="805383" y="1077493"/>
                </a:lnTo>
                <a:lnTo>
                  <a:pt x="756069" y="1087450"/>
                </a:lnTo>
                <a:lnTo>
                  <a:pt x="715810" y="1114602"/>
                </a:lnTo>
                <a:lnTo>
                  <a:pt x="688670" y="1154874"/>
                </a:lnTo>
                <a:lnTo>
                  <a:pt x="678726" y="1204175"/>
                </a:lnTo>
                <a:lnTo>
                  <a:pt x="688670" y="1253490"/>
                </a:lnTo>
                <a:lnTo>
                  <a:pt x="715810" y="1293749"/>
                </a:lnTo>
                <a:lnTo>
                  <a:pt x="756069" y="1320901"/>
                </a:lnTo>
                <a:lnTo>
                  <a:pt x="805383" y="1330858"/>
                </a:lnTo>
                <a:lnTo>
                  <a:pt x="1383538" y="1330858"/>
                </a:lnTo>
                <a:lnTo>
                  <a:pt x="1352664" y="1368552"/>
                </a:lnTo>
                <a:lnTo>
                  <a:pt x="1321041" y="1406194"/>
                </a:lnTo>
                <a:lnTo>
                  <a:pt x="1288719" y="1443786"/>
                </a:lnTo>
                <a:lnTo>
                  <a:pt x="1255737" y="1481302"/>
                </a:lnTo>
                <a:lnTo>
                  <a:pt x="1222133" y="1518742"/>
                </a:lnTo>
                <a:lnTo>
                  <a:pt x="1187945" y="1556105"/>
                </a:lnTo>
                <a:lnTo>
                  <a:pt x="1153210" y="1593380"/>
                </a:lnTo>
                <a:lnTo>
                  <a:pt x="1117981" y="1630578"/>
                </a:lnTo>
                <a:lnTo>
                  <a:pt x="1082281" y="1667675"/>
                </a:lnTo>
                <a:lnTo>
                  <a:pt x="1046162" y="1704657"/>
                </a:lnTo>
                <a:lnTo>
                  <a:pt x="1009662" y="1741538"/>
                </a:lnTo>
                <a:lnTo>
                  <a:pt x="972807" y="1778304"/>
                </a:lnTo>
                <a:lnTo>
                  <a:pt x="935659" y="1814957"/>
                </a:lnTo>
                <a:lnTo>
                  <a:pt x="898245" y="1851469"/>
                </a:lnTo>
                <a:lnTo>
                  <a:pt x="822794" y="1924113"/>
                </a:lnTo>
                <a:lnTo>
                  <a:pt x="708621" y="2031961"/>
                </a:lnTo>
                <a:lnTo>
                  <a:pt x="351548" y="2362314"/>
                </a:lnTo>
                <a:lnTo>
                  <a:pt x="183464" y="2519527"/>
                </a:lnTo>
                <a:lnTo>
                  <a:pt x="101993" y="2597442"/>
                </a:lnTo>
                <a:lnTo>
                  <a:pt x="62052" y="2636240"/>
                </a:lnTo>
                <a:lnTo>
                  <a:pt x="22707" y="2674924"/>
                </a:lnTo>
                <a:lnTo>
                  <a:pt x="0" y="2697581"/>
                </a:lnTo>
                <a:lnTo>
                  <a:pt x="0" y="3450831"/>
                </a:lnTo>
                <a:lnTo>
                  <a:pt x="701814" y="3450831"/>
                </a:lnTo>
                <a:lnTo>
                  <a:pt x="751128" y="3440874"/>
                </a:lnTo>
                <a:lnTo>
                  <a:pt x="791387" y="3413722"/>
                </a:lnTo>
                <a:lnTo>
                  <a:pt x="818527" y="3373450"/>
                </a:lnTo>
                <a:lnTo>
                  <a:pt x="828471" y="3324148"/>
                </a:lnTo>
                <a:lnTo>
                  <a:pt x="818527" y="3274834"/>
                </a:lnTo>
                <a:lnTo>
                  <a:pt x="791387" y="3234563"/>
                </a:lnTo>
                <a:lnTo>
                  <a:pt x="751128" y="3207423"/>
                </a:lnTo>
                <a:lnTo>
                  <a:pt x="701814" y="3197466"/>
                </a:lnTo>
                <a:lnTo>
                  <a:pt x="32537" y="3197466"/>
                </a:lnTo>
                <a:lnTo>
                  <a:pt x="62763" y="3163379"/>
                </a:lnTo>
                <a:lnTo>
                  <a:pt x="93967" y="3129026"/>
                </a:lnTo>
                <a:lnTo>
                  <a:pt x="126098" y="3094444"/>
                </a:lnTo>
                <a:lnTo>
                  <a:pt x="159143" y="3059607"/>
                </a:lnTo>
                <a:lnTo>
                  <a:pt x="193014" y="3024543"/>
                </a:lnTo>
                <a:lnTo>
                  <a:pt x="227698" y="2989262"/>
                </a:lnTo>
                <a:lnTo>
                  <a:pt x="263118" y="2953753"/>
                </a:lnTo>
                <a:lnTo>
                  <a:pt x="299250" y="2918041"/>
                </a:lnTo>
                <a:lnTo>
                  <a:pt x="336042" y="2882125"/>
                </a:lnTo>
                <a:lnTo>
                  <a:pt x="411391" y="2809697"/>
                </a:lnTo>
                <a:lnTo>
                  <a:pt x="528180" y="2699715"/>
                </a:lnTo>
                <a:lnTo>
                  <a:pt x="967320" y="2293175"/>
                </a:lnTo>
                <a:lnTo>
                  <a:pt x="1084859" y="2182253"/>
                </a:lnTo>
                <a:lnTo>
                  <a:pt x="1162202" y="2107908"/>
                </a:lnTo>
                <a:lnTo>
                  <a:pt x="1200480" y="2070620"/>
                </a:lnTo>
                <a:lnTo>
                  <a:pt x="1238440" y="2033244"/>
                </a:lnTo>
                <a:lnTo>
                  <a:pt x="1276083" y="1995766"/>
                </a:lnTo>
                <a:lnTo>
                  <a:pt x="1313357" y="1958213"/>
                </a:lnTo>
                <a:lnTo>
                  <a:pt x="1350238" y="1920544"/>
                </a:lnTo>
                <a:lnTo>
                  <a:pt x="1386687" y="1882787"/>
                </a:lnTo>
                <a:lnTo>
                  <a:pt x="1422692" y="1844929"/>
                </a:lnTo>
                <a:lnTo>
                  <a:pt x="1458214" y="1806968"/>
                </a:lnTo>
                <a:lnTo>
                  <a:pt x="1493227" y="1768894"/>
                </a:lnTo>
                <a:lnTo>
                  <a:pt x="1527695" y="1730705"/>
                </a:lnTo>
                <a:lnTo>
                  <a:pt x="1561579" y="1692402"/>
                </a:lnTo>
                <a:lnTo>
                  <a:pt x="1594878" y="1653984"/>
                </a:lnTo>
                <a:lnTo>
                  <a:pt x="1627530" y="1615440"/>
                </a:lnTo>
                <a:lnTo>
                  <a:pt x="1659534" y="1576781"/>
                </a:lnTo>
                <a:lnTo>
                  <a:pt x="1690839" y="1537982"/>
                </a:lnTo>
                <a:lnTo>
                  <a:pt x="1721421" y="1499057"/>
                </a:lnTo>
                <a:lnTo>
                  <a:pt x="1751253" y="1460004"/>
                </a:lnTo>
                <a:lnTo>
                  <a:pt x="1780311" y="1420812"/>
                </a:lnTo>
                <a:lnTo>
                  <a:pt x="1808543" y="1381480"/>
                </a:lnTo>
                <a:lnTo>
                  <a:pt x="1835950" y="1342009"/>
                </a:lnTo>
                <a:lnTo>
                  <a:pt x="1862480" y="1302385"/>
                </a:lnTo>
                <a:lnTo>
                  <a:pt x="1888109" y="1262621"/>
                </a:lnTo>
                <a:lnTo>
                  <a:pt x="1912810" y="1222692"/>
                </a:lnTo>
                <a:lnTo>
                  <a:pt x="1936546" y="1182624"/>
                </a:lnTo>
                <a:lnTo>
                  <a:pt x="1959292" y="1142390"/>
                </a:lnTo>
                <a:lnTo>
                  <a:pt x="1981022" y="1101991"/>
                </a:lnTo>
                <a:lnTo>
                  <a:pt x="2001710" y="1061427"/>
                </a:lnTo>
                <a:lnTo>
                  <a:pt x="2021306" y="1020699"/>
                </a:lnTo>
                <a:lnTo>
                  <a:pt x="2039797" y="979805"/>
                </a:lnTo>
                <a:lnTo>
                  <a:pt x="2057158" y="938733"/>
                </a:lnTo>
                <a:lnTo>
                  <a:pt x="2073338" y="897483"/>
                </a:lnTo>
                <a:lnTo>
                  <a:pt x="2088324" y="856056"/>
                </a:lnTo>
                <a:lnTo>
                  <a:pt x="2102078" y="814438"/>
                </a:lnTo>
                <a:lnTo>
                  <a:pt x="2114588" y="772642"/>
                </a:lnTo>
                <a:lnTo>
                  <a:pt x="2125789" y="730656"/>
                </a:lnTo>
                <a:lnTo>
                  <a:pt x="2135682" y="688479"/>
                </a:lnTo>
                <a:lnTo>
                  <a:pt x="2144230" y="646099"/>
                </a:lnTo>
                <a:lnTo>
                  <a:pt x="2151405" y="603529"/>
                </a:lnTo>
                <a:lnTo>
                  <a:pt x="2157158" y="560755"/>
                </a:lnTo>
                <a:lnTo>
                  <a:pt x="2162302" y="505142"/>
                </a:lnTo>
                <a:lnTo>
                  <a:pt x="2164308" y="483412"/>
                </a:lnTo>
                <a:lnTo>
                  <a:pt x="2167483" y="408241"/>
                </a:lnTo>
                <a:close/>
              </a:path>
              <a:path w="3973829" h="5307330">
                <a:moveTo>
                  <a:pt x="2815323" y="1929345"/>
                </a:moveTo>
                <a:lnTo>
                  <a:pt x="2811945" y="1882635"/>
                </a:lnTo>
                <a:lnTo>
                  <a:pt x="2802153" y="1838058"/>
                </a:lnTo>
                <a:lnTo>
                  <a:pt x="2786405" y="1796097"/>
                </a:lnTo>
                <a:lnTo>
                  <a:pt x="2765209" y="1757235"/>
                </a:lnTo>
                <a:lnTo>
                  <a:pt x="2739021" y="1721967"/>
                </a:lnTo>
                <a:lnTo>
                  <a:pt x="2708338" y="1690789"/>
                </a:lnTo>
                <a:lnTo>
                  <a:pt x="2673642" y="1664182"/>
                </a:lnTo>
                <a:lnTo>
                  <a:pt x="2635402" y="1642643"/>
                </a:lnTo>
                <a:lnTo>
                  <a:pt x="2594114" y="1626641"/>
                </a:lnTo>
                <a:lnTo>
                  <a:pt x="2550249" y="1616684"/>
                </a:lnTo>
                <a:lnTo>
                  <a:pt x="2504287" y="1613255"/>
                </a:lnTo>
                <a:lnTo>
                  <a:pt x="2458326" y="1616684"/>
                </a:lnTo>
                <a:lnTo>
                  <a:pt x="2414447" y="1626641"/>
                </a:lnTo>
                <a:lnTo>
                  <a:pt x="2373160" y="1642643"/>
                </a:lnTo>
                <a:lnTo>
                  <a:pt x="2334920" y="1664182"/>
                </a:lnTo>
                <a:lnTo>
                  <a:pt x="2300224" y="1690789"/>
                </a:lnTo>
                <a:lnTo>
                  <a:pt x="2269540" y="1721967"/>
                </a:lnTo>
                <a:lnTo>
                  <a:pt x="2243353" y="1757235"/>
                </a:lnTo>
                <a:lnTo>
                  <a:pt x="2222157" y="1796097"/>
                </a:lnTo>
                <a:lnTo>
                  <a:pt x="2206421" y="1838058"/>
                </a:lnTo>
                <a:lnTo>
                  <a:pt x="2196617" y="1882635"/>
                </a:lnTo>
                <a:lnTo>
                  <a:pt x="2193252" y="1929345"/>
                </a:lnTo>
                <a:lnTo>
                  <a:pt x="2196617" y="1976056"/>
                </a:lnTo>
                <a:lnTo>
                  <a:pt x="2206421" y="2020646"/>
                </a:lnTo>
                <a:lnTo>
                  <a:pt x="2222157" y="2062607"/>
                </a:lnTo>
                <a:lnTo>
                  <a:pt x="2243353" y="2101469"/>
                </a:lnTo>
                <a:lnTo>
                  <a:pt x="2269540" y="2136724"/>
                </a:lnTo>
                <a:lnTo>
                  <a:pt x="2300224" y="2167915"/>
                </a:lnTo>
                <a:lnTo>
                  <a:pt x="2334920" y="2194522"/>
                </a:lnTo>
                <a:lnTo>
                  <a:pt x="2373160" y="2216061"/>
                </a:lnTo>
                <a:lnTo>
                  <a:pt x="2414447" y="2232063"/>
                </a:lnTo>
                <a:lnTo>
                  <a:pt x="2458326" y="2242020"/>
                </a:lnTo>
                <a:lnTo>
                  <a:pt x="2504287" y="2245436"/>
                </a:lnTo>
                <a:lnTo>
                  <a:pt x="2550249" y="2242020"/>
                </a:lnTo>
                <a:lnTo>
                  <a:pt x="2594114" y="2232063"/>
                </a:lnTo>
                <a:lnTo>
                  <a:pt x="2635402" y="2216061"/>
                </a:lnTo>
                <a:lnTo>
                  <a:pt x="2673642" y="2194522"/>
                </a:lnTo>
                <a:lnTo>
                  <a:pt x="2708338" y="2167915"/>
                </a:lnTo>
                <a:lnTo>
                  <a:pt x="2739021" y="2136724"/>
                </a:lnTo>
                <a:lnTo>
                  <a:pt x="2765209" y="2101469"/>
                </a:lnTo>
                <a:lnTo>
                  <a:pt x="2786405" y="2062607"/>
                </a:lnTo>
                <a:lnTo>
                  <a:pt x="2802153" y="2020646"/>
                </a:lnTo>
                <a:lnTo>
                  <a:pt x="2811945" y="1976056"/>
                </a:lnTo>
                <a:lnTo>
                  <a:pt x="2815323" y="1929345"/>
                </a:lnTo>
                <a:close/>
              </a:path>
              <a:path w="3973829" h="5307330">
                <a:moveTo>
                  <a:pt x="2817076" y="3135579"/>
                </a:moveTo>
                <a:lnTo>
                  <a:pt x="2814421" y="3088868"/>
                </a:lnTo>
                <a:lnTo>
                  <a:pt x="2806662" y="3043745"/>
                </a:lnTo>
                <a:lnTo>
                  <a:pt x="2794089" y="3000489"/>
                </a:lnTo>
                <a:lnTo>
                  <a:pt x="2777007" y="2959430"/>
                </a:lnTo>
                <a:lnTo>
                  <a:pt x="2755709" y="2920847"/>
                </a:lnTo>
                <a:lnTo>
                  <a:pt x="2730487" y="2885059"/>
                </a:lnTo>
                <a:lnTo>
                  <a:pt x="2701633" y="2852343"/>
                </a:lnTo>
                <a:lnTo>
                  <a:pt x="2669438" y="2823019"/>
                </a:lnTo>
                <a:lnTo>
                  <a:pt x="2634221" y="2797391"/>
                </a:lnTo>
                <a:lnTo>
                  <a:pt x="2596261" y="2775737"/>
                </a:lnTo>
                <a:lnTo>
                  <a:pt x="2555849" y="2758376"/>
                </a:lnTo>
                <a:lnTo>
                  <a:pt x="2513304" y="2745600"/>
                </a:lnTo>
                <a:lnTo>
                  <a:pt x="2468892" y="2737726"/>
                </a:lnTo>
                <a:lnTo>
                  <a:pt x="2422931" y="2735021"/>
                </a:lnTo>
                <a:lnTo>
                  <a:pt x="2376957" y="2737726"/>
                </a:lnTo>
                <a:lnTo>
                  <a:pt x="2332558" y="2745600"/>
                </a:lnTo>
                <a:lnTo>
                  <a:pt x="2290000" y="2758376"/>
                </a:lnTo>
                <a:lnTo>
                  <a:pt x="2249589" y="2775737"/>
                </a:lnTo>
                <a:lnTo>
                  <a:pt x="2211628" y="2797391"/>
                </a:lnTo>
                <a:lnTo>
                  <a:pt x="2176411" y="2823019"/>
                </a:lnTo>
                <a:lnTo>
                  <a:pt x="2144230" y="2852343"/>
                </a:lnTo>
                <a:lnTo>
                  <a:pt x="2115375" y="2885059"/>
                </a:lnTo>
                <a:lnTo>
                  <a:pt x="2090153" y="2920847"/>
                </a:lnTo>
                <a:lnTo>
                  <a:pt x="2068842" y="2959430"/>
                </a:lnTo>
                <a:lnTo>
                  <a:pt x="2051761" y="3000489"/>
                </a:lnTo>
                <a:lnTo>
                  <a:pt x="2039188" y="3043745"/>
                </a:lnTo>
                <a:lnTo>
                  <a:pt x="2031428" y="3088868"/>
                </a:lnTo>
                <a:lnTo>
                  <a:pt x="2028786" y="3135579"/>
                </a:lnTo>
                <a:lnTo>
                  <a:pt x="2031428" y="3182302"/>
                </a:lnTo>
                <a:lnTo>
                  <a:pt x="2039188" y="3227425"/>
                </a:lnTo>
                <a:lnTo>
                  <a:pt x="2051761" y="3270681"/>
                </a:lnTo>
                <a:lnTo>
                  <a:pt x="2068842" y="3311741"/>
                </a:lnTo>
                <a:lnTo>
                  <a:pt x="2090153" y="3350323"/>
                </a:lnTo>
                <a:lnTo>
                  <a:pt x="2115375" y="3386112"/>
                </a:lnTo>
                <a:lnTo>
                  <a:pt x="2144230" y="3418827"/>
                </a:lnTo>
                <a:lnTo>
                  <a:pt x="2176411" y="3448139"/>
                </a:lnTo>
                <a:lnTo>
                  <a:pt x="2211628" y="3473780"/>
                </a:lnTo>
                <a:lnTo>
                  <a:pt x="2249589" y="3495433"/>
                </a:lnTo>
                <a:lnTo>
                  <a:pt x="2290000" y="3512794"/>
                </a:lnTo>
                <a:lnTo>
                  <a:pt x="2332558" y="3525558"/>
                </a:lnTo>
                <a:lnTo>
                  <a:pt x="2376957" y="3533444"/>
                </a:lnTo>
                <a:lnTo>
                  <a:pt x="2422931" y="3536137"/>
                </a:lnTo>
                <a:lnTo>
                  <a:pt x="2468892" y="3533444"/>
                </a:lnTo>
                <a:lnTo>
                  <a:pt x="2513304" y="3525558"/>
                </a:lnTo>
                <a:lnTo>
                  <a:pt x="2555849" y="3512794"/>
                </a:lnTo>
                <a:lnTo>
                  <a:pt x="2596261" y="3495433"/>
                </a:lnTo>
                <a:lnTo>
                  <a:pt x="2634221" y="3473780"/>
                </a:lnTo>
                <a:lnTo>
                  <a:pt x="2669438" y="3448139"/>
                </a:lnTo>
                <a:lnTo>
                  <a:pt x="2701633" y="3418827"/>
                </a:lnTo>
                <a:lnTo>
                  <a:pt x="2730487" y="3386112"/>
                </a:lnTo>
                <a:lnTo>
                  <a:pt x="2755709" y="3350323"/>
                </a:lnTo>
                <a:lnTo>
                  <a:pt x="2777007" y="3311741"/>
                </a:lnTo>
                <a:lnTo>
                  <a:pt x="2794089" y="3270681"/>
                </a:lnTo>
                <a:lnTo>
                  <a:pt x="2806662" y="3227425"/>
                </a:lnTo>
                <a:lnTo>
                  <a:pt x="2814421" y="3182302"/>
                </a:lnTo>
                <a:lnTo>
                  <a:pt x="2817076" y="3135579"/>
                </a:lnTo>
                <a:close/>
              </a:path>
              <a:path w="3973829" h="5307330">
                <a:moveTo>
                  <a:pt x="3001899" y="902957"/>
                </a:moveTo>
                <a:lnTo>
                  <a:pt x="2997568" y="853782"/>
                </a:lnTo>
                <a:lnTo>
                  <a:pt x="2985058" y="807504"/>
                </a:lnTo>
                <a:lnTo>
                  <a:pt x="2965145" y="764882"/>
                </a:lnTo>
                <a:lnTo>
                  <a:pt x="2938589" y="726706"/>
                </a:lnTo>
                <a:lnTo>
                  <a:pt x="2906141" y="693737"/>
                </a:lnTo>
                <a:lnTo>
                  <a:pt x="2868574" y="666750"/>
                </a:lnTo>
                <a:lnTo>
                  <a:pt x="2826639" y="646518"/>
                </a:lnTo>
                <a:lnTo>
                  <a:pt x="2781096" y="633806"/>
                </a:lnTo>
                <a:lnTo>
                  <a:pt x="2732709" y="629399"/>
                </a:lnTo>
                <a:lnTo>
                  <a:pt x="2684322" y="633806"/>
                </a:lnTo>
                <a:lnTo>
                  <a:pt x="2638780" y="646518"/>
                </a:lnTo>
                <a:lnTo>
                  <a:pt x="2596845" y="666750"/>
                </a:lnTo>
                <a:lnTo>
                  <a:pt x="2559278" y="693737"/>
                </a:lnTo>
                <a:lnTo>
                  <a:pt x="2526830" y="726706"/>
                </a:lnTo>
                <a:lnTo>
                  <a:pt x="2500274" y="764882"/>
                </a:lnTo>
                <a:lnTo>
                  <a:pt x="2480360" y="807504"/>
                </a:lnTo>
                <a:lnTo>
                  <a:pt x="2467864" y="853782"/>
                </a:lnTo>
                <a:lnTo>
                  <a:pt x="2463520" y="902957"/>
                </a:lnTo>
                <a:lnTo>
                  <a:pt x="2467864" y="952131"/>
                </a:lnTo>
                <a:lnTo>
                  <a:pt x="2480360" y="998410"/>
                </a:lnTo>
                <a:lnTo>
                  <a:pt x="2500274" y="1041031"/>
                </a:lnTo>
                <a:lnTo>
                  <a:pt x="2526830" y="1079220"/>
                </a:lnTo>
                <a:lnTo>
                  <a:pt x="2559278" y="1112189"/>
                </a:lnTo>
                <a:lnTo>
                  <a:pt x="2596845" y="1139177"/>
                </a:lnTo>
                <a:lnTo>
                  <a:pt x="2638780" y="1159408"/>
                </a:lnTo>
                <a:lnTo>
                  <a:pt x="2684322" y="1172121"/>
                </a:lnTo>
                <a:lnTo>
                  <a:pt x="2732709" y="1176528"/>
                </a:lnTo>
                <a:lnTo>
                  <a:pt x="2781096" y="1172121"/>
                </a:lnTo>
                <a:lnTo>
                  <a:pt x="2826639" y="1159408"/>
                </a:lnTo>
                <a:lnTo>
                  <a:pt x="2868574" y="1139177"/>
                </a:lnTo>
                <a:lnTo>
                  <a:pt x="2906141" y="1112189"/>
                </a:lnTo>
                <a:lnTo>
                  <a:pt x="2938589" y="1079220"/>
                </a:lnTo>
                <a:lnTo>
                  <a:pt x="2965145" y="1041031"/>
                </a:lnTo>
                <a:lnTo>
                  <a:pt x="2985058" y="998410"/>
                </a:lnTo>
                <a:lnTo>
                  <a:pt x="2997568" y="952131"/>
                </a:lnTo>
                <a:lnTo>
                  <a:pt x="3001899" y="902957"/>
                </a:lnTo>
                <a:close/>
              </a:path>
              <a:path w="3973829" h="5307330">
                <a:moveTo>
                  <a:pt x="3293262" y="0"/>
                </a:moveTo>
                <a:lnTo>
                  <a:pt x="2712770" y="0"/>
                </a:lnTo>
                <a:lnTo>
                  <a:pt x="2722854" y="15176"/>
                </a:lnTo>
                <a:lnTo>
                  <a:pt x="2752775" y="49720"/>
                </a:lnTo>
                <a:lnTo>
                  <a:pt x="2786761" y="80124"/>
                </a:lnTo>
                <a:lnTo>
                  <a:pt x="2824403" y="105956"/>
                </a:lnTo>
                <a:lnTo>
                  <a:pt x="2865259" y="126796"/>
                </a:lnTo>
                <a:lnTo>
                  <a:pt x="2908935" y="142214"/>
                </a:lnTo>
                <a:lnTo>
                  <a:pt x="2954998" y="151777"/>
                </a:lnTo>
                <a:lnTo>
                  <a:pt x="3003016" y="155054"/>
                </a:lnTo>
                <a:lnTo>
                  <a:pt x="3051035" y="151777"/>
                </a:lnTo>
                <a:lnTo>
                  <a:pt x="3097098" y="142214"/>
                </a:lnTo>
                <a:lnTo>
                  <a:pt x="3140773" y="126796"/>
                </a:lnTo>
                <a:lnTo>
                  <a:pt x="3181642" y="105956"/>
                </a:lnTo>
                <a:lnTo>
                  <a:pt x="3219272" y="80124"/>
                </a:lnTo>
                <a:lnTo>
                  <a:pt x="3253257" y="49720"/>
                </a:lnTo>
                <a:lnTo>
                  <a:pt x="3283178" y="15176"/>
                </a:lnTo>
                <a:lnTo>
                  <a:pt x="3293262" y="0"/>
                </a:lnTo>
                <a:close/>
              </a:path>
              <a:path w="3973829" h="5307330">
                <a:moveTo>
                  <a:pt x="3973512" y="1706270"/>
                </a:moveTo>
                <a:lnTo>
                  <a:pt x="3970858" y="1659585"/>
                </a:lnTo>
                <a:lnTo>
                  <a:pt x="3963111" y="1614474"/>
                </a:lnTo>
                <a:lnTo>
                  <a:pt x="3950551" y="1571244"/>
                </a:lnTo>
                <a:lnTo>
                  <a:pt x="3933469" y="1530210"/>
                </a:lnTo>
                <a:lnTo>
                  <a:pt x="3912184" y="1491640"/>
                </a:lnTo>
                <a:lnTo>
                  <a:pt x="3886962" y="1455864"/>
                </a:lnTo>
                <a:lnTo>
                  <a:pt x="3858133" y="1423174"/>
                </a:lnTo>
                <a:lnTo>
                  <a:pt x="3825964" y="1393863"/>
                </a:lnTo>
                <a:lnTo>
                  <a:pt x="3790759" y="1368247"/>
                </a:lnTo>
                <a:lnTo>
                  <a:pt x="3752812" y="1346606"/>
                </a:lnTo>
                <a:lnTo>
                  <a:pt x="3712426" y="1329245"/>
                </a:lnTo>
                <a:lnTo>
                  <a:pt x="3669893" y="1316482"/>
                </a:lnTo>
                <a:lnTo>
                  <a:pt x="3625507" y="1308608"/>
                </a:lnTo>
                <a:lnTo>
                  <a:pt x="3579558" y="1305902"/>
                </a:lnTo>
                <a:lnTo>
                  <a:pt x="3533610" y="1308608"/>
                </a:lnTo>
                <a:lnTo>
                  <a:pt x="3489223" y="1316482"/>
                </a:lnTo>
                <a:lnTo>
                  <a:pt x="3446691" y="1329245"/>
                </a:lnTo>
                <a:lnTo>
                  <a:pt x="3406305" y="1346606"/>
                </a:lnTo>
                <a:lnTo>
                  <a:pt x="3368370" y="1368247"/>
                </a:lnTo>
                <a:lnTo>
                  <a:pt x="3333165" y="1393863"/>
                </a:lnTo>
                <a:lnTo>
                  <a:pt x="3300996" y="1423174"/>
                </a:lnTo>
                <a:lnTo>
                  <a:pt x="3272155" y="1455864"/>
                </a:lnTo>
                <a:lnTo>
                  <a:pt x="3246945" y="1491640"/>
                </a:lnTo>
                <a:lnTo>
                  <a:pt x="3225647" y="1530210"/>
                </a:lnTo>
                <a:lnTo>
                  <a:pt x="3208578" y="1571244"/>
                </a:lnTo>
                <a:lnTo>
                  <a:pt x="3196005" y="1614474"/>
                </a:lnTo>
                <a:lnTo>
                  <a:pt x="3188258" y="1659585"/>
                </a:lnTo>
                <a:lnTo>
                  <a:pt x="3185604" y="1706270"/>
                </a:lnTo>
                <a:lnTo>
                  <a:pt x="3188258" y="1752968"/>
                </a:lnTo>
                <a:lnTo>
                  <a:pt x="3196005" y="1798078"/>
                </a:lnTo>
                <a:lnTo>
                  <a:pt x="3208578" y="1841296"/>
                </a:lnTo>
                <a:lnTo>
                  <a:pt x="3225647" y="1882343"/>
                </a:lnTo>
                <a:lnTo>
                  <a:pt x="3246945" y="1920900"/>
                </a:lnTo>
                <a:lnTo>
                  <a:pt x="3272155" y="1956676"/>
                </a:lnTo>
                <a:lnTo>
                  <a:pt x="3300996" y="1989366"/>
                </a:lnTo>
                <a:lnTo>
                  <a:pt x="3333165" y="2018677"/>
                </a:lnTo>
                <a:lnTo>
                  <a:pt x="3368370" y="2044306"/>
                </a:lnTo>
                <a:lnTo>
                  <a:pt x="3406305" y="2065934"/>
                </a:lnTo>
                <a:lnTo>
                  <a:pt x="3446691" y="2083295"/>
                </a:lnTo>
                <a:lnTo>
                  <a:pt x="3489223" y="2096058"/>
                </a:lnTo>
                <a:lnTo>
                  <a:pt x="3533610" y="2103932"/>
                </a:lnTo>
                <a:lnTo>
                  <a:pt x="3579558" y="2106625"/>
                </a:lnTo>
                <a:lnTo>
                  <a:pt x="3625507" y="2103932"/>
                </a:lnTo>
                <a:lnTo>
                  <a:pt x="3669893" y="2096058"/>
                </a:lnTo>
                <a:lnTo>
                  <a:pt x="3712426" y="2083295"/>
                </a:lnTo>
                <a:lnTo>
                  <a:pt x="3752812" y="2065934"/>
                </a:lnTo>
                <a:lnTo>
                  <a:pt x="3790759" y="2044306"/>
                </a:lnTo>
                <a:lnTo>
                  <a:pt x="3825964" y="2018677"/>
                </a:lnTo>
                <a:lnTo>
                  <a:pt x="3858133" y="1989366"/>
                </a:lnTo>
                <a:lnTo>
                  <a:pt x="3886962" y="1956676"/>
                </a:lnTo>
                <a:lnTo>
                  <a:pt x="3912184" y="1920900"/>
                </a:lnTo>
                <a:lnTo>
                  <a:pt x="3933469" y="1882343"/>
                </a:lnTo>
                <a:lnTo>
                  <a:pt x="3950551" y="1841296"/>
                </a:lnTo>
                <a:lnTo>
                  <a:pt x="3963111" y="1798078"/>
                </a:lnTo>
                <a:lnTo>
                  <a:pt x="3970858" y="1752968"/>
                </a:lnTo>
                <a:lnTo>
                  <a:pt x="3973512" y="170627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42757" y="1766139"/>
            <a:ext cx="9282430" cy="3337640"/>
          </a:xfrm>
        </p:spPr>
        <p:txBody>
          <a:bodyPr>
            <a:normAutofit/>
          </a:bodyPr>
          <a:lstStyle>
            <a:lvl1pPr marL="0" indent="0" algn="r">
              <a:buNone/>
              <a:defRPr sz="28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9107" y="476581"/>
            <a:ext cx="9282430" cy="752109"/>
          </a:xfr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tx2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3C1C7D2-8ED7-565E-4663-883D463CCEC2}"/>
              </a:ext>
            </a:extLst>
          </p:cNvPr>
          <p:cNvGrpSpPr/>
          <p:nvPr/>
        </p:nvGrpSpPr>
        <p:grpSpPr>
          <a:xfrm>
            <a:off x="9738785" y="5200448"/>
            <a:ext cx="2447458" cy="1655479"/>
            <a:chOff x="9738785" y="5200448"/>
            <a:chExt cx="2447458" cy="1655479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98C71A34-944C-2B51-8D33-55FE94CDC0ED}"/>
                </a:ext>
              </a:extLst>
            </p:cNvPr>
            <p:cNvSpPr/>
            <p:nvPr/>
          </p:nvSpPr>
          <p:spPr>
            <a:xfrm>
              <a:off x="11776260" y="5200448"/>
              <a:ext cx="409983" cy="1655479"/>
            </a:xfrm>
            <a:custGeom>
              <a:avLst/>
              <a:gdLst/>
              <a:ahLst/>
              <a:cxnLst/>
              <a:rect l="l" t="t" r="r" b="b"/>
              <a:pathLst>
                <a:path w="452119" h="1825625">
                  <a:moveTo>
                    <a:pt x="451948" y="0"/>
                  </a:moveTo>
                  <a:lnTo>
                    <a:pt x="423684" y="19055"/>
                  </a:lnTo>
                  <a:lnTo>
                    <a:pt x="396532" y="59323"/>
                  </a:lnTo>
                  <a:lnTo>
                    <a:pt x="386575" y="108633"/>
                  </a:lnTo>
                  <a:lnTo>
                    <a:pt x="396532" y="157938"/>
                  </a:lnTo>
                  <a:lnTo>
                    <a:pt x="423684" y="198206"/>
                  </a:lnTo>
                  <a:lnTo>
                    <a:pt x="451948" y="217264"/>
                  </a:lnTo>
                  <a:lnTo>
                    <a:pt x="451948" y="0"/>
                  </a:lnTo>
                  <a:close/>
                </a:path>
                <a:path w="452119" h="1825625">
                  <a:moveTo>
                    <a:pt x="451948" y="537956"/>
                  </a:moveTo>
                  <a:lnTo>
                    <a:pt x="126682" y="537956"/>
                  </a:lnTo>
                  <a:lnTo>
                    <a:pt x="77372" y="547914"/>
                  </a:lnTo>
                  <a:lnTo>
                    <a:pt x="37104" y="575066"/>
                  </a:lnTo>
                  <a:lnTo>
                    <a:pt x="9955" y="615334"/>
                  </a:lnTo>
                  <a:lnTo>
                    <a:pt x="0" y="664639"/>
                  </a:lnTo>
                  <a:lnTo>
                    <a:pt x="9955" y="713951"/>
                  </a:lnTo>
                  <a:lnTo>
                    <a:pt x="37104" y="754223"/>
                  </a:lnTo>
                  <a:lnTo>
                    <a:pt x="77372" y="781377"/>
                  </a:lnTo>
                  <a:lnTo>
                    <a:pt x="126682" y="791334"/>
                  </a:lnTo>
                  <a:lnTo>
                    <a:pt x="451948" y="791334"/>
                  </a:lnTo>
                  <a:lnTo>
                    <a:pt x="451948" y="537956"/>
                  </a:lnTo>
                  <a:close/>
                </a:path>
                <a:path w="452119" h="1825625">
                  <a:moveTo>
                    <a:pt x="451948" y="1112479"/>
                  </a:moveTo>
                  <a:lnTo>
                    <a:pt x="182283" y="1112479"/>
                  </a:lnTo>
                  <a:lnTo>
                    <a:pt x="132972" y="1122436"/>
                  </a:lnTo>
                  <a:lnTo>
                    <a:pt x="92705" y="1149588"/>
                  </a:lnTo>
                  <a:lnTo>
                    <a:pt x="65556" y="1189857"/>
                  </a:lnTo>
                  <a:lnTo>
                    <a:pt x="55600" y="1239162"/>
                  </a:lnTo>
                  <a:lnTo>
                    <a:pt x="65556" y="1288472"/>
                  </a:lnTo>
                  <a:lnTo>
                    <a:pt x="92705" y="1328739"/>
                  </a:lnTo>
                  <a:lnTo>
                    <a:pt x="132972" y="1355889"/>
                  </a:lnTo>
                  <a:lnTo>
                    <a:pt x="182283" y="1365844"/>
                  </a:lnTo>
                  <a:lnTo>
                    <a:pt x="451948" y="1365844"/>
                  </a:lnTo>
                  <a:lnTo>
                    <a:pt x="451948" y="1112479"/>
                  </a:lnTo>
                  <a:close/>
                </a:path>
                <a:path w="452119" h="1825625">
                  <a:moveTo>
                    <a:pt x="451948" y="1710089"/>
                  </a:moveTo>
                  <a:lnTo>
                    <a:pt x="423079" y="1739653"/>
                  </a:lnTo>
                  <a:lnTo>
                    <a:pt x="386576" y="1776536"/>
                  </a:lnTo>
                  <a:lnTo>
                    <a:pt x="349728" y="1813304"/>
                  </a:lnTo>
                  <a:lnTo>
                    <a:pt x="337804" y="1825067"/>
                  </a:lnTo>
                  <a:lnTo>
                    <a:pt x="451948" y="1825067"/>
                  </a:lnTo>
                  <a:lnTo>
                    <a:pt x="451948" y="1710089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18C9DDA2-A716-EBE8-F34F-C40B6D8FCE79}"/>
                </a:ext>
              </a:extLst>
            </p:cNvPr>
            <p:cNvSpPr/>
            <p:nvPr/>
          </p:nvSpPr>
          <p:spPr>
            <a:xfrm>
              <a:off x="11026069" y="6723987"/>
              <a:ext cx="393860" cy="131862"/>
            </a:xfrm>
            <a:custGeom>
              <a:avLst/>
              <a:gdLst/>
              <a:ahLst/>
              <a:cxnLst/>
              <a:rect l="l" t="t" r="r" b="b"/>
              <a:pathLst>
                <a:path w="434340" h="145415">
                  <a:moveTo>
                    <a:pt x="216865" y="0"/>
                  </a:moveTo>
                  <a:lnTo>
                    <a:pt x="169224" y="4880"/>
                  </a:lnTo>
                  <a:lnTo>
                    <a:pt x="124850" y="18878"/>
                  </a:lnTo>
                  <a:lnTo>
                    <a:pt x="84694" y="41028"/>
                  </a:lnTo>
                  <a:lnTo>
                    <a:pt x="49708" y="70364"/>
                  </a:lnTo>
                  <a:lnTo>
                    <a:pt x="20841" y="105919"/>
                  </a:lnTo>
                  <a:lnTo>
                    <a:pt x="0" y="144942"/>
                  </a:lnTo>
                  <a:lnTo>
                    <a:pt x="433744" y="144942"/>
                  </a:lnTo>
                  <a:lnTo>
                    <a:pt x="412901" y="105919"/>
                  </a:lnTo>
                  <a:lnTo>
                    <a:pt x="384034" y="70364"/>
                  </a:lnTo>
                  <a:lnTo>
                    <a:pt x="349046" y="41028"/>
                  </a:lnTo>
                  <a:lnTo>
                    <a:pt x="308888" y="18878"/>
                  </a:lnTo>
                  <a:lnTo>
                    <a:pt x="264511" y="4880"/>
                  </a:lnTo>
                  <a:lnTo>
                    <a:pt x="216865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FACD9CE7-8C7D-69FF-1D44-5F08A5F89086}"/>
                </a:ext>
              </a:extLst>
            </p:cNvPr>
            <p:cNvSpPr/>
            <p:nvPr/>
          </p:nvSpPr>
          <p:spPr>
            <a:xfrm>
              <a:off x="11333372" y="6158589"/>
              <a:ext cx="324186" cy="329368"/>
            </a:xfrm>
            <a:custGeom>
              <a:avLst/>
              <a:gdLst/>
              <a:ahLst/>
              <a:cxnLst/>
              <a:rect l="l" t="t" r="r" b="b"/>
              <a:pathLst>
                <a:path w="357504" h="363220">
                  <a:moveTo>
                    <a:pt x="178612" y="0"/>
                  </a:moveTo>
                  <a:lnTo>
                    <a:pt x="131127" y="6483"/>
                  </a:lnTo>
                  <a:lnTo>
                    <a:pt x="88459" y="24782"/>
                  </a:lnTo>
                  <a:lnTo>
                    <a:pt x="52311" y="53165"/>
                  </a:lnTo>
                  <a:lnTo>
                    <a:pt x="24384" y="89902"/>
                  </a:lnTo>
                  <a:lnTo>
                    <a:pt x="6379" y="133264"/>
                  </a:lnTo>
                  <a:lnTo>
                    <a:pt x="0" y="181521"/>
                  </a:lnTo>
                  <a:lnTo>
                    <a:pt x="6379" y="229772"/>
                  </a:lnTo>
                  <a:lnTo>
                    <a:pt x="24383" y="273130"/>
                  </a:lnTo>
                  <a:lnTo>
                    <a:pt x="52311" y="309865"/>
                  </a:lnTo>
                  <a:lnTo>
                    <a:pt x="88459" y="338247"/>
                  </a:lnTo>
                  <a:lnTo>
                    <a:pt x="131127" y="356545"/>
                  </a:lnTo>
                  <a:lnTo>
                    <a:pt x="178612" y="363029"/>
                  </a:lnTo>
                  <a:lnTo>
                    <a:pt x="226092" y="356545"/>
                  </a:lnTo>
                  <a:lnTo>
                    <a:pt x="268756" y="338247"/>
                  </a:lnTo>
                  <a:lnTo>
                    <a:pt x="304903" y="309865"/>
                  </a:lnTo>
                  <a:lnTo>
                    <a:pt x="332829" y="273130"/>
                  </a:lnTo>
                  <a:lnTo>
                    <a:pt x="350833" y="229772"/>
                  </a:lnTo>
                  <a:lnTo>
                    <a:pt x="357212" y="181521"/>
                  </a:lnTo>
                  <a:lnTo>
                    <a:pt x="350833" y="133264"/>
                  </a:lnTo>
                  <a:lnTo>
                    <a:pt x="332829" y="89902"/>
                  </a:lnTo>
                  <a:lnTo>
                    <a:pt x="304903" y="53165"/>
                  </a:lnTo>
                  <a:lnTo>
                    <a:pt x="268756" y="24782"/>
                  </a:lnTo>
                  <a:lnTo>
                    <a:pt x="226092" y="6483"/>
                  </a:lnTo>
                  <a:lnTo>
                    <a:pt x="178612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9B6B4EDF-9602-7E47-156F-525A333E17AC}"/>
                </a:ext>
              </a:extLst>
            </p:cNvPr>
            <p:cNvSpPr/>
            <p:nvPr/>
          </p:nvSpPr>
          <p:spPr>
            <a:xfrm>
              <a:off x="9738785" y="6661239"/>
              <a:ext cx="593093" cy="194626"/>
            </a:xfrm>
            <a:custGeom>
              <a:avLst/>
              <a:gdLst/>
              <a:ahLst/>
              <a:cxnLst/>
              <a:rect l="l" t="t" r="r" b="b"/>
              <a:pathLst>
                <a:path w="654050" h="214629">
                  <a:moveTo>
                    <a:pt x="326761" y="0"/>
                  </a:moveTo>
                  <a:lnTo>
                    <a:pt x="277990" y="3334"/>
                  </a:lnTo>
                  <a:lnTo>
                    <a:pt x="231213" y="13046"/>
                  </a:lnTo>
                  <a:lnTo>
                    <a:pt x="186858" y="28702"/>
                  </a:lnTo>
                  <a:lnTo>
                    <a:pt x="145354" y="49867"/>
                  </a:lnTo>
                  <a:lnTo>
                    <a:pt x="107129" y="76104"/>
                  </a:lnTo>
                  <a:lnTo>
                    <a:pt x="72611" y="106980"/>
                  </a:lnTo>
                  <a:lnTo>
                    <a:pt x="42229" y="142058"/>
                  </a:lnTo>
                  <a:lnTo>
                    <a:pt x="16410" y="180904"/>
                  </a:lnTo>
                  <a:lnTo>
                    <a:pt x="0" y="214139"/>
                  </a:lnTo>
                  <a:lnTo>
                    <a:pt x="653522" y="214139"/>
                  </a:lnTo>
                  <a:lnTo>
                    <a:pt x="611292" y="142058"/>
                  </a:lnTo>
                  <a:lnTo>
                    <a:pt x="580910" y="106980"/>
                  </a:lnTo>
                  <a:lnTo>
                    <a:pt x="546392" y="76104"/>
                  </a:lnTo>
                  <a:lnTo>
                    <a:pt x="508167" y="49867"/>
                  </a:lnTo>
                  <a:lnTo>
                    <a:pt x="466663" y="28702"/>
                  </a:lnTo>
                  <a:lnTo>
                    <a:pt x="422308" y="13046"/>
                  </a:lnTo>
                  <a:lnTo>
                    <a:pt x="375532" y="3334"/>
                  </a:lnTo>
                  <a:lnTo>
                    <a:pt x="326761" y="0"/>
                  </a:lnTo>
                  <a:close/>
                </a:path>
              </a:pathLst>
            </a:custGeom>
            <a:solidFill>
              <a:srgbClr val="0E5C77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14">
            <a:extLst>
              <a:ext uri="{FF2B5EF4-FFF2-40B4-BE49-F238E27FC236}">
                <a16:creationId xmlns:a16="http://schemas.microsoft.com/office/drawing/2014/main" id="{E920B87E-EB30-C29A-7725-F098B0CD9403}"/>
              </a:ext>
            </a:extLst>
          </p:cNvPr>
          <p:cNvSpPr/>
          <p:nvPr/>
        </p:nvSpPr>
        <p:spPr>
          <a:xfrm rot="10800000">
            <a:off x="11050480" y="5292007"/>
            <a:ext cx="562114" cy="584428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25621567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Quicksand" pitchFamily="2" charset="0"/>
              </a:defRPr>
            </a:lvl1pPr>
            <a:lvl2pPr>
              <a:defRPr>
                <a:latin typeface="Quicksand" pitchFamily="2" charset="0"/>
              </a:defRPr>
            </a:lvl2pPr>
            <a:lvl3pPr>
              <a:defRPr>
                <a:latin typeface="Quicksand" pitchFamily="2" charset="0"/>
              </a:defRPr>
            </a:lvl3pPr>
            <a:lvl4pPr>
              <a:defRPr>
                <a:latin typeface="Quicksand" pitchFamily="2" charset="0"/>
              </a:defRPr>
            </a:lvl4pPr>
            <a:lvl5pPr>
              <a:defRPr>
                <a:latin typeface="Quicksand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3ACEF4A-FB42-9808-AD89-22387AFA82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73333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B044399D-0912-D593-C0A7-709DB4E472C3}"/>
              </a:ext>
            </a:extLst>
          </p:cNvPr>
          <p:cNvSpPr/>
          <p:nvPr/>
        </p:nvSpPr>
        <p:spPr>
          <a:xfrm>
            <a:off x="8454618" y="-21266"/>
            <a:ext cx="4391193" cy="4363554"/>
          </a:xfrm>
          <a:custGeom>
            <a:avLst/>
            <a:gdLst/>
            <a:ahLst/>
            <a:cxnLst/>
            <a:rect l="l" t="t" r="r" b="b"/>
            <a:pathLst>
              <a:path w="4842509" h="4812030">
                <a:moveTo>
                  <a:pt x="747268" y="1291882"/>
                </a:moveTo>
                <a:lnTo>
                  <a:pt x="744347" y="1244257"/>
                </a:lnTo>
                <a:lnTo>
                  <a:pt x="735850" y="1198397"/>
                </a:lnTo>
                <a:lnTo>
                  <a:pt x="722109" y="1154645"/>
                </a:lnTo>
                <a:lnTo>
                  <a:pt x="703478" y="1113383"/>
                </a:lnTo>
                <a:lnTo>
                  <a:pt x="680313" y="1074953"/>
                </a:lnTo>
                <a:lnTo>
                  <a:pt x="652957" y="1039710"/>
                </a:lnTo>
                <a:lnTo>
                  <a:pt x="621766" y="1008011"/>
                </a:lnTo>
                <a:lnTo>
                  <a:pt x="587095" y="980211"/>
                </a:lnTo>
                <a:lnTo>
                  <a:pt x="549275" y="956665"/>
                </a:lnTo>
                <a:lnTo>
                  <a:pt x="508673" y="937742"/>
                </a:lnTo>
                <a:lnTo>
                  <a:pt x="465620" y="923772"/>
                </a:lnTo>
                <a:lnTo>
                  <a:pt x="420497" y="915136"/>
                </a:lnTo>
                <a:lnTo>
                  <a:pt x="373634" y="912177"/>
                </a:lnTo>
                <a:lnTo>
                  <a:pt x="326758" y="915136"/>
                </a:lnTo>
                <a:lnTo>
                  <a:pt x="281635" y="923772"/>
                </a:lnTo>
                <a:lnTo>
                  <a:pt x="238582" y="937742"/>
                </a:lnTo>
                <a:lnTo>
                  <a:pt x="197980" y="956665"/>
                </a:lnTo>
                <a:lnTo>
                  <a:pt x="160159" y="980211"/>
                </a:lnTo>
                <a:lnTo>
                  <a:pt x="125488" y="1008011"/>
                </a:lnTo>
                <a:lnTo>
                  <a:pt x="94297" y="1039710"/>
                </a:lnTo>
                <a:lnTo>
                  <a:pt x="66941" y="1074953"/>
                </a:lnTo>
                <a:lnTo>
                  <a:pt x="43776" y="1113383"/>
                </a:lnTo>
                <a:lnTo>
                  <a:pt x="25146" y="1154645"/>
                </a:lnTo>
                <a:lnTo>
                  <a:pt x="11404" y="1198397"/>
                </a:lnTo>
                <a:lnTo>
                  <a:pt x="2908" y="1244257"/>
                </a:lnTo>
                <a:lnTo>
                  <a:pt x="0" y="1291882"/>
                </a:lnTo>
                <a:lnTo>
                  <a:pt x="2908" y="1339519"/>
                </a:lnTo>
                <a:lnTo>
                  <a:pt x="11404" y="1385379"/>
                </a:lnTo>
                <a:lnTo>
                  <a:pt x="25146" y="1429131"/>
                </a:lnTo>
                <a:lnTo>
                  <a:pt x="43776" y="1470393"/>
                </a:lnTo>
                <a:lnTo>
                  <a:pt x="66941" y="1508823"/>
                </a:lnTo>
                <a:lnTo>
                  <a:pt x="94297" y="1544066"/>
                </a:lnTo>
                <a:lnTo>
                  <a:pt x="125488" y="1575765"/>
                </a:lnTo>
                <a:lnTo>
                  <a:pt x="160159" y="1603565"/>
                </a:lnTo>
                <a:lnTo>
                  <a:pt x="197980" y="1627111"/>
                </a:lnTo>
                <a:lnTo>
                  <a:pt x="238582" y="1646047"/>
                </a:lnTo>
                <a:lnTo>
                  <a:pt x="281635" y="1660004"/>
                </a:lnTo>
                <a:lnTo>
                  <a:pt x="326758" y="1668640"/>
                </a:lnTo>
                <a:lnTo>
                  <a:pt x="373634" y="1671599"/>
                </a:lnTo>
                <a:lnTo>
                  <a:pt x="420497" y="1668640"/>
                </a:lnTo>
                <a:lnTo>
                  <a:pt x="465620" y="1660004"/>
                </a:lnTo>
                <a:lnTo>
                  <a:pt x="508673" y="1646047"/>
                </a:lnTo>
                <a:lnTo>
                  <a:pt x="549275" y="1627111"/>
                </a:lnTo>
                <a:lnTo>
                  <a:pt x="587095" y="1603565"/>
                </a:lnTo>
                <a:lnTo>
                  <a:pt x="621766" y="1575765"/>
                </a:lnTo>
                <a:lnTo>
                  <a:pt x="652957" y="1544066"/>
                </a:lnTo>
                <a:lnTo>
                  <a:pt x="680313" y="1508823"/>
                </a:lnTo>
                <a:lnTo>
                  <a:pt x="703478" y="1470393"/>
                </a:lnTo>
                <a:lnTo>
                  <a:pt x="722109" y="1429131"/>
                </a:lnTo>
                <a:lnTo>
                  <a:pt x="735850" y="1385379"/>
                </a:lnTo>
                <a:lnTo>
                  <a:pt x="744347" y="1339519"/>
                </a:lnTo>
                <a:lnTo>
                  <a:pt x="747268" y="1291882"/>
                </a:lnTo>
                <a:close/>
              </a:path>
              <a:path w="4842509" h="4812030">
                <a:moveTo>
                  <a:pt x="1038237" y="2275001"/>
                </a:moveTo>
                <a:lnTo>
                  <a:pt x="1033195" y="2230450"/>
                </a:lnTo>
                <a:lnTo>
                  <a:pt x="1018806" y="2189556"/>
                </a:lnTo>
                <a:lnTo>
                  <a:pt x="996238" y="2153475"/>
                </a:lnTo>
                <a:lnTo>
                  <a:pt x="966635" y="2123389"/>
                </a:lnTo>
                <a:lnTo>
                  <a:pt x="931125" y="2100453"/>
                </a:lnTo>
                <a:lnTo>
                  <a:pt x="890879" y="2085835"/>
                </a:lnTo>
                <a:lnTo>
                  <a:pt x="847039" y="2080691"/>
                </a:lnTo>
                <a:lnTo>
                  <a:pt x="803198" y="2085835"/>
                </a:lnTo>
                <a:lnTo>
                  <a:pt x="762952" y="2100453"/>
                </a:lnTo>
                <a:lnTo>
                  <a:pt x="727456" y="2123389"/>
                </a:lnTo>
                <a:lnTo>
                  <a:pt x="697852" y="2153475"/>
                </a:lnTo>
                <a:lnTo>
                  <a:pt x="675284" y="2189556"/>
                </a:lnTo>
                <a:lnTo>
                  <a:pt x="660895" y="2230450"/>
                </a:lnTo>
                <a:lnTo>
                  <a:pt x="655840" y="2275001"/>
                </a:lnTo>
                <a:lnTo>
                  <a:pt x="660895" y="2319566"/>
                </a:lnTo>
                <a:lnTo>
                  <a:pt x="675284" y="2360460"/>
                </a:lnTo>
                <a:lnTo>
                  <a:pt x="697852" y="2396540"/>
                </a:lnTo>
                <a:lnTo>
                  <a:pt x="727456" y="2426627"/>
                </a:lnTo>
                <a:lnTo>
                  <a:pt x="762952" y="2449563"/>
                </a:lnTo>
                <a:lnTo>
                  <a:pt x="803198" y="2464181"/>
                </a:lnTo>
                <a:lnTo>
                  <a:pt x="847039" y="2469311"/>
                </a:lnTo>
                <a:lnTo>
                  <a:pt x="890879" y="2464181"/>
                </a:lnTo>
                <a:lnTo>
                  <a:pt x="931125" y="2449563"/>
                </a:lnTo>
                <a:lnTo>
                  <a:pt x="966635" y="2426627"/>
                </a:lnTo>
                <a:lnTo>
                  <a:pt x="996238" y="2396540"/>
                </a:lnTo>
                <a:lnTo>
                  <a:pt x="1018806" y="2360460"/>
                </a:lnTo>
                <a:lnTo>
                  <a:pt x="1033195" y="2319566"/>
                </a:lnTo>
                <a:lnTo>
                  <a:pt x="1038237" y="2275001"/>
                </a:lnTo>
                <a:close/>
              </a:path>
              <a:path w="4842509" h="4812030">
                <a:moveTo>
                  <a:pt x="1353693" y="205016"/>
                </a:moveTo>
                <a:lnTo>
                  <a:pt x="1349044" y="158140"/>
                </a:lnTo>
                <a:lnTo>
                  <a:pt x="1335709" y="114490"/>
                </a:lnTo>
                <a:lnTo>
                  <a:pt x="1314615" y="74993"/>
                </a:lnTo>
                <a:lnTo>
                  <a:pt x="1286675" y="40576"/>
                </a:lnTo>
                <a:lnTo>
                  <a:pt x="1252804" y="12179"/>
                </a:lnTo>
                <a:lnTo>
                  <a:pt x="1230744" y="12"/>
                </a:lnTo>
                <a:lnTo>
                  <a:pt x="1018984" y="12"/>
                </a:lnTo>
                <a:lnTo>
                  <a:pt x="963053" y="40576"/>
                </a:lnTo>
                <a:lnTo>
                  <a:pt x="935113" y="74993"/>
                </a:lnTo>
                <a:lnTo>
                  <a:pt x="914019" y="114490"/>
                </a:lnTo>
                <a:lnTo>
                  <a:pt x="900684" y="158140"/>
                </a:lnTo>
                <a:lnTo>
                  <a:pt x="896035" y="205016"/>
                </a:lnTo>
                <a:lnTo>
                  <a:pt x="900684" y="251879"/>
                </a:lnTo>
                <a:lnTo>
                  <a:pt x="914019" y="295529"/>
                </a:lnTo>
                <a:lnTo>
                  <a:pt x="935113" y="335038"/>
                </a:lnTo>
                <a:lnTo>
                  <a:pt x="963053" y="369443"/>
                </a:lnTo>
                <a:lnTo>
                  <a:pt x="996924" y="397840"/>
                </a:lnTo>
                <a:lnTo>
                  <a:pt x="1035799" y="419290"/>
                </a:lnTo>
                <a:lnTo>
                  <a:pt x="1078750" y="432841"/>
                </a:lnTo>
                <a:lnTo>
                  <a:pt x="1124864" y="437565"/>
                </a:lnTo>
                <a:lnTo>
                  <a:pt x="1170978" y="432841"/>
                </a:lnTo>
                <a:lnTo>
                  <a:pt x="1213929" y="419290"/>
                </a:lnTo>
                <a:lnTo>
                  <a:pt x="1252804" y="397840"/>
                </a:lnTo>
                <a:lnTo>
                  <a:pt x="1286675" y="369443"/>
                </a:lnTo>
                <a:lnTo>
                  <a:pt x="1314615" y="335038"/>
                </a:lnTo>
                <a:lnTo>
                  <a:pt x="1335709" y="295529"/>
                </a:lnTo>
                <a:lnTo>
                  <a:pt x="1349044" y="251879"/>
                </a:lnTo>
                <a:lnTo>
                  <a:pt x="1353693" y="205016"/>
                </a:lnTo>
                <a:close/>
              </a:path>
              <a:path w="4842509" h="4812030">
                <a:moveTo>
                  <a:pt x="2336165" y="3331895"/>
                </a:moveTo>
                <a:lnTo>
                  <a:pt x="2331415" y="3284131"/>
                </a:lnTo>
                <a:lnTo>
                  <a:pt x="2317826" y="3239643"/>
                </a:lnTo>
                <a:lnTo>
                  <a:pt x="2296325" y="3199384"/>
                </a:lnTo>
                <a:lnTo>
                  <a:pt x="2267851" y="3164319"/>
                </a:lnTo>
                <a:lnTo>
                  <a:pt x="2233333" y="3135376"/>
                </a:lnTo>
                <a:lnTo>
                  <a:pt x="2193721" y="3113519"/>
                </a:lnTo>
                <a:lnTo>
                  <a:pt x="2149945" y="3099714"/>
                </a:lnTo>
                <a:lnTo>
                  <a:pt x="2102954" y="3094901"/>
                </a:lnTo>
                <a:lnTo>
                  <a:pt x="2055952" y="3099714"/>
                </a:lnTo>
                <a:lnTo>
                  <a:pt x="2012175" y="3113519"/>
                </a:lnTo>
                <a:lnTo>
                  <a:pt x="1972564" y="3135376"/>
                </a:lnTo>
                <a:lnTo>
                  <a:pt x="1938058" y="3164319"/>
                </a:lnTo>
                <a:lnTo>
                  <a:pt x="1909572" y="3199384"/>
                </a:lnTo>
                <a:lnTo>
                  <a:pt x="1888070" y="3239643"/>
                </a:lnTo>
                <a:lnTo>
                  <a:pt x="1874494" y="3284131"/>
                </a:lnTo>
                <a:lnTo>
                  <a:pt x="1869757" y="3331895"/>
                </a:lnTo>
                <a:lnTo>
                  <a:pt x="1874494" y="3379660"/>
                </a:lnTo>
                <a:lnTo>
                  <a:pt x="1888070" y="3424148"/>
                </a:lnTo>
                <a:lnTo>
                  <a:pt x="1909572" y="3464407"/>
                </a:lnTo>
                <a:lnTo>
                  <a:pt x="1938058" y="3499485"/>
                </a:lnTo>
                <a:lnTo>
                  <a:pt x="1972564" y="3528428"/>
                </a:lnTo>
                <a:lnTo>
                  <a:pt x="2012175" y="3550272"/>
                </a:lnTo>
                <a:lnTo>
                  <a:pt x="2055952" y="3564090"/>
                </a:lnTo>
                <a:lnTo>
                  <a:pt x="2102954" y="3568903"/>
                </a:lnTo>
                <a:lnTo>
                  <a:pt x="2149945" y="3564090"/>
                </a:lnTo>
                <a:lnTo>
                  <a:pt x="2193721" y="3550272"/>
                </a:lnTo>
                <a:lnTo>
                  <a:pt x="2233333" y="3528428"/>
                </a:lnTo>
                <a:lnTo>
                  <a:pt x="2267851" y="3499485"/>
                </a:lnTo>
                <a:lnTo>
                  <a:pt x="2296325" y="3464407"/>
                </a:lnTo>
                <a:lnTo>
                  <a:pt x="2317826" y="3424148"/>
                </a:lnTo>
                <a:lnTo>
                  <a:pt x="2331415" y="3379660"/>
                </a:lnTo>
                <a:lnTo>
                  <a:pt x="2336165" y="3331895"/>
                </a:lnTo>
                <a:close/>
              </a:path>
              <a:path w="4842509" h="4812030">
                <a:moveTo>
                  <a:pt x="2815031" y="1458963"/>
                </a:moveTo>
                <a:lnTo>
                  <a:pt x="2805074" y="1409661"/>
                </a:lnTo>
                <a:lnTo>
                  <a:pt x="2777921" y="1369390"/>
                </a:lnTo>
                <a:lnTo>
                  <a:pt x="2737650" y="1342237"/>
                </a:lnTo>
                <a:lnTo>
                  <a:pt x="2688348" y="1332280"/>
                </a:lnTo>
                <a:lnTo>
                  <a:pt x="1587842" y="1332280"/>
                </a:lnTo>
                <a:lnTo>
                  <a:pt x="1594739" y="1302042"/>
                </a:lnTo>
                <a:lnTo>
                  <a:pt x="1611210" y="1240929"/>
                </a:lnTo>
                <a:lnTo>
                  <a:pt x="1635810" y="1170025"/>
                </a:lnTo>
                <a:lnTo>
                  <a:pt x="1653717" y="1129347"/>
                </a:lnTo>
                <a:lnTo>
                  <a:pt x="1674545" y="1088034"/>
                </a:lnTo>
                <a:lnTo>
                  <a:pt x="1698117" y="1046111"/>
                </a:lnTo>
                <a:lnTo>
                  <a:pt x="1724279" y="1003617"/>
                </a:lnTo>
                <a:lnTo>
                  <a:pt x="1724837" y="1003617"/>
                </a:lnTo>
                <a:lnTo>
                  <a:pt x="1725358" y="1003782"/>
                </a:lnTo>
                <a:lnTo>
                  <a:pt x="2587726" y="1003782"/>
                </a:lnTo>
                <a:lnTo>
                  <a:pt x="2588539" y="1003617"/>
                </a:lnTo>
                <a:lnTo>
                  <a:pt x="2637028" y="993825"/>
                </a:lnTo>
                <a:lnTo>
                  <a:pt x="2677299" y="966673"/>
                </a:lnTo>
                <a:lnTo>
                  <a:pt x="2704452" y="926414"/>
                </a:lnTo>
                <a:lnTo>
                  <a:pt x="2714409" y="877100"/>
                </a:lnTo>
                <a:lnTo>
                  <a:pt x="2704452" y="827798"/>
                </a:lnTo>
                <a:lnTo>
                  <a:pt x="2677299" y="787527"/>
                </a:lnTo>
                <a:lnTo>
                  <a:pt x="2637028" y="760374"/>
                </a:lnTo>
                <a:lnTo>
                  <a:pt x="2587726" y="750417"/>
                </a:lnTo>
                <a:lnTo>
                  <a:pt x="1918449" y="750417"/>
                </a:lnTo>
                <a:lnTo>
                  <a:pt x="1948662" y="716330"/>
                </a:lnTo>
                <a:lnTo>
                  <a:pt x="1979866" y="681990"/>
                </a:lnTo>
                <a:lnTo>
                  <a:pt x="2012010" y="647395"/>
                </a:lnTo>
                <a:lnTo>
                  <a:pt x="2045055" y="612559"/>
                </a:lnTo>
                <a:lnTo>
                  <a:pt x="2078926" y="577494"/>
                </a:lnTo>
                <a:lnTo>
                  <a:pt x="2113610" y="542213"/>
                </a:lnTo>
                <a:lnTo>
                  <a:pt x="2149030" y="506704"/>
                </a:lnTo>
                <a:lnTo>
                  <a:pt x="2185162" y="470992"/>
                </a:lnTo>
                <a:lnTo>
                  <a:pt x="2221954" y="435076"/>
                </a:lnTo>
                <a:lnTo>
                  <a:pt x="2297303" y="362648"/>
                </a:lnTo>
                <a:lnTo>
                  <a:pt x="2414079" y="252666"/>
                </a:lnTo>
                <a:lnTo>
                  <a:pt x="2687383" y="12"/>
                </a:lnTo>
                <a:lnTo>
                  <a:pt x="2146401" y="12"/>
                </a:lnTo>
                <a:lnTo>
                  <a:pt x="2069376" y="72491"/>
                </a:lnTo>
                <a:lnTo>
                  <a:pt x="1987892" y="150406"/>
                </a:lnTo>
                <a:lnTo>
                  <a:pt x="1947964" y="189191"/>
                </a:lnTo>
                <a:lnTo>
                  <a:pt x="1908632" y="227888"/>
                </a:lnTo>
                <a:lnTo>
                  <a:pt x="1869922" y="266471"/>
                </a:lnTo>
                <a:lnTo>
                  <a:pt x="1831911" y="304952"/>
                </a:lnTo>
                <a:lnTo>
                  <a:pt x="1794637" y="343331"/>
                </a:lnTo>
                <a:lnTo>
                  <a:pt x="1758124" y="381622"/>
                </a:lnTo>
                <a:lnTo>
                  <a:pt x="1722450" y="419811"/>
                </a:lnTo>
                <a:lnTo>
                  <a:pt x="1687626" y="457911"/>
                </a:lnTo>
                <a:lnTo>
                  <a:pt x="1653730" y="495922"/>
                </a:lnTo>
                <a:lnTo>
                  <a:pt x="1620786" y="533844"/>
                </a:lnTo>
                <a:lnTo>
                  <a:pt x="1588846" y="571690"/>
                </a:lnTo>
                <a:lnTo>
                  <a:pt x="1557959" y="609447"/>
                </a:lnTo>
                <a:lnTo>
                  <a:pt x="1528152" y="647115"/>
                </a:lnTo>
                <a:lnTo>
                  <a:pt x="1499501" y="684720"/>
                </a:lnTo>
                <a:lnTo>
                  <a:pt x="1472018" y="722249"/>
                </a:lnTo>
                <a:lnTo>
                  <a:pt x="1445780" y="759701"/>
                </a:lnTo>
                <a:lnTo>
                  <a:pt x="1420812" y="797077"/>
                </a:lnTo>
                <a:lnTo>
                  <a:pt x="1397165" y="834390"/>
                </a:lnTo>
                <a:lnTo>
                  <a:pt x="1374889" y="871639"/>
                </a:lnTo>
                <a:lnTo>
                  <a:pt x="1354023" y="908824"/>
                </a:lnTo>
                <a:lnTo>
                  <a:pt x="1334604" y="945946"/>
                </a:lnTo>
                <a:lnTo>
                  <a:pt x="1316697" y="983018"/>
                </a:lnTo>
                <a:lnTo>
                  <a:pt x="1300340" y="1020025"/>
                </a:lnTo>
                <a:lnTo>
                  <a:pt x="1285570" y="1056982"/>
                </a:lnTo>
                <a:lnTo>
                  <a:pt x="1272451" y="1093889"/>
                </a:lnTo>
                <a:lnTo>
                  <a:pt x="1251242" y="1162659"/>
                </a:lnTo>
                <a:lnTo>
                  <a:pt x="1233639" y="1230528"/>
                </a:lnTo>
                <a:lnTo>
                  <a:pt x="1219492" y="1297495"/>
                </a:lnTo>
                <a:lnTo>
                  <a:pt x="1208646" y="1363497"/>
                </a:lnTo>
                <a:lnTo>
                  <a:pt x="1200962" y="1428521"/>
                </a:lnTo>
                <a:lnTo>
                  <a:pt x="1196276" y="1492504"/>
                </a:lnTo>
                <a:lnTo>
                  <a:pt x="1194447" y="1555432"/>
                </a:lnTo>
                <a:lnTo>
                  <a:pt x="1195324" y="1617268"/>
                </a:lnTo>
                <a:lnTo>
                  <a:pt x="1198753" y="1677974"/>
                </a:lnTo>
                <a:lnTo>
                  <a:pt x="1204595" y="1737499"/>
                </a:lnTo>
                <a:lnTo>
                  <a:pt x="1212684" y="1795830"/>
                </a:lnTo>
                <a:lnTo>
                  <a:pt x="1222870" y="1852930"/>
                </a:lnTo>
                <a:lnTo>
                  <a:pt x="1235024" y="1908746"/>
                </a:lnTo>
                <a:lnTo>
                  <a:pt x="1248981" y="1963242"/>
                </a:lnTo>
                <a:lnTo>
                  <a:pt x="1264589" y="2016404"/>
                </a:lnTo>
                <a:lnTo>
                  <a:pt x="1281709" y="2068182"/>
                </a:lnTo>
                <a:lnTo>
                  <a:pt x="1300175" y="2118537"/>
                </a:lnTo>
                <a:lnTo>
                  <a:pt x="1319860" y="2167445"/>
                </a:lnTo>
                <a:lnTo>
                  <a:pt x="1340586" y="2214854"/>
                </a:lnTo>
                <a:lnTo>
                  <a:pt x="1362227" y="2260752"/>
                </a:lnTo>
                <a:lnTo>
                  <a:pt x="1384617" y="2305075"/>
                </a:lnTo>
                <a:lnTo>
                  <a:pt x="1407617" y="2347811"/>
                </a:lnTo>
                <a:lnTo>
                  <a:pt x="1431074" y="2388920"/>
                </a:lnTo>
                <a:lnTo>
                  <a:pt x="1454835" y="2428354"/>
                </a:lnTo>
                <a:lnTo>
                  <a:pt x="1478749" y="2466086"/>
                </a:lnTo>
                <a:lnTo>
                  <a:pt x="1502676" y="2502077"/>
                </a:lnTo>
                <a:lnTo>
                  <a:pt x="1526451" y="2536291"/>
                </a:lnTo>
                <a:lnTo>
                  <a:pt x="1549946" y="2568702"/>
                </a:lnTo>
                <a:lnTo>
                  <a:pt x="1572983" y="2599271"/>
                </a:lnTo>
                <a:lnTo>
                  <a:pt x="1617141" y="2654719"/>
                </a:lnTo>
                <a:lnTo>
                  <a:pt x="1657718" y="2702344"/>
                </a:lnTo>
                <a:lnTo>
                  <a:pt x="1693532" y="2741879"/>
                </a:lnTo>
                <a:lnTo>
                  <a:pt x="1723364" y="2773045"/>
                </a:lnTo>
                <a:lnTo>
                  <a:pt x="1754289" y="2803436"/>
                </a:lnTo>
                <a:lnTo>
                  <a:pt x="1791779" y="2833128"/>
                </a:lnTo>
                <a:lnTo>
                  <a:pt x="1853996" y="2856725"/>
                </a:lnTo>
                <a:lnTo>
                  <a:pt x="1886724" y="2859659"/>
                </a:lnTo>
                <a:lnTo>
                  <a:pt x="1923973" y="2855861"/>
                </a:lnTo>
                <a:lnTo>
                  <a:pt x="1993277" y="2825635"/>
                </a:lnTo>
                <a:lnTo>
                  <a:pt x="2022830" y="2799372"/>
                </a:lnTo>
                <a:lnTo>
                  <a:pt x="2050745" y="2758884"/>
                </a:lnTo>
                <a:lnTo>
                  <a:pt x="2066505" y="2714015"/>
                </a:lnTo>
                <a:lnTo>
                  <a:pt x="2070239" y="2667228"/>
                </a:lnTo>
                <a:lnTo>
                  <a:pt x="2062073" y="2621000"/>
                </a:lnTo>
                <a:lnTo>
                  <a:pt x="2042134" y="2577782"/>
                </a:lnTo>
                <a:lnTo>
                  <a:pt x="2010562" y="2540063"/>
                </a:lnTo>
                <a:lnTo>
                  <a:pt x="2002307" y="2532316"/>
                </a:lnTo>
                <a:lnTo>
                  <a:pt x="1986203" y="2516479"/>
                </a:lnTo>
                <a:lnTo>
                  <a:pt x="1934933" y="2461717"/>
                </a:lnTo>
                <a:lnTo>
                  <a:pt x="1902015" y="2423401"/>
                </a:lnTo>
                <a:lnTo>
                  <a:pt x="1865718" y="2378151"/>
                </a:lnTo>
                <a:lnTo>
                  <a:pt x="1827174" y="2326297"/>
                </a:lnTo>
                <a:lnTo>
                  <a:pt x="1787486" y="2268118"/>
                </a:lnTo>
                <a:lnTo>
                  <a:pt x="1747786" y="2203907"/>
                </a:lnTo>
                <a:lnTo>
                  <a:pt x="1709204" y="2133955"/>
                </a:lnTo>
                <a:lnTo>
                  <a:pt x="2085060" y="2133955"/>
                </a:lnTo>
                <a:lnTo>
                  <a:pt x="2134362" y="2123998"/>
                </a:lnTo>
                <a:lnTo>
                  <a:pt x="2174633" y="2096846"/>
                </a:lnTo>
                <a:lnTo>
                  <a:pt x="2201786" y="2056587"/>
                </a:lnTo>
                <a:lnTo>
                  <a:pt x="2211743" y="2007273"/>
                </a:lnTo>
                <a:lnTo>
                  <a:pt x="2201786" y="1957971"/>
                </a:lnTo>
                <a:lnTo>
                  <a:pt x="2174633" y="1917700"/>
                </a:lnTo>
                <a:lnTo>
                  <a:pt x="2134362" y="1890547"/>
                </a:lnTo>
                <a:lnTo>
                  <a:pt x="2085060" y="1880590"/>
                </a:lnTo>
                <a:lnTo>
                  <a:pt x="1607959" y="1880590"/>
                </a:lnTo>
                <a:lnTo>
                  <a:pt x="1595729" y="1834248"/>
                </a:lnTo>
                <a:lnTo>
                  <a:pt x="1585214" y="1786712"/>
                </a:lnTo>
                <a:lnTo>
                  <a:pt x="1576565" y="1738058"/>
                </a:lnTo>
                <a:lnTo>
                  <a:pt x="1569910" y="1688299"/>
                </a:lnTo>
                <a:lnTo>
                  <a:pt x="1565402" y="1637487"/>
                </a:lnTo>
                <a:lnTo>
                  <a:pt x="1563192" y="1585645"/>
                </a:lnTo>
                <a:lnTo>
                  <a:pt x="2688348" y="1585645"/>
                </a:lnTo>
                <a:lnTo>
                  <a:pt x="2737650" y="1575689"/>
                </a:lnTo>
                <a:lnTo>
                  <a:pt x="2777921" y="1548549"/>
                </a:lnTo>
                <a:lnTo>
                  <a:pt x="2805074" y="1508277"/>
                </a:lnTo>
                <a:lnTo>
                  <a:pt x="2815031" y="1458963"/>
                </a:lnTo>
                <a:close/>
              </a:path>
              <a:path w="4842509" h="4812030">
                <a:moveTo>
                  <a:pt x="3022498" y="2007273"/>
                </a:moveTo>
                <a:lnTo>
                  <a:pt x="3012541" y="1957959"/>
                </a:lnTo>
                <a:lnTo>
                  <a:pt x="2985389" y="1917700"/>
                </a:lnTo>
                <a:lnTo>
                  <a:pt x="2945130" y="1890547"/>
                </a:lnTo>
                <a:lnTo>
                  <a:pt x="2895816" y="1880590"/>
                </a:lnTo>
                <a:lnTo>
                  <a:pt x="2492959" y="1880590"/>
                </a:lnTo>
                <a:lnTo>
                  <a:pt x="2443645" y="1890547"/>
                </a:lnTo>
                <a:lnTo>
                  <a:pt x="2403373" y="1917700"/>
                </a:lnTo>
                <a:lnTo>
                  <a:pt x="2376220" y="1957959"/>
                </a:lnTo>
                <a:lnTo>
                  <a:pt x="2366264" y="2007273"/>
                </a:lnTo>
                <a:lnTo>
                  <a:pt x="2376220" y="2056587"/>
                </a:lnTo>
                <a:lnTo>
                  <a:pt x="2403373" y="2096846"/>
                </a:lnTo>
                <a:lnTo>
                  <a:pt x="2443645" y="2123998"/>
                </a:lnTo>
                <a:lnTo>
                  <a:pt x="2492959" y="2133955"/>
                </a:lnTo>
                <a:lnTo>
                  <a:pt x="2895816" y="2133955"/>
                </a:lnTo>
                <a:lnTo>
                  <a:pt x="2945130" y="2123998"/>
                </a:lnTo>
                <a:lnTo>
                  <a:pt x="2985389" y="2096846"/>
                </a:lnTo>
                <a:lnTo>
                  <a:pt x="3012541" y="2056587"/>
                </a:lnTo>
                <a:lnTo>
                  <a:pt x="3022498" y="2007273"/>
                </a:lnTo>
                <a:close/>
              </a:path>
              <a:path w="4842509" h="4812030">
                <a:moveTo>
                  <a:pt x="3290455" y="869467"/>
                </a:moveTo>
                <a:lnTo>
                  <a:pt x="3285413" y="824915"/>
                </a:lnTo>
                <a:lnTo>
                  <a:pt x="3271024" y="784021"/>
                </a:lnTo>
                <a:lnTo>
                  <a:pt x="3248456" y="747941"/>
                </a:lnTo>
                <a:lnTo>
                  <a:pt x="3218853" y="717854"/>
                </a:lnTo>
                <a:lnTo>
                  <a:pt x="3183344" y="694918"/>
                </a:lnTo>
                <a:lnTo>
                  <a:pt x="3143097" y="680300"/>
                </a:lnTo>
                <a:lnTo>
                  <a:pt x="3099257" y="675170"/>
                </a:lnTo>
                <a:lnTo>
                  <a:pt x="3055429" y="680300"/>
                </a:lnTo>
                <a:lnTo>
                  <a:pt x="3015183" y="694918"/>
                </a:lnTo>
                <a:lnTo>
                  <a:pt x="2979674" y="717854"/>
                </a:lnTo>
                <a:lnTo>
                  <a:pt x="2950070" y="747941"/>
                </a:lnTo>
                <a:lnTo>
                  <a:pt x="2927502" y="784021"/>
                </a:lnTo>
                <a:lnTo>
                  <a:pt x="2913113" y="824915"/>
                </a:lnTo>
                <a:lnTo>
                  <a:pt x="2908058" y="869467"/>
                </a:lnTo>
                <a:lnTo>
                  <a:pt x="2913113" y="914019"/>
                </a:lnTo>
                <a:lnTo>
                  <a:pt x="2927502" y="954925"/>
                </a:lnTo>
                <a:lnTo>
                  <a:pt x="2950070" y="990993"/>
                </a:lnTo>
                <a:lnTo>
                  <a:pt x="2979674" y="1021092"/>
                </a:lnTo>
                <a:lnTo>
                  <a:pt x="3015183" y="1044028"/>
                </a:lnTo>
                <a:lnTo>
                  <a:pt x="3055429" y="1058646"/>
                </a:lnTo>
                <a:lnTo>
                  <a:pt x="3099257" y="1063777"/>
                </a:lnTo>
                <a:lnTo>
                  <a:pt x="3143097" y="1058646"/>
                </a:lnTo>
                <a:lnTo>
                  <a:pt x="3183344" y="1044028"/>
                </a:lnTo>
                <a:lnTo>
                  <a:pt x="3218853" y="1021092"/>
                </a:lnTo>
                <a:lnTo>
                  <a:pt x="3248456" y="990993"/>
                </a:lnTo>
                <a:lnTo>
                  <a:pt x="3271024" y="954925"/>
                </a:lnTo>
                <a:lnTo>
                  <a:pt x="3285413" y="914019"/>
                </a:lnTo>
                <a:lnTo>
                  <a:pt x="3290455" y="869467"/>
                </a:lnTo>
                <a:close/>
              </a:path>
              <a:path w="4842509" h="4812030">
                <a:moveTo>
                  <a:pt x="3455378" y="1445844"/>
                </a:moveTo>
                <a:lnTo>
                  <a:pt x="3449624" y="1402283"/>
                </a:lnTo>
                <a:lnTo>
                  <a:pt x="3433368" y="1363154"/>
                </a:lnTo>
                <a:lnTo>
                  <a:pt x="3408159" y="1329994"/>
                </a:lnTo>
                <a:lnTo>
                  <a:pt x="3375533" y="1304378"/>
                </a:lnTo>
                <a:lnTo>
                  <a:pt x="3337026" y="1287868"/>
                </a:lnTo>
                <a:lnTo>
                  <a:pt x="3294164" y="1282014"/>
                </a:lnTo>
                <a:lnTo>
                  <a:pt x="3251314" y="1287868"/>
                </a:lnTo>
                <a:lnTo>
                  <a:pt x="3212795" y="1304378"/>
                </a:lnTo>
                <a:lnTo>
                  <a:pt x="3180169" y="1329994"/>
                </a:lnTo>
                <a:lnTo>
                  <a:pt x="3154959" y="1363154"/>
                </a:lnTo>
                <a:lnTo>
                  <a:pt x="3138716" y="1402283"/>
                </a:lnTo>
                <a:lnTo>
                  <a:pt x="3132950" y="1445844"/>
                </a:lnTo>
                <a:lnTo>
                  <a:pt x="3138716" y="1489392"/>
                </a:lnTo>
                <a:lnTo>
                  <a:pt x="3154959" y="1528533"/>
                </a:lnTo>
                <a:lnTo>
                  <a:pt x="3180169" y="1561680"/>
                </a:lnTo>
                <a:lnTo>
                  <a:pt x="3212795" y="1587309"/>
                </a:lnTo>
                <a:lnTo>
                  <a:pt x="3251314" y="1603819"/>
                </a:lnTo>
                <a:lnTo>
                  <a:pt x="3294164" y="1609674"/>
                </a:lnTo>
                <a:lnTo>
                  <a:pt x="3337026" y="1603819"/>
                </a:lnTo>
                <a:lnTo>
                  <a:pt x="3375533" y="1587309"/>
                </a:lnTo>
                <a:lnTo>
                  <a:pt x="3408159" y="1561680"/>
                </a:lnTo>
                <a:lnTo>
                  <a:pt x="3433368" y="1528533"/>
                </a:lnTo>
                <a:lnTo>
                  <a:pt x="3449624" y="1489392"/>
                </a:lnTo>
                <a:lnTo>
                  <a:pt x="3455378" y="1445844"/>
                </a:lnTo>
                <a:close/>
              </a:path>
              <a:path w="4842509" h="4812030">
                <a:moveTo>
                  <a:pt x="3677882" y="150622"/>
                </a:moveTo>
                <a:lnTo>
                  <a:pt x="3669868" y="100114"/>
                </a:lnTo>
                <a:lnTo>
                  <a:pt x="3647541" y="56248"/>
                </a:lnTo>
                <a:lnTo>
                  <a:pt x="3613505" y="21653"/>
                </a:lnTo>
                <a:lnTo>
                  <a:pt x="3572306" y="0"/>
                </a:lnTo>
                <a:lnTo>
                  <a:pt x="3468979" y="0"/>
                </a:lnTo>
                <a:lnTo>
                  <a:pt x="3427780" y="21653"/>
                </a:lnTo>
                <a:lnTo>
                  <a:pt x="3393744" y="56248"/>
                </a:lnTo>
                <a:lnTo>
                  <a:pt x="3371418" y="100114"/>
                </a:lnTo>
                <a:lnTo>
                  <a:pt x="3363404" y="150622"/>
                </a:lnTo>
                <a:lnTo>
                  <a:pt x="3371418" y="201129"/>
                </a:lnTo>
                <a:lnTo>
                  <a:pt x="3393744" y="244995"/>
                </a:lnTo>
                <a:lnTo>
                  <a:pt x="3427780" y="279577"/>
                </a:lnTo>
                <a:lnTo>
                  <a:pt x="3470935" y="302260"/>
                </a:lnTo>
                <a:lnTo>
                  <a:pt x="3520643" y="310413"/>
                </a:lnTo>
                <a:lnTo>
                  <a:pt x="3570338" y="302260"/>
                </a:lnTo>
                <a:lnTo>
                  <a:pt x="3613505" y="279577"/>
                </a:lnTo>
                <a:lnTo>
                  <a:pt x="3647541" y="244995"/>
                </a:lnTo>
                <a:lnTo>
                  <a:pt x="3669868" y="201129"/>
                </a:lnTo>
                <a:lnTo>
                  <a:pt x="3677882" y="150622"/>
                </a:lnTo>
                <a:close/>
              </a:path>
              <a:path w="4842509" h="4812030">
                <a:moveTo>
                  <a:pt x="3887127" y="718464"/>
                </a:moveTo>
                <a:lnTo>
                  <a:pt x="3882085" y="673912"/>
                </a:lnTo>
                <a:lnTo>
                  <a:pt x="3867696" y="633006"/>
                </a:lnTo>
                <a:lnTo>
                  <a:pt x="3845128" y="596925"/>
                </a:lnTo>
                <a:lnTo>
                  <a:pt x="3815524" y="566839"/>
                </a:lnTo>
                <a:lnTo>
                  <a:pt x="3780015" y="543902"/>
                </a:lnTo>
                <a:lnTo>
                  <a:pt x="3739769" y="529285"/>
                </a:lnTo>
                <a:lnTo>
                  <a:pt x="3695928" y="524154"/>
                </a:lnTo>
                <a:lnTo>
                  <a:pt x="3652101" y="529285"/>
                </a:lnTo>
                <a:lnTo>
                  <a:pt x="3611854" y="543902"/>
                </a:lnTo>
                <a:lnTo>
                  <a:pt x="3576345" y="566839"/>
                </a:lnTo>
                <a:lnTo>
                  <a:pt x="3546741" y="596925"/>
                </a:lnTo>
                <a:lnTo>
                  <a:pt x="3524173" y="633006"/>
                </a:lnTo>
                <a:lnTo>
                  <a:pt x="3509784" y="673912"/>
                </a:lnTo>
                <a:lnTo>
                  <a:pt x="3504730" y="718464"/>
                </a:lnTo>
                <a:lnTo>
                  <a:pt x="3509784" y="763016"/>
                </a:lnTo>
                <a:lnTo>
                  <a:pt x="3524173" y="803910"/>
                </a:lnTo>
                <a:lnTo>
                  <a:pt x="3546741" y="839990"/>
                </a:lnTo>
                <a:lnTo>
                  <a:pt x="3576345" y="870089"/>
                </a:lnTo>
                <a:lnTo>
                  <a:pt x="3611854" y="893025"/>
                </a:lnTo>
                <a:lnTo>
                  <a:pt x="3652101" y="907643"/>
                </a:lnTo>
                <a:lnTo>
                  <a:pt x="3695928" y="912774"/>
                </a:lnTo>
                <a:lnTo>
                  <a:pt x="3739769" y="907643"/>
                </a:lnTo>
                <a:lnTo>
                  <a:pt x="3780015" y="893025"/>
                </a:lnTo>
                <a:lnTo>
                  <a:pt x="3815524" y="870089"/>
                </a:lnTo>
                <a:lnTo>
                  <a:pt x="3845128" y="839990"/>
                </a:lnTo>
                <a:lnTo>
                  <a:pt x="3867696" y="803910"/>
                </a:lnTo>
                <a:lnTo>
                  <a:pt x="3882085" y="763016"/>
                </a:lnTo>
                <a:lnTo>
                  <a:pt x="3887127" y="718464"/>
                </a:lnTo>
                <a:close/>
              </a:path>
              <a:path w="4842509" h="4812030">
                <a:moveTo>
                  <a:pt x="4802949" y="2826423"/>
                </a:moveTo>
                <a:lnTo>
                  <a:pt x="4797895" y="2781871"/>
                </a:lnTo>
                <a:lnTo>
                  <a:pt x="4783518" y="2740977"/>
                </a:lnTo>
                <a:lnTo>
                  <a:pt x="4760950" y="2704896"/>
                </a:lnTo>
                <a:lnTo>
                  <a:pt x="4731334" y="2674810"/>
                </a:lnTo>
                <a:lnTo>
                  <a:pt x="4695837" y="2651874"/>
                </a:lnTo>
                <a:lnTo>
                  <a:pt x="4655591" y="2637256"/>
                </a:lnTo>
                <a:lnTo>
                  <a:pt x="4611751" y="2632113"/>
                </a:lnTo>
                <a:lnTo>
                  <a:pt x="4567910" y="2637256"/>
                </a:lnTo>
                <a:lnTo>
                  <a:pt x="4527664" y="2651874"/>
                </a:lnTo>
                <a:lnTo>
                  <a:pt x="4492168" y="2674810"/>
                </a:lnTo>
                <a:lnTo>
                  <a:pt x="4462551" y="2704896"/>
                </a:lnTo>
                <a:lnTo>
                  <a:pt x="4439983" y="2740977"/>
                </a:lnTo>
                <a:lnTo>
                  <a:pt x="4425607" y="2781871"/>
                </a:lnTo>
                <a:lnTo>
                  <a:pt x="4420552" y="2826423"/>
                </a:lnTo>
                <a:lnTo>
                  <a:pt x="4425607" y="2870987"/>
                </a:lnTo>
                <a:lnTo>
                  <a:pt x="4439983" y="2911881"/>
                </a:lnTo>
                <a:lnTo>
                  <a:pt x="4462551" y="2947962"/>
                </a:lnTo>
                <a:lnTo>
                  <a:pt x="4492168" y="2978048"/>
                </a:lnTo>
                <a:lnTo>
                  <a:pt x="4527664" y="3000984"/>
                </a:lnTo>
                <a:lnTo>
                  <a:pt x="4567910" y="3015602"/>
                </a:lnTo>
                <a:lnTo>
                  <a:pt x="4611751" y="3020733"/>
                </a:lnTo>
                <a:lnTo>
                  <a:pt x="4655591" y="3015602"/>
                </a:lnTo>
                <a:lnTo>
                  <a:pt x="4695837" y="3000984"/>
                </a:lnTo>
                <a:lnTo>
                  <a:pt x="4731334" y="2978048"/>
                </a:lnTo>
                <a:lnTo>
                  <a:pt x="4760950" y="2947962"/>
                </a:lnTo>
                <a:lnTo>
                  <a:pt x="4783518" y="2911881"/>
                </a:lnTo>
                <a:lnTo>
                  <a:pt x="4797895" y="2870987"/>
                </a:lnTo>
                <a:lnTo>
                  <a:pt x="4802949" y="2826423"/>
                </a:lnTo>
                <a:close/>
              </a:path>
              <a:path w="4842509" h="4812030">
                <a:moveTo>
                  <a:pt x="4841951" y="3211792"/>
                </a:moveTo>
                <a:lnTo>
                  <a:pt x="4773104" y="3214001"/>
                </a:lnTo>
                <a:lnTo>
                  <a:pt x="4732858" y="3228619"/>
                </a:lnTo>
                <a:lnTo>
                  <a:pt x="4697349" y="3251555"/>
                </a:lnTo>
                <a:lnTo>
                  <a:pt x="4667745" y="3281642"/>
                </a:lnTo>
                <a:lnTo>
                  <a:pt x="4645177" y="3317722"/>
                </a:lnTo>
                <a:lnTo>
                  <a:pt x="4630788" y="3358629"/>
                </a:lnTo>
                <a:lnTo>
                  <a:pt x="4625746" y="3403181"/>
                </a:lnTo>
                <a:lnTo>
                  <a:pt x="4630788" y="3447732"/>
                </a:lnTo>
                <a:lnTo>
                  <a:pt x="4645177" y="3488626"/>
                </a:lnTo>
                <a:lnTo>
                  <a:pt x="4667745" y="3524707"/>
                </a:lnTo>
                <a:lnTo>
                  <a:pt x="4697349" y="3554806"/>
                </a:lnTo>
                <a:lnTo>
                  <a:pt x="4732858" y="3577742"/>
                </a:lnTo>
                <a:lnTo>
                  <a:pt x="4773104" y="3592360"/>
                </a:lnTo>
                <a:lnTo>
                  <a:pt x="4816945" y="3597491"/>
                </a:lnTo>
                <a:lnTo>
                  <a:pt x="4841951" y="3594557"/>
                </a:lnTo>
                <a:lnTo>
                  <a:pt x="4841951" y="3211792"/>
                </a:lnTo>
                <a:close/>
              </a:path>
              <a:path w="4842509" h="4812030">
                <a:moveTo>
                  <a:pt x="4841951" y="1851342"/>
                </a:moveTo>
                <a:lnTo>
                  <a:pt x="4807712" y="1884832"/>
                </a:lnTo>
                <a:lnTo>
                  <a:pt x="4783315" y="1919909"/>
                </a:lnTo>
                <a:lnTo>
                  <a:pt x="4765014" y="1959063"/>
                </a:lnTo>
                <a:lnTo>
                  <a:pt x="4753534" y="2001583"/>
                </a:lnTo>
                <a:lnTo>
                  <a:pt x="4749546" y="2046757"/>
                </a:lnTo>
                <a:lnTo>
                  <a:pt x="4753534" y="2091944"/>
                </a:lnTo>
                <a:lnTo>
                  <a:pt x="4765014" y="2134463"/>
                </a:lnTo>
                <a:lnTo>
                  <a:pt x="4783315" y="2173617"/>
                </a:lnTo>
                <a:lnTo>
                  <a:pt x="4807712" y="2208695"/>
                </a:lnTo>
                <a:lnTo>
                  <a:pt x="4837519" y="2238997"/>
                </a:lnTo>
                <a:lnTo>
                  <a:pt x="4841951" y="2242185"/>
                </a:lnTo>
                <a:lnTo>
                  <a:pt x="4841951" y="1851342"/>
                </a:lnTo>
                <a:close/>
              </a:path>
              <a:path w="4842509" h="4812030">
                <a:moveTo>
                  <a:pt x="4841951" y="582485"/>
                </a:moveTo>
                <a:lnTo>
                  <a:pt x="4189387" y="582485"/>
                </a:lnTo>
                <a:lnTo>
                  <a:pt x="4140073" y="592455"/>
                </a:lnTo>
                <a:lnTo>
                  <a:pt x="4099814" y="619594"/>
                </a:lnTo>
                <a:lnTo>
                  <a:pt x="4072674" y="659866"/>
                </a:lnTo>
                <a:lnTo>
                  <a:pt x="4062730" y="709168"/>
                </a:lnTo>
                <a:lnTo>
                  <a:pt x="4072674" y="758482"/>
                </a:lnTo>
                <a:lnTo>
                  <a:pt x="4099814" y="798753"/>
                </a:lnTo>
                <a:lnTo>
                  <a:pt x="4140073" y="825906"/>
                </a:lnTo>
                <a:lnTo>
                  <a:pt x="4189387" y="835850"/>
                </a:lnTo>
                <a:lnTo>
                  <a:pt x="4767542" y="835850"/>
                </a:lnTo>
                <a:lnTo>
                  <a:pt x="4736668" y="873556"/>
                </a:lnTo>
                <a:lnTo>
                  <a:pt x="4705045" y="911199"/>
                </a:lnTo>
                <a:lnTo>
                  <a:pt x="4672723" y="948778"/>
                </a:lnTo>
                <a:lnTo>
                  <a:pt x="4639742" y="986294"/>
                </a:lnTo>
                <a:lnTo>
                  <a:pt x="4606137" y="1023747"/>
                </a:lnTo>
                <a:lnTo>
                  <a:pt x="4571949" y="1061110"/>
                </a:lnTo>
                <a:lnTo>
                  <a:pt x="4537214" y="1098384"/>
                </a:lnTo>
                <a:lnTo>
                  <a:pt x="4501985" y="1135583"/>
                </a:lnTo>
                <a:lnTo>
                  <a:pt x="4466285" y="1172667"/>
                </a:lnTo>
                <a:lnTo>
                  <a:pt x="4430166" y="1209662"/>
                </a:lnTo>
                <a:lnTo>
                  <a:pt x="4393654" y="1246543"/>
                </a:lnTo>
                <a:lnTo>
                  <a:pt x="4356811" y="1283309"/>
                </a:lnTo>
                <a:lnTo>
                  <a:pt x="4319663" y="1319961"/>
                </a:lnTo>
                <a:lnTo>
                  <a:pt x="4282249" y="1356474"/>
                </a:lnTo>
                <a:lnTo>
                  <a:pt x="4206786" y="1429118"/>
                </a:lnTo>
                <a:lnTo>
                  <a:pt x="4092625" y="1536966"/>
                </a:lnTo>
                <a:lnTo>
                  <a:pt x="3735552" y="1867319"/>
                </a:lnTo>
                <a:lnTo>
                  <a:pt x="3567468" y="2024532"/>
                </a:lnTo>
                <a:lnTo>
                  <a:pt x="3485985" y="2102446"/>
                </a:lnTo>
                <a:lnTo>
                  <a:pt x="3446056" y="2141245"/>
                </a:lnTo>
                <a:lnTo>
                  <a:pt x="3406711" y="2179929"/>
                </a:lnTo>
                <a:lnTo>
                  <a:pt x="3368014" y="2218512"/>
                </a:lnTo>
                <a:lnTo>
                  <a:pt x="3330003" y="2256993"/>
                </a:lnTo>
                <a:lnTo>
                  <a:pt x="3292716" y="2295372"/>
                </a:lnTo>
                <a:lnTo>
                  <a:pt x="3256216" y="2333663"/>
                </a:lnTo>
                <a:lnTo>
                  <a:pt x="3220529" y="2371852"/>
                </a:lnTo>
                <a:lnTo>
                  <a:pt x="3185718" y="2409952"/>
                </a:lnTo>
                <a:lnTo>
                  <a:pt x="3151809" y="2447963"/>
                </a:lnTo>
                <a:lnTo>
                  <a:pt x="3118866" y="2485885"/>
                </a:lnTo>
                <a:lnTo>
                  <a:pt x="3086925" y="2523731"/>
                </a:lnTo>
                <a:lnTo>
                  <a:pt x="3056039" y="2561488"/>
                </a:lnTo>
                <a:lnTo>
                  <a:pt x="3026245" y="2599169"/>
                </a:lnTo>
                <a:lnTo>
                  <a:pt x="2997581" y="2636761"/>
                </a:lnTo>
                <a:lnTo>
                  <a:pt x="2970111" y="2674289"/>
                </a:lnTo>
                <a:lnTo>
                  <a:pt x="2943860" y="2711742"/>
                </a:lnTo>
                <a:lnTo>
                  <a:pt x="2918904" y="2749118"/>
                </a:lnTo>
                <a:lnTo>
                  <a:pt x="2895257" y="2786430"/>
                </a:lnTo>
                <a:lnTo>
                  <a:pt x="2872981" y="2823680"/>
                </a:lnTo>
                <a:lnTo>
                  <a:pt x="2852102" y="2860865"/>
                </a:lnTo>
                <a:lnTo>
                  <a:pt x="2832697" y="2898000"/>
                </a:lnTo>
                <a:lnTo>
                  <a:pt x="2814790" y="2935059"/>
                </a:lnTo>
                <a:lnTo>
                  <a:pt x="2798432" y="2972066"/>
                </a:lnTo>
                <a:lnTo>
                  <a:pt x="2783662" y="3009023"/>
                </a:lnTo>
                <a:lnTo>
                  <a:pt x="2770543" y="3045930"/>
                </a:lnTo>
                <a:lnTo>
                  <a:pt x="2749334" y="3114700"/>
                </a:lnTo>
                <a:lnTo>
                  <a:pt x="2731732" y="3182582"/>
                </a:lnTo>
                <a:lnTo>
                  <a:pt x="2717584" y="3249536"/>
                </a:lnTo>
                <a:lnTo>
                  <a:pt x="2706751" y="3315551"/>
                </a:lnTo>
                <a:lnTo>
                  <a:pt x="2699054" y="3380562"/>
                </a:lnTo>
                <a:lnTo>
                  <a:pt x="2694368" y="3444557"/>
                </a:lnTo>
                <a:lnTo>
                  <a:pt x="2692539" y="3507486"/>
                </a:lnTo>
                <a:lnTo>
                  <a:pt x="2693416" y="3569322"/>
                </a:lnTo>
                <a:lnTo>
                  <a:pt x="2696845" y="3630015"/>
                </a:lnTo>
                <a:lnTo>
                  <a:pt x="2702687" y="3689553"/>
                </a:lnTo>
                <a:lnTo>
                  <a:pt x="2710777" y="3747884"/>
                </a:lnTo>
                <a:lnTo>
                  <a:pt x="2720975" y="3804970"/>
                </a:lnTo>
                <a:lnTo>
                  <a:pt x="2733116" y="3860787"/>
                </a:lnTo>
                <a:lnTo>
                  <a:pt x="2747073" y="3915295"/>
                </a:lnTo>
                <a:lnTo>
                  <a:pt x="2762681" y="3968458"/>
                </a:lnTo>
                <a:lnTo>
                  <a:pt x="2779801" y="4020235"/>
                </a:lnTo>
                <a:lnTo>
                  <a:pt x="2798267" y="4070591"/>
                </a:lnTo>
                <a:lnTo>
                  <a:pt x="2817952" y="4119499"/>
                </a:lnTo>
                <a:lnTo>
                  <a:pt x="2838678" y="4166908"/>
                </a:lnTo>
                <a:lnTo>
                  <a:pt x="2860319" y="4212806"/>
                </a:lnTo>
                <a:lnTo>
                  <a:pt x="2882709" y="4257129"/>
                </a:lnTo>
                <a:lnTo>
                  <a:pt x="2905709" y="4299864"/>
                </a:lnTo>
                <a:lnTo>
                  <a:pt x="2929166" y="4340974"/>
                </a:lnTo>
                <a:lnTo>
                  <a:pt x="2952927" y="4380408"/>
                </a:lnTo>
                <a:lnTo>
                  <a:pt x="2976854" y="4418139"/>
                </a:lnTo>
                <a:lnTo>
                  <a:pt x="3000768" y="4454131"/>
                </a:lnTo>
                <a:lnTo>
                  <a:pt x="3024555" y="4488345"/>
                </a:lnTo>
                <a:lnTo>
                  <a:pt x="3048038" y="4520755"/>
                </a:lnTo>
                <a:lnTo>
                  <a:pt x="3071076" y="4551324"/>
                </a:lnTo>
                <a:lnTo>
                  <a:pt x="3115233" y="4606772"/>
                </a:lnTo>
                <a:lnTo>
                  <a:pt x="3155810" y="4654410"/>
                </a:lnTo>
                <a:lnTo>
                  <a:pt x="3191624" y="4693945"/>
                </a:lnTo>
                <a:lnTo>
                  <a:pt x="3221456" y="4725098"/>
                </a:lnTo>
                <a:lnTo>
                  <a:pt x="3252393" y="4755489"/>
                </a:lnTo>
                <a:lnTo>
                  <a:pt x="3289871" y="4785195"/>
                </a:lnTo>
                <a:lnTo>
                  <a:pt x="3352101" y="4808791"/>
                </a:lnTo>
                <a:lnTo>
                  <a:pt x="3384816" y="4811725"/>
                </a:lnTo>
                <a:lnTo>
                  <a:pt x="3422065" y="4807928"/>
                </a:lnTo>
                <a:lnTo>
                  <a:pt x="3491369" y="4777714"/>
                </a:lnTo>
                <a:lnTo>
                  <a:pt x="3520922" y="4751438"/>
                </a:lnTo>
                <a:lnTo>
                  <a:pt x="3548837" y="4710963"/>
                </a:lnTo>
                <a:lnTo>
                  <a:pt x="3564598" y="4666081"/>
                </a:lnTo>
                <a:lnTo>
                  <a:pt x="3568331" y="4619295"/>
                </a:lnTo>
                <a:lnTo>
                  <a:pt x="3560165" y="4573067"/>
                </a:lnTo>
                <a:lnTo>
                  <a:pt x="3540239" y="4529861"/>
                </a:lnTo>
                <a:lnTo>
                  <a:pt x="3508654" y="4492129"/>
                </a:lnTo>
                <a:lnTo>
                  <a:pt x="3500399" y="4484382"/>
                </a:lnTo>
                <a:lnTo>
                  <a:pt x="3484295" y="4468546"/>
                </a:lnTo>
                <a:lnTo>
                  <a:pt x="3433026" y="4413796"/>
                </a:lnTo>
                <a:lnTo>
                  <a:pt x="3400107" y="4375455"/>
                </a:lnTo>
                <a:lnTo>
                  <a:pt x="3363798" y="4330217"/>
                </a:lnTo>
                <a:lnTo>
                  <a:pt x="3325253" y="4278363"/>
                </a:lnTo>
                <a:lnTo>
                  <a:pt x="3285566" y="4220172"/>
                </a:lnTo>
                <a:lnTo>
                  <a:pt x="3245878" y="4155960"/>
                </a:lnTo>
                <a:lnTo>
                  <a:pt x="3207283" y="4085996"/>
                </a:lnTo>
                <a:lnTo>
                  <a:pt x="3803065" y="4085996"/>
                </a:lnTo>
                <a:lnTo>
                  <a:pt x="3852380" y="4076039"/>
                </a:lnTo>
                <a:lnTo>
                  <a:pt x="3892639" y="4048887"/>
                </a:lnTo>
                <a:lnTo>
                  <a:pt x="3919766" y="4008628"/>
                </a:lnTo>
                <a:lnTo>
                  <a:pt x="3929723" y="3959314"/>
                </a:lnTo>
                <a:lnTo>
                  <a:pt x="3919766" y="3910012"/>
                </a:lnTo>
                <a:lnTo>
                  <a:pt x="3892639" y="3869740"/>
                </a:lnTo>
                <a:lnTo>
                  <a:pt x="3852380" y="3842588"/>
                </a:lnTo>
                <a:lnTo>
                  <a:pt x="3803065" y="3832631"/>
                </a:lnTo>
                <a:lnTo>
                  <a:pt x="3106051" y="3832631"/>
                </a:lnTo>
                <a:lnTo>
                  <a:pt x="3093821" y="3786289"/>
                </a:lnTo>
                <a:lnTo>
                  <a:pt x="3083318" y="3738765"/>
                </a:lnTo>
                <a:lnTo>
                  <a:pt x="3074657" y="3690099"/>
                </a:lnTo>
                <a:lnTo>
                  <a:pt x="3068002" y="3640340"/>
                </a:lnTo>
                <a:lnTo>
                  <a:pt x="3063494" y="3589528"/>
                </a:lnTo>
                <a:lnTo>
                  <a:pt x="3061284" y="3537686"/>
                </a:lnTo>
                <a:lnTo>
                  <a:pt x="4186415" y="3537686"/>
                </a:lnTo>
                <a:lnTo>
                  <a:pt x="4235729" y="3527742"/>
                </a:lnTo>
                <a:lnTo>
                  <a:pt x="4275988" y="3500590"/>
                </a:lnTo>
                <a:lnTo>
                  <a:pt x="4303128" y="3460318"/>
                </a:lnTo>
                <a:lnTo>
                  <a:pt x="4313072" y="3411004"/>
                </a:lnTo>
                <a:lnTo>
                  <a:pt x="4303128" y="3361702"/>
                </a:lnTo>
                <a:lnTo>
                  <a:pt x="4275988" y="3321431"/>
                </a:lnTo>
                <a:lnTo>
                  <a:pt x="4235729" y="3294291"/>
                </a:lnTo>
                <a:lnTo>
                  <a:pt x="4186415" y="3284321"/>
                </a:lnTo>
                <a:lnTo>
                  <a:pt x="3085935" y="3284321"/>
                </a:lnTo>
                <a:lnTo>
                  <a:pt x="3092831" y="3254083"/>
                </a:lnTo>
                <a:lnTo>
                  <a:pt x="3109315" y="3192983"/>
                </a:lnTo>
                <a:lnTo>
                  <a:pt x="3133902" y="3122079"/>
                </a:lnTo>
                <a:lnTo>
                  <a:pt x="3151809" y="3081401"/>
                </a:lnTo>
                <a:lnTo>
                  <a:pt x="3172637" y="3040075"/>
                </a:lnTo>
                <a:lnTo>
                  <a:pt x="3196209" y="2998165"/>
                </a:lnTo>
                <a:lnTo>
                  <a:pt x="3222371" y="2955658"/>
                </a:lnTo>
                <a:lnTo>
                  <a:pt x="3222929" y="2955658"/>
                </a:lnTo>
                <a:lnTo>
                  <a:pt x="3223450" y="2955823"/>
                </a:lnTo>
                <a:lnTo>
                  <a:pt x="4085818" y="2955823"/>
                </a:lnTo>
                <a:lnTo>
                  <a:pt x="4086631" y="2955658"/>
                </a:lnTo>
                <a:lnTo>
                  <a:pt x="4135132" y="2945866"/>
                </a:lnTo>
                <a:lnTo>
                  <a:pt x="4175391" y="2918714"/>
                </a:lnTo>
                <a:lnTo>
                  <a:pt x="4202519" y="2878455"/>
                </a:lnTo>
                <a:lnTo>
                  <a:pt x="4212475" y="2829141"/>
                </a:lnTo>
                <a:lnTo>
                  <a:pt x="4202519" y="2779839"/>
                </a:lnTo>
                <a:lnTo>
                  <a:pt x="4175391" y="2739567"/>
                </a:lnTo>
                <a:lnTo>
                  <a:pt x="4135132" y="2712415"/>
                </a:lnTo>
                <a:lnTo>
                  <a:pt x="4085818" y="2702458"/>
                </a:lnTo>
                <a:lnTo>
                  <a:pt x="3416541" y="2702458"/>
                </a:lnTo>
                <a:lnTo>
                  <a:pt x="3446754" y="2668371"/>
                </a:lnTo>
                <a:lnTo>
                  <a:pt x="3477958" y="2634030"/>
                </a:lnTo>
                <a:lnTo>
                  <a:pt x="3510102" y="2599436"/>
                </a:lnTo>
                <a:lnTo>
                  <a:pt x="3543135" y="2564612"/>
                </a:lnTo>
                <a:lnTo>
                  <a:pt x="3577018" y="2529548"/>
                </a:lnTo>
                <a:lnTo>
                  <a:pt x="3611702" y="2494267"/>
                </a:lnTo>
                <a:lnTo>
                  <a:pt x="3647122" y="2458758"/>
                </a:lnTo>
                <a:lnTo>
                  <a:pt x="3683254" y="2423045"/>
                </a:lnTo>
                <a:lnTo>
                  <a:pt x="3720046" y="2387117"/>
                </a:lnTo>
                <a:lnTo>
                  <a:pt x="3795395" y="2314702"/>
                </a:lnTo>
                <a:lnTo>
                  <a:pt x="3912184" y="2204707"/>
                </a:lnTo>
                <a:lnTo>
                  <a:pt x="4351325" y="1798180"/>
                </a:lnTo>
                <a:lnTo>
                  <a:pt x="4468863" y="1687245"/>
                </a:lnTo>
                <a:lnTo>
                  <a:pt x="4546206" y="1612912"/>
                </a:lnTo>
                <a:lnTo>
                  <a:pt x="4584484" y="1575625"/>
                </a:lnTo>
                <a:lnTo>
                  <a:pt x="4622444" y="1538236"/>
                </a:lnTo>
                <a:lnTo>
                  <a:pt x="4660087" y="1500771"/>
                </a:lnTo>
                <a:lnTo>
                  <a:pt x="4697361" y="1463205"/>
                </a:lnTo>
                <a:lnTo>
                  <a:pt x="4734242" y="1425549"/>
                </a:lnTo>
                <a:lnTo>
                  <a:pt x="4770691" y="1387792"/>
                </a:lnTo>
                <a:lnTo>
                  <a:pt x="4806696" y="1349933"/>
                </a:lnTo>
                <a:lnTo>
                  <a:pt x="4841951" y="1312240"/>
                </a:lnTo>
                <a:lnTo>
                  <a:pt x="4841951" y="582485"/>
                </a:lnTo>
                <a:close/>
              </a:path>
              <a:path w="4842509" h="4812030">
                <a:moveTo>
                  <a:pt x="4841951" y="7937"/>
                </a:moveTo>
                <a:lnTo>
                  <a:pt x="4133786" y="7937"/>
                </a:lnTo>
                <a:lnTo>
                  <a:pt x="4084472" y="17907"/>
                </a:lnTo>
                <a:lnTo>
                  <a:pt x="4044213" y="45046"/>
                </a:lnTo>
                <a:lnTo>
                  <a:pt x="4017073" y="85318"/>
                </a:lnTo>
                <a:lnTo>
                  <a:pt x="4007129" y="134620"/>
                </a:lnTo>
                <a:lnTo>
                  <a:pt x="4017073" y="183934"/>
                </a:lnTo>
                <a:lnTo>
                  <a:pt x="4044213" y="224205"/>
                </a:lnTo>
                <a:lnTo>
                  <a:pt x="4084472" y="251358"/>
                </a:lnTo>
                <a:lnTo>
                  <a:pt x="4133786" y="261315"/>
                </a:lnTo>
                <a:lnTo>
                  <a:pt x="4841951" y="261315"/>
                </a:lnTo>
                <a:lnTo>
                  <a:pt x="4841951" y="7937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C08C7F-F671-37EF-FA4F-14868BE5D34B}"/>
              </a:ext>
            </a:extLst>
          </p:cNvPr>
          <p:cNvGrpSpPr/>
          <p:nvPr/>
        </p:nvGrpSpPr>
        <p:grpSpPr>
          <a:xfrm>
            <a:off x="391375" y="5191214"/>
            <a:ext cx="2957963" cy="1664692"/>
            <a:chOff x="391375" y="5191214"/>
            <a:chExt cx="2957963" cy="1664692"/>
          </a:xfrm>
        </p:grpSpPr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7CF38E78-8B18-E2DD-57F6-5A3EBF4CFBF8}"/>
                </a:ext>
              </a:extLst>
            </p:cNvPr>
            <p:cNvSpPr/>
            <p:nvPr/>
          </p:nvSpPr>
          <p:spPr>
            <a:xfrm>
              <a:off x="1985572" y="6805678"/>
              <a:ext cx="238965" cy="50095"/>
            </a:xfrm>
            <a:custGeom>
              <a:avLst/>
              <a:gdLst/>
              <a:ahLst/>
              <a:cxnLst/>
              <a:rect l="l" t="t" r="r" b="b"/>
              <a:pathLst>
                <a:path w="263525" h="55245">
                  <a:moveTo>
                    <a:pt x="131560" y="0"/>
                  </a:moveTo>
                  <a:lnTo>
                    <a:pt x="87719" y="5131"/>
                  </a:lnTo>
                  <a:lnTo>
                    <a:pt x="47474" y="19749"/>
                  </a:lnTo>
                  <a:lnTo>
                    <a:pt x="11974" y="42686"/>
                  </a:lnTo>
                  <a:lnTo>
                    <a:pt x="0" y="54855"/>
                  </a:lnTo>
                  <a:lnTo>
                    <a:pt x="263121" y="54855"/>
                  </a:lnTo>
                  <a:lnTo>
                    <a:pt x="251147" y="42686"/>
                  </a:lnTo>
                  <a:lnTo>
                    <a:pt x="215647" y="19749"/>
                  </a:lnTo>
                  <a:lnTo>
                    <a:pt x="175402" y="5131"/>
                  </a:lnTo>
                  <a:lnTo>
                    <a:pt x="131560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01B1EF4C-ACBC-8DF2-F98F-A520632D49A8}"/>
                </a:ext>
              </a:extLst>
            </p:cNvPr>
            <p:cNvSpPr/>
            <p:nvPr/>
          </p:nvSpPr>
          <p:spPr>
            <a:xfrm>
              <a:off x="3002119" y="6641559"/>
              <a:ext cx="347219" cy="214205"/>
            </a:xfrm>
            <a:custGeom>
              <a:avLst/>
              <a:gdLst/>
              <a:ahLst/>
              <a:cxnLst/>
              <a:rect l="l" t="t" r="r" b="b"/>
              <a:pathLst>
                <a:path w="382904" h="2362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4706" y="235840"/>
                  </a:lnTo>
                  <a:lnTo>
                    <a:pt x="377689" y="235840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C69F5CB4-EE4D-3E00-9E24-A5394A4C5C0E}"/>
                </a:ext>
              </a:extLst>
            </p:cNvPr>
            <p:cNvSpPr/>
            <p:nvPr/>
          </p:nvSpPr>
          <p:spPr>
            <a:xfrm>
              <a:off x="2877401" y="6040817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4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D5CB64B5-EAB4-764D-E33F-11B3A4C5099E}"/>
                </a:ext>
              </a:extLst>
            </p:cNvPr>
            <p:cNvSpPr/>
            <p:nvPr/>
          </p:nvSpPr>
          <p:spPr>
            <a:xfrm>
              <a:off x="2210807" y="6183673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90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9">
              <a:extLst>
                <a:ext uri="{FF2B5EF4-FFF2-40B4-BE49-F238E27FC236}">
                  <a16:creationId xmlns:a16="http://schemas.microsoft.com/office/drawing/2014/main" id="{544E0DFF-B974-C185-F664-2BB8D65D3E1C}"/>
                </a:ext>
              </a:extLst>
            </p:cNvPr>
            <p:cNvSpPr/>
            <p:nvPr/>
          </p:nvSpPr>
          <p:spPr>
            <a:xfrm>
              <a:off x="1993834" y="5340502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0">
              <a:extLst>
                <a:ext uri="{FF2B5EF4-FFF2-40B4-BE49-F238E27FC236}">
                  <a16:creationId xmlns:a16="http://schemas.microsoft.com/office/drawing/2014/main" id="{BAF8C586-5508-CCC1-A9F6-94AC7AFA27D1}"/>
                </a:ext>
              </a:extLst>
            </p:cNvPr>
            <p:cNvSpPr/>
            <p:nvPr/>
          </p:nvSpPr>
          <p:spPr>
            <a:xfrm>
              <a:off x="391375" y="5191214"/>
              <a:ext cx="1400967" cy="1664692"/>
            </a:xfrm>
            <a:custGeom>
              <a:avLst/>
              <a:gdLst/>
              <a:ahLst/>
              <a:cxnLst/>
              <a:rect l="l" t="t" r="r" b="b"/>
              <a:pathLst>
                <a:path w="1544955" h="1835784">
                  <a:moveTo>
                    <a:pt x="925999" y="0"/>
                  </a:moveTo>
                  <a:lnTo>
                    <a:pt x="880349" y="10091"/>
                  </a:lnTo>
                  <a:lnTo>
                    <a:pt x="838161" y="31783"/>
                  </a:lnTo>
                  <a:lnTo>
                    <a:pt x="801852" y="64835"/>
                  </a:lnTo>
                  <a:lnTo>
                    <a:pt x="775520" y="106276"/>
                  </a:lnTo>
                  <a:lnTo>
                    <a:pt x="761475" y="151656"/>
                  </a:lnTo>
                  <a:lnTo>
                    <a:pt x="759491" y="198513"/>
                  </a:lnTo>
                  <a:lnTo>
                    <a:pt x="769344" y="244387"/>
                  </a:lnTo>
                  <a:lnTo>
                    <a:pt x="790808" y="286817"/>
                  </a:lnTo>
                  <a:lnTo>
                    <a:pt x="823658" y="323343"/>
                  </a:lnTo>
                  <a:lnTo>
                    <a:pt x="831988" y="330759"/>
                  </a:lnTo>
                  <a:lnTo>
                    <a:pt x="849099" y="347051"/>
                  </a:lnTo>
                  <a:lnTo>
                    <a:pt x="903479" y="405526"/>
                  </a:lnTo>
                  <a:lnTo>
                    <a:pt x="937656" y="447339"/>
                  </a:lnTo>
                  <a:lnTo>
                    <a:pt x="974430" y="497291"/>
                  </a:lnTo>
                  <a:lnTo>
                    <a:pt x="1012254" y="555196"/>
                  </a:lnTo>
                  <a:lnTo>
                    <a:pt x="1049583" y="620872"/>
                  </a:lnTo>
                  <a:lnTo>
                    <a:pt x="1084872" y="694132"/>
                  </a:lnTo>
                  <a:lnTo>
                    <a:pt x="513257" y="694132"/>
                  </a:lnTo>
                  <a:lnTo>
                    <a:pt x="463952" y="704088"/>
                  </a:lnTo>
                  <a:lnTo>
                    <a:pt x="423684" y="731237"/>
                  </a:lnTo>
                  <a:lnTo>
                    <a:pt x="396532" y="771504"/>
                  </a:lnTo>
                  <a:lnTo>
                    <a:pt x="386575" y="820815"/>
                  </a:lnTo>
                  <a:lnTo>
                    <a:pt x="396532" y="870120"/>
                  </a:lnTo>
                  <a:lnTo>
                    <a:pt x="423684" y="910388"/>
                  </a:lnTo>
                  <a:lnTo>
                    <a:pt x="463952" y="937540"/>
                  </a:lnTo>
                  <a:lnTo>
                    <a:pt x="513257" y="947497"/>
                  </a:lnTo>
                  <a:lnTo>
                    <a:pt x="1161059" y="947497"/>
                  </a:lnTo>
                  <a:lnTo>
                    <a:pt x="1168059" y="994539"/>
                  </a:lnTo>
                  <a:lnTo>
                    <a:pt x="1173078" y="1043098"/>
                  </a:lnTo>
                  <a:lnTo>
                    <a:pt x="1175954" y="1093166"/>
                  </a:lnTo>
                  <a:lnTo>
                    <a:pt x="1176527" y="1144733"/>
                  </a:lnTo>
                  <a:lnTo>
                    <a:pt x="1174633" y="1197788"/>
                  </a:lnTo>
                  <a:lnTo>
                    <a:pt x="1170114" y="1252323"/>
                  </a:lnTo>
                  <a:lnTo>
                    <a:pt x="1163053" y="1251103"/>
                  </a:lnTo>
                  <a:lnTo>
                    <a:pt x="1155890" y="1250138"/>
                  </a:lnTo>
                  <a:lnTo>
                    <a:pt x="126682" y="1250138"/>
                  </a:lnTo>
                  <a:lnTo>
                    <a:pt x="77372" y="1260095"/>
                  </a:lnTo>
                  <a:lnTo>
                    <a:pt x="37104" y="1287248"/>
                  </a:lnTo>
                  <a:lnTo>
                    <a:pt x="9955" y="1327516"/>
                  </a:lnTo>
                  <a:lnTo>
                    <a:pt x="0" y="1376821"/>
                  </a:lnTo>
                  <a:lnTo>
                    <a:pt x="9955" y="1426133"/>
                  </a:lnTo>
                  <a:lnTo>
                    <a:pt x="37104" y="1466405"/>
                  </a:lnTo>
                  <a:lnTo>
                    <a:pt x="77372" y="1493559"/>
                  </a:lnTo>
                  <a:lnTo>
                    <a:pt x="126682" y="1503516"/>
                  </a:lnTo>
                  <a:lnTo>
                    <a:pt x="1109611" y="1503516"/>
                  </a:lnTo>
                  <a:lnTo>
                    <a:pt x="1091637" y="1549292"/>
                  </a:lnTo>
                  <a:lnTo>
                    <a:pt x="1071709" y="1595118"/>
                  </a:lnTo>
                  <a:lnTo>
                    <a:pt x="1049893" y="1640986"/>
                  </a:lnTo>
                  <a:lnTo>
                    <a:pt x="1026255" y="1686883"/>
                  </a:lnTo>
                  <a:lnTo>
                    <a:pt x="1000859" y="1732802"/>
                  </a:lnTo>
                  <a:lnTo>
                    <a:pt x="973771" y="1778731"/>
                  </a:lnTo>
                  <a:lnTo>
                    <a:pt x="945057" y="1824661"/>
                  </a:lnTo>
                  <a:lnTo>
                    <a:pt x="182283" y="1824661"/>
                  </a:lnTo>
                  <a:lnTo>
                    <a:pt x="132972" y="1834618"/>
                  </a:lnTo>
                  <a:lnTo>
                    <a:pt x="132035" y="1835250"/>
                  </a:lnTo>
                  <a:lnTo>
                    <a:pt x="1365030" y="1835250"/>
                  </a:lnTo>
                  <a:lnTo>
                    <a:pt x="1398211" y="1767887"/>
                  </a:lnTo>
                  <a:lnTo>
                    <a:pt x="1416703" y="1726988"/>
                  </a:lnTo>
                  <a:lnTo>
                    <a:pt x="1434056" y="1685916"/>
                  </a:lnTo>
                  <a:lnTo>
                    <a:pt x="1450240" y="1644667"/>
                  </a:lnTo>
                  <a:lnTo>
                    <a:pt x="1465225" y="1603237"/>
                  </a:lnTo>
                  <a:lnTo>
                    <a:pt x="1478982" y="1561625"/>
                  </a:lnTo>
                  <a:lnTo>
                    <a:pt x="1491481" y="1519827"/>
                  </a:lnTo>
                  <a:lnTo>
                    <a:pt x="1502692" y="1477840"/>
                  </a:lnTo>
                  <a:lnTo>
                    <a:pt x="1512585" y="1435660"/>
                  </a:lnTo>
                  <a:lnTo>
                    <a:pt x="1521130" y="1393285"/>
                  </a:lnTo>
                  <a:lnTo>
                    <a:pt x="1528298" y="1350711"/>
                  </a:lnTo>
                  <a:lnTo>
                    <a:pt x="1534058" y="1307936"/>
                  </a:lnTo>
                  <a:lnTo>
                    <a:pt x="1541211" y="1230596"/>
                  </a:lnTo>
                  <a:lnTo>
                    <a:pt x="1544382" y="1155425"/>
                  </a:lnTo>
                  <a:lnTo>
                    <a:pt x="1543828" y="1082452"/>
                  </a:lnTo>
                  <a:lnTo>
                    <a:pt x="1539804" y="1011702"/>
                  </a:lnTo>
                  <a:lnTo>
                    <a:pt x="1532569" y="943204"/>
                  </a:lnTo>
                  <a:lnTo>
                    <a:pt x="1522380" y="876984"/>
                  </a:lnTo>
                  <a:lnTo>
                    <a:pt x="1509492" y="813069"/>
                  </a:lnTo>
                  <a:lnTo>
                    <a:pt x="1494164" y="751487"/>
                  </a:lnTo>
                  <a:lnTo>
                    <a:pt x="1476653" y="692264"/>
                  </a:lnTo>
                  <a:lnTo>
                    <a:pt x="1457214" y="635429"/>
                  </a:lnTo>
                  <a:lnTo>
                    <a:pt x="1436106" y="581007"/>
                  </a:lnTo>
                  <a:lnTo>
                    <a:pt x="1413584" y="529026"/>
                  </a:lnTo>
                  <a:lnTo>
                    <a:pt x="1389907" y="479514"/>
                  </a:lnTo>
                  <a:lnTo>
                    <a:pt x="1365331" y="432497"/>
                  </a:lnTo>
                  <a:lnTo>
                    <a:pt x="1340113" y="388002"/>
                  </a:lnTo>
                  <a:lnTo>
                    <a:pt x="1314510" y="346057"/>
                  </a:lnTo>
                  <a:lnTo>
                    <a:pt x="1288779" y="306688"/>
                  </a:lnTo>
                  <a:lnTo>
                    <a:pt x="1263177" y="269924"/>
                  </a:lnTo>
                  <a:lnTo>
                    <a:pt x="1237961" y="235790"/>
                  </a:lnTo>
                  <a:lnTo>
                    <a:pt x="1213388" y="204314"/>
                  </a:lnTo>
                  <a:lnTo>
                    <a:pt x="1167198" y="149446"/>
                  </a:lnTo>
                  <a:lnTo>
                    <a:pt x="1126663" y="105535"/>
                  </a:lnTo>
                  <a:lnTo>
                    <a:pt x="1093839" y="72800"/>
                  </a:lnTo>
                  <a:lnTo>
                    <a:pt x="1059548" y="41721"/>
                  </a:lnTo>
                  <a:lnTo>
                    <a:pt x="1018016" y="15575"/>
                  </a:lnTo>
                  <a:lnTo>
                    <a:pt x="972694" y="1748"/>
                  </a:lnTo>
                  <a:lnTo>
                    <a:pt x="925999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1520" y="1882770"/>
            <a:ext cx="8910320" cy="3872235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" y="6114954"/>
            <a:ext cx="8924387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4" name="object 41">
            <a:extLst>
              <a:ext uri="{FF2B5EF4-FFF2-40B4-BE49-F238E27FC236}">
                <a16:creationId xmlns:a16="http://schemas.microsoft.com/office/drawing/2014/main" id="{4AA4F7D3-F6E8-EAB2-F7FF-BD27C0DB60AC}"/>
              </a:ext>
            </a:extLst>
          </p:cNvPr>
          <p:cNvGrpSpPr/>
          <p:nvPr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5" name="object 42">
              <a:extLst>
                <a:ext uri="{FF2B5EF4-FFF2-40B4-BE49-F238E27FC236}">
                  <a16:creationId xmlns:a16="http://schemas.microsoft.com/office/drawing/2014/main" id="{E917381C-8FE5-3CAD-273B-51DCDB6727F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6" name="object 43">
              <a:extLst>
                <a:ext uri="{FF2B5EF4-FFF2-40B4-BE49-F238E27FC236}">
                  <a16:creationId xmlns:a16="http://schemas.microsoft.com/office/drawing/2014/main" id="{6EC3B691-15D3-272C-C984-5D8D7AB4D44B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7" name="object 44">
              <a:extLst>
                <a:ext uri="{FF2B5EF4-FFF2-40B4-BE49-F238E27FC236}">
                  <a16:creationId xmlns:a16="http://schemas.microsoft.com/office/drawing/2014/main" id="{26C44628-116B-F318-B8E0-DE32F2332BC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5" name="object 14">
            <a:extLst>
              <a:ext uri="{FF2B5EF4-FFF2-40B4-BE49-F238E27FC236}">
                <a16:creationId xmlns:a16="http://schemas.microsoft.com/office/drawing/2014/main" id="{45F4DC08-150F-4A25-716A-90191F21FDC9}"/>
              </a:ext>
            </a:extLst>
          </p:cNvPr>
          <p:cNvSpPr/>
          <p:nvPr/>
        </p:nvSpPr>
        <p:spPr>
          <a:xfrm rot="10800000">
            <a:off x="-308147" y="5862122"/>
            <a:ext cx="562114" cy="584428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4">
            <a:extLst>
              <a:ext uri="{FF2B5EF4-FFF2-40B4-BE49-F238E27FC236}">
                <a16:creationId xmlns:a16="http://schemas.microsoft.com/office/drawing/2014/main" id="{01D5C4C6-F307-4C2A-EEA2-C7230077C63A}"/>
              </a:ext>
            </a:extLst>
          </p:cNvPr>
          <p:cNvSpPr/>
          <p:nvPr/>
        </p:nvSpPr>
        <p:spPr>
          <a:xfrm rot="10800000">
            <a:off x="-650" y="6776735"/>
            <a:ext cx="360745" cy="37506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ED0436A5-966C-D05D-FD27-2ED35FF09750}"/>
              </a:ext>
            </a:extLst>
          </p:cNvPr>
          <p:cNvSpPr/>
          <p:nvPr/>
        </p:nvSpPr>
        <p:spPr>
          <a:xfrm rot="10800000">
            <a:off x="8761227" y="264563"/>
            <a:ext cx="262322" cy="27273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B1D59208-AF3F-67F9-AFEE-0B79028CDC85}"/>
              </a:ext>
            </a:extLst>
          </p:cNvPr>
          <p:cNvSpPr/>
          <p:nvPr/>
        </p:nvSpPr>
        <p:spPr>
          <a:xfrm rot="10800000">
            <a:off x="8268251" y="-287815"/>
            <a:ext cx="492976" cy="51254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870" y="593213"/>
            <a:ext cx="8910320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7873263"/>
      </p:ext>
    </p:extLst>
  </p:cSld>
  <p:clrMapOvr>
    <a:masterClrMapping/>
  </p:clrMapOvr>
  <p:hf sldNum="0"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520" y="365125"/>
            <a:ext cx="6475989" cy="4355493"/>
          </a:xfrm>
        </p:spPr>
        <p:txBody>
          <a:bodyPr anchor="t" anchorCtr="0">
            <a:normAutofit/>
          </a:bodyPr>
          <a:lstStyle>
            <a:lvl1pPr>
              <a:defRPr sz="44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520" y="4862945"/>
            <a:ext cx="6475989" cy="491375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6347" y="6127750"/>
            <a:ext cx="892732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F387DD09-C436-5F8E-8C10-75D345EE965A}"/>
              </a:ext>
            </a:extLst>
          </p:cNvPr>
          <p:cNvSpPr/>
          <p:nvPr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80380579"/>
      </p:ext>
    </p:extLst>
  </p:cSld>
  <p:clrMapOvr>
    <a:masterClrMapping/>
  </p:clrMapOvr>
  <p:hf sldNum="0"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1835" y="365125"/>
            <a:ext cx="7232073" cy="4355493"/>
          </a:xfrm>
        </p:spPr>
        <p:txBody>
          <a:bodyPr anchor="t" anchorCtr="0">
            <a:normAutofit/>
          </a:bodyPr>
          <a:lstStyle>
            <a:lvl1pPr algn="r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01836" y="4862945"/>
            <a:ext cx="7232072" cy="440575"/>
          </a:xfrm>
        </p:spPr>
        <p:txBody>
          <a:bodyPr anchor="t" anchorCtr="0">
            <a:normAutofit/>
          </a:bodyPr>
          <a:lstStyle>
            <a:lvl1pPr marL="0" indent="0" algn="r"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1840" y="6127750"/>
            <a:ext cx="88900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FB453B0D-C8DF-80FC-EEDE-35EBA33A3EB9}"/>
              </a:ext>
            </a:extLst>
          </p:cNvPr>
          <p:cNvSpPr/>
          <p:nvPr/>
        </p:nvSpPr>
        <p:spPr>
          <a:xfrm>
            <a:off x="108938" y="-20309"/>
            <a:ext cx="3349537" cy="4281787"/>
          </a:xfrm>
          <a:custGeom>
            <a:avLst/>
            <a:gdLst/>
            <a:ahLst/>
            <a:cxnLst/>
            <a:rect l="l" t="t" r="r" b="b"/>
            <a:pathLst>
              <a:path w="3693795" h="4721860">
                <a:moveTo>
                  <a:pt x="985329" y="60604"/>
                </a:moveTo>
                <a:lnTo>
                  <a:pt x="977315" y="10096"/>
                </a:lnTo>
                <a:lnTo>
                  <a:pt x="972172" y="0"/>
                </a:lnTo>
                <a:lnTo>
                  <a:pt x="684009" y="0"/>
                </a:lnTo>
                <a:lnTo>
                  <a:pt x="678865" y="10096"/>
                </a:lnTo>
                <a:lnTo>
                  <a:pt x="670852" y="60604"/>
                </a:lnTo>
                <a:lnTo>
                  <a:pt x="678865" y="111112"/>
                </a:lnTo>
                <a:lnTo>
                  <a:pt x="701192" y="154978"/>
                </a:lnTo>
                <a:lnTo>
                  <a:pt x="735228" y="189572"/>
                </a:lnTo>
                <a:lnTo>
                  <a:pt x="778395" y="212255"/>
                </a:lnTo>
                <a:lnTo>
                  <a:pt x="828090" y="220395"/>
                </a:lnTo>
                <a:lnTo>
                  <a:pt x="877785" y="212255"/>
                </a:lnTo>
                <a:lnTo>
                  <a:pt x="920953" y="189572"/>
                </a:lnTo>
                <a:lnTo>
                  <a:pt x="954989" y="154978"/>
                </a:lnTo>
                <a:lnTo>
                  <a:pt x="977315" y="111112"/>
                </a:lnTo>
                <a:lnTo>
                  <a:pt x="985329" y="60604"/>
                </a:lnTo>
                <a:close/>
              </a:path>
              <a:path w="3693795" h="4721860">
                <a:moveTo>
                  <a:pt x="1194587" y="628446"/>
                </a:moveTo>
                <a:lnTo>
                  <a:pt x="1189532" y="583895"/>
                </a:lnTo>
                <a:lnTo>
                  <a:pt x="1175143" y="543001"/>
                </a:lnTo>
                <a:lnTo>
                  <a:pt x="1152575" y="506920"/>
                </a:lnTo>
                <a:lnTo>
                  <a:pt x="1122972" y="476821"/>
                </a:lnTo>
                <a:lnTo>
                  <a:pt x="1087462" y="453885"/>
                </a:lnTo>
                <a:lnTo>
                  <a:pt x="1047229" y="439267"/>
                </a:lnTo>
                <a:lnTo>
                  <a:pt x="1003388" y="434136"/>
                </a:lnTo>
                <a:lnTo>
                  <a:pt x="959548" y="439267"/>
                </a:lnTo>
                <a:lnTo>
                  <a:pt x="919302" y="453885"/>
                </a:lnTo>
                <a:lnTo>
                  <a:pt x="883805" y="476821"/>
                </a:lnTo>
                <a:lnTo>
                  <a:pt x="854189" y="506920"/>
                </a:lnTo>
                <a:lnTo>
                  <a:pt x="831621" y="543001"/>
                </a:lnTo>
                <a:lnTo>
                  <a:pt x="817232" y="583895"/>
                </a:lnTo>
                <a:lnTo>
                  <a:pt x="812190" y="628446"/>
                </a:lnTo>
                <a:lnTo>
                  <a:pt x="817232" y="672998"/>
                </a:lnTo>
                <a:lnTo>
                  <a:pt x="831621" y="713905"/>
                </a:lnTo>
                <a:lnTo>
                  <a:pt x="854189" y="749973"/>
                </a:lnTo>
                <a:lnTo>
                  <a:pt x="883805" y="780072"/>
                </a:lnTo>
                <a:lnTo>
                  <a:pt x="919302" y="803008"/>
                </a:lnTo>
                <a:lnTo>
                  <a:pt x="959548" y="817626"/>
                </a:lnTo>
                <a:lnTo>
                  <a:pt x="1003388" y="822756"/>
                </a:lnTo>
                <a:lnTo>
                  <a:pt x="1047229" y="817626"/>
                </a:lnTo>
                <a:lnTo>
                  <a:pt x="1087462" y="803008"/>
                </a:lnTo>
                <a:lnTo>
                  <a:pt x="1122972" y="780072"/>
                </a:lnTo>
                <a:lnTo>
                  <a:pt x="1152575" y="749973"/>
                </a:lnTo>
                <a:lnTo>
                  <a:pt x="1175143" y="713905"/>
                </a:lnTo>
                <a:lnTo>
                  <a:pt x="1189532" y="672998"/>
                </a:lnTo>
                <a:lnTo>
                  <a:pt x="1194587" y="628446"/>
                </a:lnTo>
                <a:close/>
              </a:path>
              <a:path w="3693795" h="4721860">
                <a:moveTo>
                  <a:pt x="2110397" y="2736418"/>
                </a:moveTo>
                <a:lnTo>
                  <a:pt x="2105355" y="2691866"/>
                </a:lnTo>
                <a:lnTo>
                  <a:pt x="2090966" y="2650960"/>
                </a:lnTo>
                <a:lnTo>
                  <a:pt x="2068398" y="2614892"/>
                </a:lnTo>
                <a:lnTo>
                  <a:pt x="2038781" y="2584793"/>
                </a:lnTo>
                <a:lnTo>
                  <a:pt x="2003285" y="2561856"/>
                </a:lnTo>
                <a:lnTo>
                  <a:pt x="1963039" y="2547239"/>
                </a:lnTo>
                <a:lnTo>
                  <a:pt x="1919198" y="2542108"/>
                </a:lnTo>
                <a:lnTo>
                  <a:pt x="1875358" y="2547239"/>
                </a:lnTo>
                <a:lnTo>
                  <a:pt x="1835111" y="2561856"/>
                </a:lnTo>
                <a:lnTo>
                  <a:pt x="1799615" y="2584793"/>
                </a:lnTo>
                <a:lnTo>
                  <a:pt x="1770011" y="2614892"/>
                </a:lnTo>
                <a:lnTo>
                  <a:pt x="1747431" y="2650960"/>
                </a:lnTo>
                <a:lnTo>
                  <a:pt x="1733054" y="2691866"/>
                </a:lnTo>
                <a:lnTo>
                  <a:pt x="1728000" y="2736418"/>
                </a:lnTo>
                <a:lnTo>
                  <a:pt x="1733054" y="2780969"/>
                </a:lnTo>
                <a:lnTo>
                  <a:pt x="1747431" y="2821863"/>
                </a:lnTo>
                <a:lnTo>
                  <a:pt x="1770011" y="2857944"/>
                </a:lnTo>
                <a:lnTo>
                  <a:pt x="1799615" y="2888043"/>
                </a:lnTo>
                <a:lnTo>
                  <a:pt x="1835111" y="2910979"/>
                </a:lnTo>
                <a:lnTo>
                  <a:pt x="1875358" y="2925597"/>
                </a:lnTo>
                <a:lnTo>
                  <a:pt x="1919198" y="2930728"/>
                </a:lnTo>
                <a:lnTo>
                  <a:pt x="1963039" y="2925597"/>
                </a:lnTo>
                <a:lnTo>
                  <a:pt x="2003285" y="2910979"/>
                </a:lnTo>
                <a:lnTo>
                  <a:pt x="2038781" y="2888043"/>
                </a:lnTo>
                <a:lnTo>
                  <a:pt x="2068398" y="2857944"/>
                </a:lnTo>
                <a:lnTo>
                  <a:pt x="2090966" y="2821863"/>
                </a:lnTo>
                <a:lnTo>
                  <a:pt x="2105355" y="2780969"/>
                </a:lnTo>
                <a:lnTo>
                  <a:pt x="2110397" y="2736418"/>
                </a:lnTo>
                <a:close/>
              </a:path>
              <a:path w="3693795" h="4721860">
                <a:moveTo>
                  <a:pt x="2315591" y="3313163"/>
                </a:moveTo>
                <a:lnTo>
                  <a:pt x="2310536" y="3268611"/>
                </a:lnTo>
                <a:lnTo>
                  <a:pt x="2296160" y="3227717"/>
                </a:lnTo>
                <a:lnTo>
                  <a:pt x="2273592" y="3191637"/>
                </a:lnTo>
                <a:lnTo>
                  <a:pt x="2243975" y="3161538"/>
                </a:lnTo>
                <a:lnTo>
                  <a:pt x="2208479" y="3138601"/>
                </a:lnTo>
                <a:lnTo>
                  <a:pt x="2168233" y="3123984"/>
                </a:lnTo>
                <a:lnTo>
                  <a:pt x="2124392" y="3118853"/>
                </a:lnTo>
                <a:lnTo>
                  <a:pt x="2080552" y="3123984"/>
                </a:lnTo>
                <a:lnTo>
                  <a:pt x="2040305" y="3138601"/>
                </a:lnTo>
                <a:lnTo>
                  <a:pt x="2004809" y="3161538"/>
                </a:lnTo>
                <a:lnTo>
                  <a:pt x="1975192" y="3191637"/>
                </a:lnTo>
                <a:lnTo>
                  <a:pt x="1952625" y="3227717"/>
                </a:lnTo>
                <a:lnTo>
                  <a:pt x="1938235" y="3268611"/>
                </a:lnTo>
                <a:lnTo>
                  <a:pt x="1933194" y="3313163"/>
                </a:lnTo>
                <a:lnTo>
                  <a:pt x="1938235" y="3357715"/>
                </a:lnTo>
                <a:lnTo>
                  <a:pt x="1952625" y="3398621"/>
                </a:lnTo>
                <a:lnTo>
                  <a:pt x="1975192" y="3434689"/>
                </a:lnTo>
                <a:lnTo>
                  <a:pt x="2004809" y="3464788"/>
                </a:lnTo>
                <a:lnTo>
                  <a:pt x="2040305" y="3487724"/>
                </a:lnTo>
                <a:lnTo>
                  <a:pt x="2080552" y="3502342"/>
                </a:lnTo>
                <a:lnTo>
                  <a:pt x="2124392" y="3507473"/>
                </a:lnTo>
                <a:lnTo>
                  <a:pt x="2168233" y="3502342"/>
                </a:lnTo>
                <a:lnTo>
                  <a:pt x="2208479" y="3487724"/>
                </a:lnTo>
                <a:lnTo>
                  <a:pt x="2243975" y="3464788"/>
                </a:lnTo>
                <a:lnTo>
                  <a:pt x="2273592" y="3434689"/>
                </a:lnTo>
                <a:lnTo>
                  <a:pt x="2296160" y="3398621"/>
                </a:lnTo>
                <a:lnTo>
                  <a:pt x="2310536" y="3357715"/>
                </a:lnTo>
                <a:lnTo>
                  <a:pt x="2315591" y="3313163"/>
                </a:lnTo>
                <a:close/>
              </a:path>
              <a:path w="3693795" h="4721860">
                <a:moveTo>
                  <a:pt x="2551633" y="1956752"/>
                </a:moveTo>
                <a:lnTo>
                  <a:pt x="2547645" y="1911578"/>
                </a:lnTo>
                <a:lnTo>
                  <a:pt x="2536164" y="1869046"/>
                </a:lnTo>
                <a:lnTo>
                  <a:pt x="2517864" y="1829892"/>
                </a:lnTo>
                <a:lnTo>
                  <a:pt x="2493467" y="1794814"/>
                </a:lnTo>
                <a:lnTo>
                  <a:pt x="2463660" y="1764525"/>
                </a:lnTo>
                <a:lnTo>
                  <a:pt x="2429141" y="1739722"/>
                </a:lnTo>
                <a:lnTo>
                  <a:pt x="2390610" y="1721129"/>
                </a:lnTo>
                <a:lnTo>
                  <a:pt x="2348776" y="1709458"/>
                </a:lnTo>
                <a:lnTo>
                  <a:pt x="2304313" y="1705406"/>
                </a:lnTo>
                <a:lnTo>
                  <a:pt x="2259863" y="1709458"/>
                </a:lnTo>
                <a:lnTo>
                  <a:pt x="2218017" y="1721129"/>
                </a:lnTo>
                <a:lnTo>
                  <a:pt x="2179485" y="1739722"/>
                </a:lnTo>
                <a:lnTo>
                  <a:pt x="2144966" y="1764525"/>
                </a:lnTo>
                <a:lnTo>
                  <a:pt x="2115159" y="1794814"/>
                </a:lnTo>
                <a:lnTo>
                  <a:pt x="2090762" y="1829892"/>
                </a:lnTo>
                <a:lnTo>
                  <a:pt x="2072474" y="1869046"/>
                </a:lnTo>
                <a:lnTo>
                  <a:pt x="2060981" y="1911578"/>
                </a:lnTo>
                <a:lnTo>
                  <a:pt x="2056993" y="1956752"/>
                </a:lnTo>
                <a:lnTo>
                  <a:pt x="2060981" y="2001926"/>
                </a:lnTo>
                <a:lnTo>
                  <a:pt x="2072474" y="2044458"/>
                </a:lnTo>
                <a:lnTo>
                  <a:pt x="2090762" y="2083612"/>
                </a:lnTo>
                <a:lnTo>
                  <a:pt x="2115159" y="2118690"/>
                </a:lnTo>
                <a:lnTo>
                  <a:pt x="2144966" y="2148979"/>
                </a:lnTo>
                <a:lnTo>
                  <a:pt x="2179485" y="2173782"/>
                </a:lnTo>
                <a:lnTo>
                  <a:pt x="2218017" y="2192375"/>
                </a:lnTo>
                <a:lnTo>
                  <a:pt x="2259863" y="2204047"/>
                </a:lnTo>
                <a:lnTo>
                  <a:pt x="2304313" y="2208098"/>
                </a:lnTo>
                <a:lnTo>
                  <a:pt x="2348776" y="2204047"/>
                </a:lnTo>
                <a:lnTo>
                  <a:pt x="2390610" y="2192375"/>
                </a:lnTo>
                <a:lnTo>
                  <a:pt x="2429141" y="2173782"/>
                </a:lnTo>
                <a:lnTo>
                  <a:pt x="2463660" y="2148979"/>
                </a:lnTo>
                <a:lnTo>
                  <a:pt x="2493467" y="2118690"/>
                </a:lnTo>
                <a:lnTo>
                  <a:pt x="2517864" y="2083612"/>
                </a:lnTo>
                <a:lnTo>
                  <a:pt x="2536164" y="2044458"/>
                </a:lnTo>
                <a:lnTo>
                  <a:pt x="2547645" y="2001926"/>
                </a:lnTo>
                <a:lnTo>
                  <a:pt x="2551633" y="1956752"/>
                </a:lnTo>
                <a:close/>
              </a:path>
              <a:path w="3693795" h="4721860">
                <a:moveTo>
                  <a:pt x="2845346" y="10020"/>
                </a:moveTo>
                <a:lnTo>
                  <a:pt x="1323581" y="10020"/>
                </a:lnTo>
                <a:lnTo>
                  <a:pt x="1314577" y="48120"/>
                </a:lnTo>
                <a:lnTo>
                  <a:pt x="1324521" y="98920"/>
                </a:lnTo>
                <a:lnTo>
                  <a:pt x="1351661" y="137020"/>
                </a:lnTo>
                <a:lnTo>
                  <a:pt x="1391920" y="162420"/>
                </a:lnTo>
                <a:lnTo>
                  <a:pt x="1441234" y="175120"/>
                </a:lnTo>
                <a:lnTo>
                  <a:pt x="2424163" y="175120"/>
                </a:lnTo>
                <a:lnTo>
                  <a:pt x="2406192" y="225920"/>
                </a:lnTo>
                <a:lnTo>
                  <a:pt x="2386253" y="264020"/>
                </a:lnTo>
                <a:lnTo>
                  <a:pt x="2364435" y="314820"/>
                </a:lnTo>
                <a:lnTo>
                  <a:pt x="2340800" y="365620"/>
                </a:lnTo>
                <a:lnTo>
                  <a:pt x="2315400" y="403720"/>
                </a:lnTo>
                <a:lnTo>
                  <a:pt x="2288298" y="454520"/>
                </a:lnTo>
                <a:lnTo>
                  <a:pt x="2259584" y="492620"/>
                </a:lnTo>
                <a:lnTo>
                  <a:pt x="1496834" y="492620"/>
                </a:lnTo>
                <a:lnTo>
                  <a:pt x="1447520" y="505320"/>
                </a:lnTo>
                <a:lnTo>
                  <a:pt x="1407261" y="530720"/>
                </a:lnTo>
                <a:lnTo>
                  <a:pt x="1380121" y="581520"/>
                </a:lnTo>
                <a:lnTo>
                  <a:pt x="1370177" y="619620"/>
                </a:lnTo>
                <a:lnTo>
                  <a:pt x="1380121" y="670420"/>
                </a:lnTo>
                <a:lnTo>
                  <a:pt x="1407261" y="721220"/>
                </a:lnTo>
                <a:lnTo>
                  <a:pt x="1447520" y="746620"/>
                </a:lnTo>
                <a:lnTo>
                  <a:pt x="2074989" y="746620"/>
                </a:lnTo>
                <a:lnTo>
                  <a:pt x="2044115" y="784720"/>
                </a:lnTo>
                <a:lnTo>
                  <a:pt x="2012492" y="822820"/>
                </a:lnTo>
                <a:lnTo>
                  <a:pt x="1980171" y="860920"/>
                </a:lnTo>
                <a:lnTo>
                  <a:pt x="1947189" y="899020"/>
                </a:lnTo>
                <a:lnTo>
                  <a:pt x="1913585" y="937120"/>
                </a:lnTo>
                <a:lnTo>
                  <a:pt x="1879396" y="975220"/>
                </a:lnTo>
                <a:lnTo>
                  <a:pt x="1844662" y="1013320"/>
                </a:lnTo>
                <a:lnTo>
                  <a:pt x="1809432" y="1051420"/>
                </a:lnTo>
                <a:lnTo>
                  <a:pt x="1773732" y="1089520"/>
                </a:lnTo>
                <a:lnTo>
                  <a:pt x="1737614" y="1127620"/>
                </a:lnTo>
                <a:lnTo>
                  <a:pt x="1701114" y="1165720"/>
                </a:lnTo>
                <a:lnTo>
                  <a:pt x="1627111" y="1241920"/>
                </a:lnTo>
                <a:lnTo>
                  <a:pt x="1589697" y="1267320"/>
                </a:lnTo>
                <a:lnTo>
                  <a:pt x="1400073" y="1457820"/>
                </a:lnTo>
                <a:lnTo>
                  <a:pt x="1361909" y="1483220"/>
                </a:lnTo>
                <a:lnTo>
                  <a:pt x="1247686" y="1597520"/>
                </a:lnTo>
                <a:lnTo>
                  <a:pt x="1128903" y="1699120"/>
                </a:lnTo>
                <a:lnTo>
                  <a:pt x="1085837" y="1749920"/>
                </a:lnTo>
                <a:lnTo>
                  <a:pt x="958227" y="1864220"/>
                </a:lnTo>
                <a:lnTo>
                  <a:pt x="874915" y="1940420"/>
                </a:lnTo>
                <a:lnTo>
                  <a:pt x="833920" y="1978520"/>
                </a:lnTo>
                <a:lnTo>
                  <a:pt x="793445" y="2016620"/>
                </a:lnTo>
                <a:lnTo>
                  <a:pt x="753503" y="2054720"/>
                </a:lnTo>
                <a:lnTo>
                  <a:pt x="714159" y="2092820"/>
                </a:lnTo>
                <a:lnTo>
                  <a:pt x="675462" y="2130920"/>
                </a:lnTo>
                <a:lnTo>
                  <a:pt x="637451" y="2169020"/>
                </a:lnTo>
                <a:lnTo>
                  <a:pt x="600176" y="2207120"/>
                </a:lnTo>
                <a:lnTo>
                  <a:pt x="563664" y="2245220"/>
                </a:lnTo>
                <a:lnTo>
                  <a:pt x="527977" y="2283320"/>
                </a:lnTo>
                <a:lnTo>
                  <a:pt x="493166" y="2321420"/>
                </a:lnTo>
                <a:lnTo>
                  <a:pt x="459270" y="2359520"/>
                </a:lnTo>
                <a:lnTo>
                  <a:pt x="426326" y="2397620"/>
                </a:lnTo>
                <a:lnTo>
                  <a:pt x="394373" y="2435720"/>
                </a:lnTo>
                <a:lnTo>
                  <a:pt x="363486" y="2473820"/>
                </a:lnTo>
                <a:lnTo>
                  <a:pt x="333692" y="2511920"/>
                </a:lnTo>
                <a:lnTo>
                  <a:pt x="305028" y="2550020"/>
                </a:lnTo>
                <a:lnTo>
                  <a:pt x="277558" y="2588120"/>
                </a:lnTo>
                <a:lnTo>
                  <a:pt x="251320" y="2626220"/>
                </a:lnTo>
                <a:lnTo>
                  <a:pt x="226352" y="2664320"/>
                </a:lnTo>
                <a:lnTo>
                  <a:pt x="202704" y="2702420"/>
                </a:lnTo>
                <a:lnTo>
                  <a:pt x="180428" y="2740520"/>
                </a:lnTo>
                <a:lnTo>
                  <a:pt x="159562" y="2778620"/>
                </a:lnTo>
                <a:lnTo>
                  <a:pt x="140144" y="2816720"/>
                </a:lnTo>
                <a:lnTo>
                  <a:pt x="122237" y="2854820"/>
                </a:lnTo>
                <a:lnTo>
                  <a:pt x="105879" y="2892920"/>
                </a:lnTo>
                <a:lnTo>
                  <a:pt x="91122" y="2931020"/>
                </a:lnTo>
                <a:lnTo>
                  <a:pt x="77990" y="2956420"/>
                </a:lnTo>
                <a:lnTo>
                  <a:pt x="56781" y="3032620"/>
                </a:lnTo>
                <a:lnTo>
                  <a:pt x="39179" y="3096120"/>
                </a:lnTo>
                <a:lnTo>
                  <a:pt x="25031" y="3159620"/>
                </a:lnTo>
                <a:lnTo>
                  <a:pt x="14198" y="3235820"/>
                </a:lnTo>
                <a:lnTo>
                  <a:pt x="6502" y="3299320"/>
                </a:lnTo>
                <a:lnTo>
                  <a:pt x="1828" y="3362820"/>
                </a:lnTo>
                <a:lnTo>
                  <a:pt x="0" y="3426320"/>
                </a:lnTo>
                <a:lnTo>
                  <a:pt x="863" y="3489820"/>
                </a:lnTo>
                <a:lnTo>
                  <a:pt x="4305" y="3540620"/>
                </a:lnTo>
                <a:lnTo>
                  <a:pt x="10134" y="3604120"/>
                </a:lnTo>
                <a:lnTo>
                  <a:pt x="18224" y="3667620"/>
                </a:lnTo>
                <a:lnTo>
                  <a:pt x="28422" y="3718420"/>
                </a:lnTo>
                <a:lnTo>
                  <a:pt x="40576" y="3781920"/>
                </a:lnTo>
                <a:lnTo>
                  <a:pt x="54521" y="3832720"/>
                </a:lnTo>
                <a:lnTo>
                  <a:pt x="70142" y="3883520"/>
                </a:lnTo>
                <a:lnTo>
                  <a:pt x="87249" y="3934320"/>
                </a:lnTo>
                <a:lnTo>
                  <a:pt x="105727" y="3985120"/>
                </a:lnTo>
                <a:lnTo>
                  <a:pt x="125399" y="4035920"/>
                </a:lnTo>
                <a:lnTo>
                  <a:pt x="146138" y="4086720"/>
                </a:lnTo>
                <a:lnTo>
                  <a:pt x="167767" y="4124820"/>
                </a:lnTo>
                <a:lnTo>
                  <a:pt x="190169" y="4175620"/>
                </a:lnTo>
                <a:lnTo>
                  <a:pt x="213169" y="4213720"/>
                </a:lnTo>
                <a:lnTo>
                  <a:pt x="236613" y="4251820"/>
                </a:lnTo>
                <a:lnTo>
                  <a:pt x="260375" y="4302620"/>
                </a:lnTo>
                <a:lnTo>
                  <a:pt x="284302" y="4340720"/>
                </a:lnTo>
                <a:lnTo>
                  <a:pt x="308216" y="4366120"/>
                </a:lnTo>
                <a:lnTo>
                  <a:pt x="332003" y="4404220"/>
                </a:lnTo>
                <a:lnTo>
                  <a:pt x="355485" y="4442320"/>
                </a:lnTo>
                <a:lnTo>
                  <a:pt x="378536" y="4467720"/>
                </a:lnTo>
                <a:lnTo>
                  <a:pt x="400977" y="4493120"/>
                </a:lnTo>
                <a:lnTo>
                  <a:pt x="422681" y="4518520"/>
                </a:lnTo>
                <a:lnTo>
                  <a:pt x="443496" y="4543920"/>
                </a:lnTo>
                <a:lnTo>
                  <a:pt x="463270" y="4569320"/>
                </a:lnTo>
                <a:lnTo>
                  <a:pt x="481838" y="4594720"/>
                </a:lnTo>
                <a:lnTo>
                  <a:pt x="499071" y="4607420"/>
                </a:lnTo>
                <a:lnTo>
                  <a:pt x="514807" y="4632820"/>
                </a:lnTo>
                <a:lnTo>
                  <a:pt x="528904" y="4645520"/>
                </a:lnTo>
                <a:lnTo>
                  <a:pt x="541210" y="4658220"/>
                </a:lnTo>
                <a:lnTo>
                  <a:pt x="551573" y="4658220"/>
                </a:lnTo>
                <a:lnTo>
                  <a:pt x="559841" y="4670920"/>
                </a:lnTo>
                <a:lnTo>
                  <a:pt x="565861" y="4683620"/>
                </a:lnTo>
                <a:lnTo>
                  <a:pt x="569493" y="4683620"/>
                </a:lnTo>
                <a:lnTo>
                  <a:pt x="597319" y="4696320"/>
                </a:lnTo>
                <a:lnTo>
                  <a:pt x="627621" y="4721720"/>
                </a:lnTo>
                <a:lnTo>
                  <a:pt x="729513" y="4721720"/>
                </a:lnTo>
                <a:lnTo>
                  <a:pt x="765454" y="4709020"/>
                </a:lnTo>
                <a:lnTo>
                  <a:pt x="828370" y="4670920"/>
                </a:lnTo>
                <a:lnTo>
                  <a:pt x="856284" y="4632820"/>
                </a:lnTo>
                <a:lnTo>
                  <a:pt x="872045" y="4582020"/>
                </a:lnTo>
                <a:lnTo>
                  <a:pt x="875779" y="4531220"/>
                </a:lnTo>
                <a:lnTo>
                  <a:pt x="867625" y="4493120"/>
                </a:lnTo>
                <a:lnTo>
                  <a:pt x="847686" y="4442320"/>
                </a:lnTo>
                <a:lnTo>
                  <a:pt x="816102" y="4404220"/>
                </a:lnTo>
                <a:lnTo>
                  <a:pt x="807847" y="4404220"/>
                </a:lnTo>
                <a:lnTo>
                  <a:pt x="791743" y="4378820"/>
                </a:lnTo>
                <a:lnTo>
                  <a:pt x="768921" y="4366120"/>
                </a:lnTo>
                <a:lnTo>
                  <a:pt x="740473" y="4328020"/>
                </a:lnTo>
                <a:lnTo>
                  <a:pt x="707555" y="4289920"/>
                </a:lnTo>
                <a:lnTo>
                  <a:pt x="671258" y="4251820"/>
                </a:lnTo>
                <a:lnTo>
                  <a:pt x="632701" y="4201020"/>
                </a:lnTo>
                <a:lnTo>
                  <a:pt x="553326" y="4074020"/>
                </a:lnTo>
                <a:lnTo>
                  <a:pt x="514731" y="3997820"/>
                </a:lnTo>
                <a:lnTo>
                  <a:pt x="1159827" y="3997820"/>
                </a:lnTo>
                <a:lnTo>
                  <a:pt x="1200086" y="3959720"/>
                </a:lnTo>
                <a:lnTo>
                  <a:pt x="1227226" y="3921620"/>
                </a:lnTo>
                <a:lnTo>
                  <a:pt x="1237170" y="3870820"/>
                </a:lnTo>
                <a:lnTo>
                  <a:pt x="1227226" y="3820020"/>
                </a:lnTo>
                <a:lnTo>
                  <a:pt x="1200086" y="3781920"/>
                </a:lnTo>
                <a:lnTo>
                  <a:pt x="1159827" y="3756520"/>
                </a:lnTo>
                <a:lnTo>
                  <a:pt x="1110513" y="3743820"/>
                </a:lnTo>
                <a:lnTo>
                  <a:pt x="413499" y="3743820"/>
                </a:lnTo>
                <a:lnTo>
                  <a:pt x="401281" y="3705720"/>
                </a:lnTo>
                <a:lnTo>
                  <a:pt x="390766" y="3654920"/>
                </a:lnTo>
                <a:lnTo>
                  <a:pt x="382104" y="3604120"/>
                </a:lnTo>
                <a:lnTo>
                  <a:pt x="375450" y="3553320"/>
                </a:lnTo>
                <a:lnTo>
                  <a:pt x="370941" y="3502520"/>
                </a:lnTo>
                <a:lnTo>
                  <a:pt x="368731" y="3451720"/>
                </a:lnTo>
                <a:lnTo>
                  <a:pt x="1493862" y="3451720"/>
                </a:lnTo>
                <a:lnTo>
                  <a:pt x="1543177" y="3439020"/>
                </a:lnTo>
                <a:lnTo>
                  <a:pt x="1583436" y="3413620"/>
                </a:lnTo>
                <a:lnTo>
                  <a:pt x="1610575" y="3375520"/>
                </a:lnTo>
                <a:lnTo>
                  <a:pt x="1620520" y="3324720"/>
                </a:lnTo>
                <a:lnTo>
                  <a:pt x="1610575" y="3273920"/>
                </a:lnTo>
                <a:lnTo>
                  <a:pt x="1583436" y="3235820"/>
                </a:lnTo>
                <a:lnTo>
                  <a:pt x="1543177" y="3210420"/>
                </a:lnTo>
                <a:lnTo>
                  <a:pt x="1493862" y="3197720"/>
                </a:lnTo>
                <a:lnTo>
                  <a:pt x="393382" y="3197720"/>
                </a:lnTo>
                <a:lnTo>
                  <a:pt x="400278" y="3172320"/>
                </a:lnTo>
                <a:lnTo>
                  <a:pt x="408038" y="3134220"/>
                </a:lnTo>
                <a:lnTo>
                  <a:pt x="416763" y="3108820"/>
                </a:lnTo>
                <a:lnTo>
                  <a:pt x="426529" y="3083420"/>
                </a:lnTo>
                <a:lnTo>
                  <a:pt x="441350" y="3032620"/>
                </a:lnTo>
                <a:lnTo>
                  <a:pt x="459257" y="2994520"/>
                </a:lnTo>
                <a:lnTo>
                  <a:pt x="480085" y="2956420"/>
                </a:lnTo>
                <a:lnTo>
                  <a:pt x="503656" y="2918320"/>
                </a:lnTo>
                <a:lnTo>
                  <a:pt x="529818" y="2867520"/>
                </a:lnTo>
                <a:lnTo>
                  <a:pt x="1442580" y="2867520"/>
                </a:lnTo>
                <a:lnTo>
                  <a:pt x="1482839" y="2829420"/>
                </a:lnTo>
                <a:lnTo>
                  <a:pt x="1509979" y="2791320"/>
                </a:lnTo>
                <a:lnTo>
                  <a:pt x="1519923" y="2740520"/>
                </a:lnTo>
                <a:lnTo>
                  <a:pt x="1509979" y="2702420"/>
                </a:lnTo>
                <a:lnTo>
                  <a:pt x="1482839" y="2651620"/>
                </a:lnTo>
                <a:lnTo>
                  <a:pt x="1442580" y="2626220"/>
                </a:lnTo>
                <a:lnTo>
                  <a:pt x="1393266" y="2613520"/>
                </a:lnTo>
                <a:lnTo>
                  <a:pt x="723988" y="2613520"/>
                </a:lnTo>
                <a:lnTo>
                  <a:pt x="754214" y="2588120"/>
                </a:lnTo>
                <a:lnTo>
                  <a:pt x="785418" y="2550020"/>
                </a:lnTo>
                <a:lnTo>
                  <a:pt x="817549" y="2511920"/>
                </a:lnTo>
                <a:lnTo>
                  <a:pt x="850595" y="2486520"/>
                </a:lnTo>
                <a:lnTo>
                  <a:pt x="884466" y="2448420"/>
                </a:lnTo>
                <a:lnTo>
                  <a:pt x="919149" y="2410320"/>
                </a:lnTo>
                <a:lnTo>
                  <a:pt x="954570" y="2372220"/>
                </a:lnTo>
                <a:lnTo>
                  <a:pt x="990701" y="2334120"/>
                </a:lnTo>
                <a:lnTo>
                  <a:pt x="1027493" y="2308720"/>
                </a:lnTo>
                <a:lnTo>
                  <a:pt x="1064895" y="2270620"/>
                </a:lnTo>
                <a:lnTo>
                  <a:pt x="1102842" y="2232520"/>
                </a:lnTo>
                <a:lnTo>
                  <a:pt x="1141323" y="2194420"/>
                </a:lnTo>
                <a:lnTo>
                  <a:pt x="1180261" y="2156320"/>
                </a:lnTo>
                <a:lnTo>
                  <a:pt x="1259370" y="2080120"/>
                </a:lnTo>
                <a:lnTo>
                  <a:pt x="1339773" y="2003920"/>
                </a:lnTo>
                <a:lnTo>
                  <a:pt x="1380350" y="1978520"/>
                </a:lnTo>
                <a:lnTo>
                  <a:pt x="1460766" y="1902320"/>
                </a:lnTo>
                <a:lnTo>
                  <a:pt x="1737309" y="1635620"/>
                </a:lnTo>
                <a:lnTo>
                  <a:pt x="1776310" y="1597520"/>
                </a:lnTo>
                <a:lnTo>
                  <a:pt x="1815109" y="1572120"/>
                </a:lnTo>
                <a:lnTo>
                  <a:pt x="1891931" y="1495920"/>
                </a:lnTo>
                <a:lnTo>
                  <a:pt x="1967534" y="1419720"/>
                </a:lnTo>
                <a:lnTo>
                  <a:pt x="2004809" y="1381620"/>
                </a:lnTo>
                <a:lnTo>
                  <a:pt x="2041690" y="1343520"/>
                </a:lnTo>
                <a:lnTo>
                  <a:pt x="2078139" y="1305420"/>
                </a:lnTo>
                <a:lnTo>
                  <a:pt x="2114143" y="1267320"/>
                </a:lnTo>
                <a:lnTo>
                  <a:pt x="2149665" y="1229220"/>
                </a:lnTo>
                <a:lnTo>
                  <a:pt x="2184679" y="1191120"/>
                </a:lnTo>
                <a:lnTo>
                  <a:pt x="2219147" y="1153020"/>
                </a:lnTo>
                <a:lnTo>
                  <a:pt x="2253030" y="1114920"/>
                </a:lnTo>
                <a:lnTo>
                  <a:pt x="2286330" y="1076820"/>
                </a:lnTo>
                <a:lnTo>
                  <a:pt x="2318982" y="1038720"/>
                </a:lnTo>
                <a:lnTo>
                  <a:pt x="2350986" y="1000620"/>
                </a:lnTo>
                <a:lnTo>
                  <a:pt x="2382291" y="962520"/>
                </a:lnTo>
                <a:lnTo>
                  <a:pt x="2412873" y="924420"/>
                </a:lnTo>
                <a:lnTo>
                  <a:pt x="2442705" y="886320"/>
                </a:lnTo>
                <a:lnTo>
                  <a:pt x="2471763" y="848220"/>
                </a:lnTo>
                <a:lnTo>
                  <a:pt x="2499995" y="797420"/>
                </a:lnTo>
                <a:lnTo>
                  <a:pt x="2527401" y="759320"/>
                </a:lnTo>
                <a:lnTo>
                  <a:pt x="2553932" y="721220"/>
                </a:lnTo>
                <a:lnTo>
                  <a:pt x="2579560" y="683120"/>
                </a:lnTo>
                <a:lnTo>
                  <a:pt x="2604262" y="645020"/>
                </a:lnTo>
                <a:lnTo>
                  <a:pt x="2627998" y="606920"/>
                </a:lnTo>
                <a:lnTo>
                  <a:pt x="2650744" y="568820"/>
                </a:lnTo>
                <a:lnTo>
                  <a:pt x="2672473" y="518020"/>
                </a:lnTo>
                <a:lnTo>
                  <a:pt x="2693162" y="479920"/>
                </a:lnTo>
                <a:lnTo>
                  <a:pt x="2712758" y="441820"/>
                </a:lnTo>
                <a:lnTo>
                  <a:pt x="2731249" y="403720"/>
                </a:lnTo>
                <a:lnTo>
                  <a:pt x="2748610" y="365620"/>
                </a:lnTo>
                <a:lnTo>
                  <a:pt x="2764790" y="314820"/>
                </a:lnTo>
                <a:lnTo>
                  <a:pt x="2779776" y="276720"/>
                </a:lnTo>
                <a:lnTo>
                  <a:pt x="2793530" y="238620"/>
                </a:lnTo>
                <a:lnTo>
                  <a:pt x="2806039" y="187820"/>
                </a:lnTo>
                <a:lnTo>
                  <a:pt x="2817241" y="149720"/>
                </a:lnTo>
                <a:lnTo>
                  <a:pt x="2827134" y="111620"/>
                </a:lnTo>
                <a:lnTo>
                  <a:pt x="2835681" y="73520"/>
                </a:lnTo>
                <a:lnTo>
                  <a:pt x="2842857" y="22720"/>
                </a:lnTo>
                <a:lnTo>
                  <a:pt x="2845346" y="10020"/>
                </a:lnTo>
                <a:close/>
              </a:path>
              <a:path w="3693795" h="4721860">
                <a:moveTo>
                  <a:pt x="3506774" y="1344333"/>
                </a:moveTo>
                <a:lnTo>
                  <a:pt x="3503396" y="1297622"/>
                </a:lnTo>
                <a:lnTo>
                  <a:pt x="3493605" y="1253045"/>
                </a:lnTo>
                <a:lnTo>
                  <a:pt x="3477857" y="1211084"/>
                </a:lnTo>
                <a:lnTo>
                  <a:pt x="3456660" y="1172222"/>
                </a:lnTo>
                <a:lnTo>
                  <a:pt x="3430473" y="1136954"/>
                </a:lnTo>
                <a:lnTo>
                  <a:pt x="3399790" y="1105776"/>
                </a:lnTo>
                <a:lnTo>
                  <a:pt x="3365093" y="1079169"/>
                </a:lnTo>
                <a:lnTo>
                  <a:pt x="3326854" y="1057630"/>
                </a:lnTo>
                <a:lnTo>
                  <a:pt x="3285566" y="1041628"/>
                </a:lnTo>
                <a:lnTo>
                  <a:pt x="3241700" y="1031671"/>
                </a:lnTo>
                <a:lnTo>
                  <a:pt x="3195739" y="1028242"/>
                </a:lnTo>
                <a:lnTo>
                  <a:pt x="3149777" y="1031671"/>
                </a:lnTo>
                <a:lnTo>
                  <a:pt x="3105899" y="1041628"/>
                </a:lnTo>
                <a:lnTo>
                  <a:pt x="3064611" y="1057630"/>
                </a:lnTo>
                <a:lnTo>
                  <a:pt x="3026372" y="1079169"/>
                </a:lnTo>
                <a:lnTo>
                  <a:pt x="2991675" y="1105776"/>
                </a:lnTo>
                <a:lnTo>
                  <a:pt x="2960992" y="1136954"/>
                </a:lnTo>
                <a:lnTo>
                  <a:pt x="2934805" y="1172222"/>
                </a:lnTo>
                <a:lnTo>
                  <a:pt x="2913608" y="1211084"/>
                </a:lnTo>
                <a:lnTo>
                  <a:pt x="2897873" y="1253045"/>
                </a:lnTo>
                <a:lnTo>
                  <a:pt x="2888069" y="1297622"/>
                </a:lnTo>
                <a:lnTo>
                  <a:pt x="2884703" y="1344333"/>
                </a:lnTo>
                <a:lnTo>
                  <a:pt x="2888069" y="1391043"/>
                </a:lnTo>
                <a:lnTo>
                  <a:pt x="2897873" y="1435633"/>
                </a:lnTo>
                <a:lnTo>
                  <a:pt x="2913608" y="1477594"/>
                </a:lnTo>
                <a:lnTo>
                  <a:pt x="2934805" y="1516456"/>
                </a:lnTo>
                <a:lnTo>
                  <a:pt x="2960992" y="1551711"/>
                </a:lnTo>
                <a:lnTo>
                  <a:pt x="2991675" y="1582902"/>
                </a:lnTo>
                <a:lnTo>
                  <a:pt x="3026372" y="1609509"/>
                </a:lnTo>
                <a:lnTo>
                  <a:pt x="3064611" y="1631048"/>
                </a:lnTo>
                <a:lnTo>
                  <a:pt x="3105899" y="1647050"/>
                </a:lnTo>
                <a:lnTo>
                  <a:pt x="3149777" y="1657007"/>
                </a:lnTo>
                <a:lnTo>
                  <a:pt x="3195739" y="1660423"/>
                </a:lnTo>
                <a:lnTo>
                  <a:pt x="3241700" y="1657007"/>
                </a:lnTo>
                <a:lnTo>
                  <a:pt x="3285566" y="1647050"/>
                </a:lnTo>
                <a:lnTo>
                  <a:pt x="3326854" y="1631048"/>
                </a:lnTo>
                <a:lnTo>
                  <a:pt x="3365093" y="1609509"/>
                </a:lnTo>
                <a:lnTo>
                  <a:pt x="3399790" y="1582902"/>
                </a:lnTo>
                <a:lnTo>
                  <a:pt x="3430473" y="1551711"/>
                </a:lnTo>
                <a:lnTo>
                  <a:pt x="3456660" y="1516456"/>
                </a:lnTo>
                <a:lnTo>
                  <a:pt x="3477857" y="1477594"/>
                </a:lnTo>
                <a:lnTo>
                  <a:pt x="3493605" y="1435633"/>
                </a:lnTo>
                <a:lnTo>
                  <a:pt x="3503396" y="1391043"/>
                </a:lnTo>
                <a:lnTo>
                  <a:pt x="3506774" y="1344333"/>
                </a:lnTo>
                <a:close/>
              </a:path>
              <a:path w="3693795" h="4721860">
                <a:moveTo>
                  <a:pt x="3508527" y="2550566"/>
                </a:moveTo>
                <a:lnTo>
                  <a:pt x="3505873" y="2503855"/>
                </a:lnTo>
                <a:lnTo>
                  <a:pt x="3498113" y="2458732"/>
                </a:lnTo>
                <a:lnTo>
                  <a:pt x="3485540" y="2415476"/>
                </a:lnTo>
                <a:lnTo>
                  <a:pt x="3468459" y="2374417"/>
                </a:lnTo>
                <a:lnTo>
                  <a:pt x="3447161" y="2335834"/>
                </a:lnTo>
                <a:lnTo>
                  <a:pt x="3421938" y="2300046"/>
                </a:lnTo>
                <a:lnTo>
                  <a:pt x="3393084" y="2267331"/>
                </a:lnTo>
                <a:lnTo>
                  <a:pt x="3360890" y="2238006"/>
                </a:lnTo>
                <a:lnTo>
                  <a:pt x="3325672" y="2212378"/>
                </a:lnTo>
                <a:lnTo>
                  <a:pt x="3287712" y="2190724"/>
                </a:lnTo>
                <a:lnTo>
                  <a:pt x="3247301" y="2173363"/>
                </a:lnTo>
                <a:lnTo>
                  <a:pt x="3204756" y="2160587"/>
                </a:lnTo>
                <a:lnTo>
                  <a:pt x="3160344" y="2152713"/>
                </a:lnTo>
                <a:lnTo>
                  <a:pt x="3114383" y="2150008"/>
                </a:lnTo>
                <a:lnTo>
                  <a:pt x="3068409" y="2152713"/>
                </a:lnTo>
                <a:lnTo>
                  <a:pt x="3024009" y="2160587"/>
                </a:lnTo>
                <a:lnTo>
                  <a:pt x="2981452" y="2173363"/>
                </a:lnTo>
                <a:lnTo>
                  <a:pt x="2941040" y="2190724"/>
                </a:lnTo>
                <a:lnTo>
                  <a:pt x="2903080" y="2212378"/>
                </a:lnTo>
                <a:lnTo>
                  <a:pt x="2867863" y="2238006"/>
                </a:lnTo>
                <a:lnTo>
                  <a:pt x="2835681" y="2267331"/>
                </a:lnTo>
                <a:lnTo>
                  <a:pt x="2806827" y="2300046"/>
                </a:lnTo>
                <a:lnTo>
                  <a:pt x="2781604" y="2335834"/>
                </a:lnTo>
                <a:lnTo>
                  <a:pt x="2760294" y="2374417"/>
                </a:lnTo>
                <a:lnTo>
                  <a:pt x="2743212" y="2415476"/>
                </a:lnTo>
                <a:lnTo>
                  <a:pt x="2730639" y="2458732"/>
                </a:lnTo>
                <a:lnTo>
                  <a:pt x="2722880" y="2503855"/>
                </a:lnTo>
                <a:lnTo>
                  <a:pt x="2720238" y="2550566"/>
                </a:lnTo>
                <a:lnTo>
                  <a:pt x="2722880" y="2597289"/>
                </a:lnTo>
                <a:lnTo>
                  <a:pt x="2730639" y="2642412"/>
                </a:lnTo>
                <a:lnTo>
                  <a:pt x="2743212" y="2685669"/>
                </a:lnTo>
                <a:lnTo>
                  <a:pt x="2760294" y="2726728"/>
                </a:lnTo>
                <a:lnTo>
                  <a:pt x="2781604" y="2765310"/>
                </a:lnTo>
                <a:lnTo>
                  <a:pt x="2806827" y="2801099"/>
                </a:lnTo>
                <a:lnTo>
                  <a:pt x="2835681" y="2833814"/>
                </a:lnTo>
                <a:lnTo>
                  <a:pt x="2867863" y="2863126"/>
                </a:lnTo>
                <a:lnTo>
                  <a:pt x="2903080" y="2888767"/>
                </a:lnTo>
                <a:lnTo>
                  <a:pt x="2941040" y="2910421"/>
                </a:lnTo>
                <a:lnTo>
                  <a:pt x="2981452" y="2927781"/>
                </a:lnTo>
                <a:lnTo>
                  <a:pt x="3024009" y="2940545"/>
                </a:lnTo>
                <a:lnTo>
                  <a:pt x="3068409" y="2948432"/>
                </a:lnTo>
                <a:lnTo>
                  <a:pt x="3114383" y="2951124"/>
                </a:lnTo>
                <a:lnTo>
                  <a:pt x="3160344" y="2948432"/>
                </a:lnTo>
                <a:lnTo>
                  <a:pt x="3204756" y="2940545"/>
                </a:lnTo>
                <a:lnTo>
                  <a:pt x="3247301" y="2927781"/>
                </a:lnTo>
                <a:lnTo>
                  <a:pt x="3287712" y="2910421"/>
                </a:lnTo>
                <a:lnTo>
                  <a:pt x="3325672" y="2888767"/>
                </a:lnTo>
                <a:lnTo>
                  <a:pt x="3360890" y="2863126"/>
                </a:lnTo>
                <a:lnTo>
                  <a:pt x="3393084" y="2833814"/>
                </a:lnTo>
                <a:lnTo>
                  <a:pt x="3421938" y="2801099"/>
                </a:lnTo>
                <a:lnTo>
                  <a:pt x="3447161" y="2765310"/>
                </a:lnTo>
                <a:lnTo>
                  <a:pt x="3468459" y="2726728"/>
                </a:lnTo>
                <a:lnTo>
                  <a:pt x="3485540" y="2685669"/>
                </a:lnTo>
                <a:lnTo>
                  <a:pt x="3498113" y="2642412"/>
                </a:lnTo>
                <a:lnTo>
                  <a:pt x="3505873" y="2597289"/>
                </a:lnTo>
                <a:lnTo>
                  <a:pt x="3508527" y="2550566"/>
                </a:lnTo>
                <a:close/>
              </a:path>
              <a:path w="3693795" h="4721860">
                <a:moveTo>
                  <a:pt x="3693350" y="317944"/>
                </a:moveTo>
                <a:lnTo>
                  <a:pt x="3689007" y="268770"/>
                </a:lnTo>
                <a:lnTo>
                  <a:pt x="3676510" y="222491"/>
                </a:lnTo>
                <a:lnTo>
                  <a:pt x="3656596" y="179870"/>
                </a:lnTo>
                <a:lnTo>
                  <a:pt x="3630041" y="141693"/>
                </a:lnTo>
                <a:lnTo>
                  <a:pt x="3597592" y="108724"/>
                </a:lnTo>
                <a:lnTo>
                  <a:pt x="3560026" y="81737"/>
                </a:lnTo>
                <a:lnTo>
                  <a:pt x="3518090" y="61506"/>
                </a:lnTo>
                <a:lnTo>
                  <a:pt x="3472548" y="48793"/>
                </a:lnTo>
                <a:lnTo>
                  <a:pt x="3424161" y="44386"/>
                </a:lnTo>
                <a:lnTo>
                  <a:pt x="3375774" y="48793"/>
                </a:lnTo>
                <a:lnTo>
                  <a:pt x="3330232" y="61506"/>
                </a:lnTo>
                <a:lnTo>
                  <a:pt x="3288296" y="81737"/>
                </a:lnTo>
                <a:lnTo>
                  <a:pt x="3250730" y="108724"/>
                </a:lnTo>
                <a:lnTo>
                  <a:pt x="3218281" y="141693"/>
                </a:lnTo>
                <a:lnTo>
                  <a:pt x="3191726" y="179870"/>
                </a:lnTo>
                <a:lnTo>
                  <a:pt x="3171812" y="222491"/>
                </a:lnTo>
                <a:lnTo>
                  <a:pt x="3159315" y="268770"/>
                </a:lnTo>
                <a:lnTo>
                  <a:pt x="3154972" y="317944"/>
                </a:lnTo>
                <a:lnTo>
                  <a:pt x="3159315" y="367118"/>
                </a:lnTo>
                <a:lnTo>
                  <a:pt x="3171812" y="413397"/>
                </a:lnTo>
                <a:lnTo>
                  <a:pt x="3191726" y="456018"/>
                </a:lnTo>
                <a:lnTo>
                  <a:pt x="3218281" y="494207"/>
                </a:lnTo>
                <a:lnTo>
                  <a:pt x="3250730" y="527177"/>
                </a:lnTo>
                <a:lnTo>
                  <a:pt x="3288296" y="554164"/>
                </a:lnTo>
                <a:lnTo>
                  <a:pt x="3330232" y="574395"/>
                </a:lnTo>
                <a:lnTo>
                  <a:pt x="3375774" y="587108"/>
                </a:lnTo>
                <a:lnTo>
                  <a:pt x="3424161" y="591515"/>
                </a:lnTo>
                <a:lnTo>
                  <a:pt x="3472548" y="587108"/>
                </a:lnTo>
                <a:lnTo>
                  <a:pt x="3518090" y="574395"/>
                </a:lnTo>
                <a:lnTo>
                  <a:pt x="3560026" y="554164"/>
                </a:lnTo>
                <a:lnTo>
                  <a:pt x="3597592" y="527177"/>
                </a:lnTo>
                <a:lnTo>
                  <a:pt x="3630041" y="494207"/>
                </a:lnTo>
                <a:lnTo>
                  <a:pt x="3656596" y="456018"/>
                </a:lnTo>
                <a:lnTo>
                  <a:pt x="3676510" y="413397"/>
                </a:lnTo>
                <a:lnTo>
                  <a:pt x="3689007" y="367118"/>
                </a:lnTo>
                <a:lnTo>
                  <a:pt x="3693350" y="317944"/>
                </a:lnTo>
                <a:close/>
              </a:path>
            </a:pathLst>
          </a:custGeom>
          <a:solidFill>
            <a:srgbClr val="00A79D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8209440"/>
      </p:ext>
    </p:extLst>
  </p:cSld>
  <p:clrMapOvr>
    <a:masterClrMapping/>
  </p:clrMapOvr>
  <p:hf sldNum="0"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365125"/>
            <a:ext cx="6479308" cy="4355493"/>
          </a:xfrm>
        </p:spPr>
        <p:txBody>
          <a:bodyPr anchor="t" anchorCtr="0">
            <a:normAutofit/>
          </a:bodyPr>
          <a:lstStyle>
            <a:lvl1pPr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862945"/>
            <a:ext cx="6479307" cy="501535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1680" y="6127750"/>
            <a:ext cx="89306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BACCD77F-6A9E-76FD-8A3A-2FBB9E8A1FB5}"/>
              </a:ext>
            </a:extLst>
          </p:cNvPr>
          <p:cNvSpPr/>
          <p:nvPr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9D62E2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93586341"/>
      </p:ext>
    </p:extLst>
  </p:cSld>
  <p:clrMapOvr>
    <a:masterClrMapping/>
  </p:clrMapOvr>
  <p:hf sldNum="0"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FC349D-7459-4846-947D-CBE48ADB0FFC}"/>
              </a:ext>
            </a:extLst>
          </p:cNvPr>
          <p:cNvGrpSpPr/>
          <p:nvPr/>
        </p:nvGrpSpPr>
        <p:grpSpPr>
          <a:xfrm>
            <a:off x="9597" y="4222076"/>
            <a:ext cx="5495304" cy="2633814"/>
            <a:chOff x="9597" y="4222076"/>
            <a:chExt cx="5495304" cy="2633814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A1C7CB09-C480-93D4-4E86-80749DC8482D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500E5BE-1EAF-781E-4732-256336562279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704A627A-3432-816F-D27C-B13AF7896B4A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E3117CA8-C356-BDA9-FD85-2EB03B137EEA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>
              <a:extLst>
                <a:ext uri="{FF2B5EF4-FFF2-40B4-BE49-F238E27FC236}">
                  <a16:creationId xmlns:a16="http://schemas.microsoft.com/office/drawing/2014/main" id="{D63CF557-1D03-CF27-546B-1151257DE682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>
              <a:extLst>
                <a:ext uri="{FF2B5EF4-FFF2-40B4-BE49-F238E27FC236}">
                  <a16:creationId xmlns:a16="http://schemas.microsoft.com/office/drawing/2014/main" id="{E6538FF3-DDE2-42CC-7C40-B64B8CC9397A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>
              <a:extLst>
                <a:ext uri="{FF2B5EF4-FFF2-40B4-BE49-F238E27FC236}">
                  <a16:creationId xmlns:a16="http://schemas.microsoft.com/office/drawing/2014/main" id="{E0B7C2DB-A4D1-95C8-95C5-D97562B895E0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C7B287D-6B69-02D5-6050-7FEFF483FD0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254500" y="62408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EDCDDA5-3A8E-2128-C19E-103FF1AA91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649223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3234569"/>
      </p:ext>
    </p:extLst>
  </p:cSld>
  <p:clrMapOvr>
    <a:masterClrMapping/>
  </p:clrMapOvr>
  <p:hf sldNum="0"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74673720-C835-BE5C-5C80-3FD8DB241F01}"/>
              </a:ext>
            </a:extLst>
          </p:cNvPr>
          <p:cNvSpPr/>
          <p:nvPr/>
        </p:nvSpPr>
        <p:spPr>
          <a:xfrm>
            <a:off x="11017319" y="4297582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46D95486-8AE6-9324-FF15-FB06241C299A}"/>
              </a:ext>
            </a:extLst>
          </p:cNvPr>
          <p:cNvSpPr/>
          <p:nvPr/>
        </p:nvSpPr>
        <p:spPr>
          <a:xfrm>
            <a:off x="10858176" y="4794163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6EE743A1-10E0-9B86-6AD1-E9B92D62DCE7}"/>
              </a:ext>
            </a:extLst>
          </p:cNvPr>
          <p:cNvSpPr/>
          <p:nvPr/>
        </p:nvSpPr>
        <p:spPr>
          <a:xfrm>
            <a:off x="10211952" y="5003948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E8D99936-C791-EC50-A678-76F12A1EC831}"/>
              </a:ext>
            </a:extLst>
          </p:cNvPr>
          <p:cNvSpPr/>
          <p:nvPr/>
        </p:nvSpPr>
        <p:spPr>
          <a:xfrm>
            <a:off x="9239151" y="4572895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3A7B13D2-0D85-68C1-7844-658E315F6177}"/>
              </a:ext>
            </a:extLst>
          </p:cNvPr>
          <p:cNvSpPr/>
          <p:nvPr/>
        </p:nvSpPr>
        <p:spPr>
          <a:xfrm>
            <a:off x="7173395" y="6277376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01DC0EFC-6C93-BFA0-523B-FE355A921294}"/>
              </a:ext>
            </a:extLst>
          </p:cNvPr>
          <p:cNvSpPr/>
          <p:nvPr/>
        </p:nvSpPr>
        <p:spPr>
          <a:xfrm>
            <a:off x="6464955" y="5911803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id="{34D1CC05-DC4E-8B38-D132-6D0E40FCB802}"/>
              </a:ext>
            </a:extLst>
          </p:cNvPr>
          <p:cNvSpPr/>
          <p:nvPr/>
        </p:nvSpPr>
        <p:spPr>
          <a:xfrm>
            <a:off x="6826903" y="3913649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4">
            <a:extLst>
              <a:ext uri="{FF2B5EF4-FFF2-40B4-BE49-F238E27FC236}">
                <a16:creationId xmlns:a16="http://schemas.microsoft.com/office/drawing/2014/main" id="{3439139F-F645-CA8D-5BF1-27B8526442E2}"/>
              </a:ext>
            </a:extLst>
          </p:cNvPr>
          <p:cNvSpPr/>
          <p:nvPr/>
        </p:nvSpPr>
        <p:spPr>
          <a:xfrm>
            <a:off x="8852061" y="5677297"/>
            <a:ext cx="1497988" cy="149798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1C70859E-DCA5-87BD-ACBD-C84DD8CAD7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965953D-FE9D-4CC7-8DA0-75C83642EEAC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086041" y="43104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5546EC1-A810-BD21-641C-B8D3468803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103120"/>
            <a:ext cx="5634596" cy="36372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80B015F-1A06-9783-C83F-0B002E388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9841" y="283845"/>
            <a:ext cx="570991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0050674"/>
      </p:ext>
    </p:extLst>
  </p:cSld>
  <p:clrMapOvr>
    <a:masterClrMapping/>
  </p:clrMapOvr>
  <p:hf sldNum="0"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0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FC349D-7459-4846-947D-CBE48ADB0FFC}"/>
              </a:ext>
            </a:extLst>
          </p:cNvPr>
          <p:cNvGrpSpPr/>
          <p:nvPr/>
        </p:nvGrpSpPr>
        <p:grpSpPr>
          <a:xfrm>
            <a:off x="9597" y="4222076"/>
            <a:ext cx="5495304" cy="2633814"/>
            <a:chOff x="9597" y="4222076"/>
            <a:chExt cx="5495304" cy="2633814"/>
          </a:xfrm>
          <a:solidFill>
            <a:srgbClr val="FFFFFF">
              <a:alpha val="14902"/>
            </a:srgbClr>
          </a:solidFill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A1C7CB09-C480-93D4-4E86-80749DC8482D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500E5BE-1EAF-781E-4732-256336562279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704A627A-3432-816F-D27C-B13AF7896B4A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E3117CA8-C356-BDA9-FD85-2EB03B137EEA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>
              <a:extLst>
                <a:ext uri="{FF2B5EF4-FFF2-40B4-BE49-F238E27FC236}">
                  <a16:creationId xmlns:a16="http://schemas.microsoft.com/office/drawing/2014/main" id="{D63CF557-1D03-CF27-546B-1151257DE682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>
              <a:extLst>
                <a:ext uri="{FF2B5EF4-FFF2-40B4-BE49-F238E27FC236}">
                  <a16:creationId xmlns:a16="http://schemas.microsoft.com/office/drawing/2014/main" id="{E6538FF3-DDE2-42CC-7C40-B64B8CC9397A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>
              <a:extLst>
                <a:ext uri="{FF2B5EF4-FFF2-40B4-BE49-F238E27FC236}">
                  <a16:creationId xmlns:a16="http://schemas.microsoft.com/office/drawing/2014/main" id="{E0B7C2DB-A4D1-95C8-95C5-D97562B895E0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40C06F99-8172-DCE1-7EFE-FF4F105EC10F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937730" y="-624301"/>
            <a:ext cx="8682510" cy="8565938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D5A134A-9500-7361-A12A-6B671873C9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B2A364B-A6CD-5EAF-DE9C-A1C82F55A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543559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9131184"/>
      </p:ext>
    </p:extLst>
  </p:cSld>
  <p:clrMapOvr>
    <a:masterClrMapping/>
  </p:clrMapOvr>
  <p:hf sldNum="0"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D4B2F3-8059-DBA5-4D44-29894B41DAB0}"/>
              </a:ext>
            </a:extLst>
          </p:cNvPr>
          <p:cNvGrpSpPr/>
          <p:nvPr/>
        </p:nvGrpSpPr>
        <p:grpSpPr>
          <a:xfrm>
            <a:off x="9598" y="0"/>
            <a:ext cx="5429576" cy="1714213"/>
            <a:chOff x="9598" y="0"/>
            <a:chExt cx="5429576" cy="1714213"/>
          </a:xfrm>
        </p:grpSpPr>
        <p:sp>
          <p:nvSpPr>
            <p:cNvPr id="4" name="object 3">
              <a:extLst>
                <a:ext uri="{FF2B5EF4-FFF2-40B4-BE49-F238E27FC236}">
                  <a16:creationId xmlns:a16="http://schemas.microsoft.com/office/drawing/2014/main" id="{E252FAA9-4B96-7A6B-6755-5360E5145F5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4">
              <a:extLst>
                <a:ext uri="{FF2B5EF4-FFF2-40B4-BE49-F238E27FC236}">
                  <a16:creationId xmlns:a16="http://schemas.microsoft.com/office/drawing/2014/main" id="{56DD7027-7ED1-92CB-BE49-E54EC1CD9B2F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574E6B3C-9B13-98CF-F82C-2B284F58AF9D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E9FF9299-C740-B26B-8D45-170AAA2348AC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2B962E37-FE51-2FC3-86B1-3D569395D98C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9B2A4857-919E-A8C5-E6FC-67973FDB4AF1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E02B544-A40A-C2C8-B48C-6F244BD0DFB6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284881" y="-715900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2A84FDF-B4A9-904D-3D86-7133D1D60D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367280"/>
            <a:ext cx="5360276" cy="36576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D8A16EC-8618-0864-AC9B-EAB51A18BF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881" y="1483360"/>
            <a:ext cx="6492239" cy="755968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9103034"/>
      </p:ext>
    </p:extLst>
  </p:cSld>
  <p:clrMapOvr>
    <a:masterClrMapping/>
  </p:clrMapOvr>
  <p:hf sldNum="0"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38F56F-30C0-B8AE-9A2D-75D458292098}"/>
              </a:ext>
            </a:extLst>
          </p:cNvPr>
          <p:cNvGrpSpPr/>
          <p:nvPr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17BFCD84-F3D5-2D67-1EF1-6EA656954F9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DC5B7BD2-C012-045B-C0AE-20165117D00C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46C39FBD-DAAB-94DF-35DC-C352F1542076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5658E3DE-4D80-E3F3-9EBE-7C75B09AA30F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591B4FBF-72FE-5A76-77F5-9B370934F24C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A151A684-DA1D-804F-5426-4B4A7A6B4C86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7467FD7-B03A-A783-6DAD-BFE1F429ED7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249137" y="-881221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C0E5294-F5B4-77CF-A37F-AB562DD1B1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661920"/>
            <a:ext cx="5634596" cy="3078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39FECD-897F-06F3-56D7-FC72D58F9B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8881" y="1615440"/>
            <a:ext cx="5709919" cy="907098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7607929"/>
      </p:ext>
    </p:extLst>
  </p:cSld>
  <p:clrMapOvr>
    <a:masterClrMapping/>
  </p:clrMapOvr>
  <p:hf sldNum="0"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-121920" y="-4957"/>
            <a:ext cx="1231976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D4B2F3-8059-DBA5-4D44-29894B41DAB0}"/>
              </a:ext>
            </a:extLst>
          </p:cNvPr>
          <p:cNvGrpSpPr/>
          <p:nvPr/>
        </p:nvGrpSpPr>
        <p:grpSpPr>
          <a:xfrm>
            <a:off x="-121920" y="-389572"/>
            <a:ext cx="5429576" cy="1714213"/>
            <a:chOff x="9598" y="0"/>
            <a:chExt cx="5429576" cy="1714213"/>
          </a:xfrm>
        </p:grpSpPr>
        <p:sp>
          <p:nvSpPr>
            <p:cNvPr id="4" name="object 3">
              <a:extLst>
                <a:ext uri="{FF2B5EF4-FFF2-40B4-BE49-F238E27FC236}">
                  <a16:creationId xmlns:a16="http://schemas.microsoft.com/office/drawing/2014/main" id="{E252FAA9-4B96-7A6B-6755-5360E5145F5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4">
              <a:extLst>
                <a:ext uri="{FF2B5EF4-FFF2-40B4-BE49-F238E27FC236}">
                  <a16:creationId xmlns:a16="http://schemas.microsoft.com/office/drawing/2014/main" id="{56DD7027-7ED1-92CB-BE49-E54EC1CD9B2F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574E6B3C-9B13-98CF-F82C-2B284F58AF9D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E9FF9299-C740-B26B-8D45-170AAA2348AC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2B962E37-FE51-2FC3-86B1-3D569395D98C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9B2A4857-919E-A8C5-E6FC-67973FDB4AF1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E6294C19-5D10-1A71-B204-31C0C2A5477A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169931" y="-897413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4356BD6-1C5C-9AA4-5362-F5FAC5EFE6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724" y="2184400"/>
            <a:ext cx="5360276" cy="38404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6EAF454-36EC-DCFE-55B7-5195E0BEF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649223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8495306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>
            <a:extLst>
              <a:ext uri="{FF2B5EF4-FFF2-40B4-BE49-F238E27FC236}">
                <a16:creationId xmlns:a16="http://schemas.microsoft.com/office/drawing/2014/main" id="{3EBB3160-CA27-C8B6-D23F-CD3FF6DEF018}"/>
              </a:ext>
            </a:extLst>
          </p:cNvPr>
          <p:cNvSpPr/>
          <p:nvPr userDrawn="1"/>
        </p:nvSpPr>
        <p:spPr>
          <a:xfrm>
            <a:off x="0" y="2304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E5C77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6" name="object 41">
            <a:extLst>
              <a:ext uri="{FF2B5EF4-FFF2-40B4-BE49-F238E27FC236}">
                <a16:creationId xmlns:a16="http://schemas.microsoft.com/office/drawing/2014/main" id="{1F265747-21F4-F8D5-7000-0C7551B15B3B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7" name="object 42">
              <a:extLst>
                <a:ext uri="{FF2B5EF4-FFF2-40B4-BE49-F238E27FC236}">
                  <a16:creationId xmlns:a16="http://schemas.microsoft.com/office/drawing/2014/main" id="{E1D2DE1E-9BDB-B3F5-F4EF-84B8C6E76140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8" name="object 43">
              <a:extLst>
                <a:ext uri="{FF2B5EF4-FFF2-40B4-BE49-F238E27FC236}">
                  <a16:creationId xmlns:a16="http://schemas.microsoft.com/office/drawing/2014/main" id="{5D372F6C-7566-B498-043D-AF7E960D8B59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9" name="object 44">
              <a:extLst>
                <a:ext uri="{FF2B5EF4-FFF2-40B4-BE49-F238E27FC236}">
                  <a16:creationId xmlns:a16="http://schemas.microsoft.com/office/drawing/2014/main" id="{1E0FB701-E23F-08F2-0FF8-429E562EFBA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0" name="bg object 22">
            <a:extLst>
              <a:ext uri="{FF2B5EF4-FFF2-40B4-BE49-F238E27FC236}">
                <a16:creationId xmlns:a16="http://schemas.microsoft.com/office/drawing/2014/main" id="{E49E1922-67A9-AF82-FCD4-D491460A739C}"/>
              </a:ext>
            </a:extLst>
          </p:cNvPr>
          <p:cNvSpPr/>
          <p:nvPr userDrawn="1"/>
        </p:nvSpPr>
        <p:spPr>
          <a:xfrm>
            <a:off x="7798070" y="0"/>
            <a:ext cx="4398117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>
              <a:alpha val="25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1179DA6-2F44-5B6F-989D-DAE932BB98EB}"/>
              </a:ext>
            </a:extLst>
          </p:cNvPr>
          <p:cNvGrpSpPr/>
          <p:nvPr userDrawn="1"/>
        </p:nvGrpSpPr>
        <p:grpSpPr>
          <a:xfrm>
            <a:off x="0" y="4184585"/>
            <a:ext cx="2767043" cy="2671139"/>
            <a:chOff x="0" y="4184585"/>
            <a:chExt cx="2767043" cy="2671139"/>
          </a:xfrm>
        </p:grpSpPr>
        <p:sp>
          <p:nvSpPr>
            <p:cNvPr id="12" name="bg object 23">
              <a:extLst>
                <a:ext uri="{FF2B5EF4-FFF2-40B4-BE49-F238E27FC236}">
                  <a16:creationId xmlns:a16="http://schemas.microsoft.com/office/drawing/2014/main" id="{012FF536-9F0D-1AF8-B975-16A4030FE206}"/>
                </a:ext>
              </a:extLst>
            </p:cNvPr>
            <p:cNvSpPr/>
            <p:nvPr/>
          </p:nvSpPr>
          <p:spPr>
            <a:xfrm>
              <a:off x="112905" y="6434855"/>
              <a:ext cx="625748" cy="229752"/>
            </a:xfrm>
            <a:custGeom>
              <a:avLst/>
              <a:gdLst/>
              <a:ahLst/>
              <a:cxnLst/>
              <a:rect l="l" t="t" r="r" b="b"/>
              <a:pathLst>
                <a:path w="688975" h="253365">
                  <a:moveTo>
                    <a:pt x="562178" y="0"/>
                  </a:moveTo>
                  <a:lnTo>
                    <a:pt x="126657" y="0"/>
                  </a:lnTo>
                  <a:lnTo>
                    <a:pt x="77340" y="9955"/>
                  </a:lnTo>
                  <a:lnTo>
                    <a:pt x="37082" y="37104"/>
                  </a:lnTo>
                  <a:lnTo>
                    <a:pt x="9947" y="77372"/>
                  </a:lnTo>
                  <a:lnTo>
                    <a:pt x="0" y="126682"/>
                  </a:lnTo>
                  <a:lnTo>
                    <a:pt x="9947" y="175992"/>
                  </a:lnTo>
                  <a:lnTo>
                    <a:pt x="37082" y="216260"/>
                  </a:lnTo>
                  <a:lnTo>
                    <a:pt x="77340" y="243409"/>
                  </a:lnTo>
                  <a:lnTo>
                    <a:pt x="126657" y="253365"/>
                  </a:lnTo>
                  <a:lnTo>
                    <a:pt x="562178" y="253365"/>
                  </a:lnTo>
                  <a:lnTo>
                    <a:pt x="611495" y="243409"/>
                  </a:lnTo>
                  <a:lnTo>
                    <a:pt x="651752" y="216260"/>
                  </a:lnTo>
                  <a:lnTo>
                    <a:pt x="678887" y="175992"/>
                  </a:lnTo>
                  <a:lnTo>
                    <a:pt x="688835" y="126682"/>
                  </a:lnTo>
                  <a:lnTo>
                    <a:pt x="678887" y="77372"/>
                  </a:lnTo>
                  <a:lnTo>
                    <a:pt x="651752" y="37104"/>
                  </a:lnTo>
                  <a:lnTo>
                    <a:pt x="611495" y="9955"/>
                  </a:lnTo>
                  <a:lnTo>
                    <a:pt x="56217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bg object 24">
              <a:extLst>
                <a:ext uri="{FF2B5EF4-FFF2-40B4-BE49-F238E27FC236}">
                  <a16:creationId xmlns:a16="http://schemas.microsoft.com/office/drawing/2014/main" id="{DC9193E7-CBF6-B6CC-E025-5DABC39F5ECA}"/>
                </a:ext>
              </a:extLst>
            </p:cNvPr>
            <p:cNvSpPr/>
            <p:nvPr/>
          </p:nvSpPr>
          <p:spPr>
            <a:xfrm>
              <a:off x="859747" y="5805431"/>
              <a:ext cx="827026" cy="1050293"/>
            </a:xfrm>
            <a:custGeom>
              <a:avLst/>
              <a:gdLst/>
              <a:ahLst/>
              <a:cxnLst/>
              <a:rect l="l" t="t" r="r" b="b"/>
              <a:pathLst>
                <a:path w="910589" h="1158240">
                  <a:moveTo>
                    <a:pt x="291990" y="0"/>
                  </a:moveTo>
                  <a:lnTo>
                    <a:pt x="246330" y="10089"/>
                  </a:lnTo>
                  <a:lnTo>
                    <a:pt x="204131" y="31774"/>
                  </a:lnTo>
                  <a:lnTo>
                    <a:pt x="167817" y="64816"/>
                  </a:lnTo>
                  <a:lnTo>
                    <a:pt x="141493" y="106257"/>
                  </a:lnTo>
                  <a:lnTo>
                    <a:pt x="127449" y="151637"/>
                  </a:lnTo>
                  <a:lnTo>
                    <a:pt x="125461" y="198494"/>
                  </a:lnTo>
                  <a:lnTo>
                    <a:pt x="135309" y="244368"/>
                  </a:lnTo>
                  <a:lnTo>
                    <a:pt x="156770" y="286798"/>
                  </a:lnTo>
                  <a:lnTo>
                    <a:pt x="189623" y="323324"/>
                  </a:lnTo>
                  <a:lnTo>
                    <a:pt x="197954" y="330740"/>
                  </a:lnTo>
                  <a:lnTo>
                    <a:pt x="215065" y="347032"/>
                  </a:lnTo>
                  <a:lnTo>
                    <a:pt x="269445" y="405507"/>
                  </a:lnTo>
                  <a:lnTo>
                    <a:pt x="303623" y="447320"/>
                  </a:lnTo>
                  <a:lnTo>
                    <a:pt x="340399" y="497272"/>
                  </a:lnTo>
                  <a:lnTo>
                    <a:pt x="378225" y="555177"/>
                  </a:lnTo>
                  <a:lnTo>
                    <a:pt x="415557" y="620853"/>
                  </a:lnTo>
                  <a:lnTo>
                    <a:pt x="450850" y="694113"/>
                  </a:lnTo>
                  <a:lnTo>
                    <a:pt x="126657" y="694113"/>
                  </a:lnTo>
                  <a:lnTo>
                    <a:pt x="77340" y="704069"/>
                  </a:lnTo>
                  <a:lnTo>
                    <a:pt x="37082" y="731218"/>
                  </a:lnTo>
                  <a:lnTo>
                    <a:pt x="9947" y="771485"/>
                  </a:lnTo>
                  <a:lnTo>
                    <a:pt x="0" y="820796"/>
                  </a:lnTo>
                  <a:lnTo>
                    <a:pt x="9947" y="870106"/>
                  </a:lnTo>
                  <a:lnTo>
                    <a:pt x="37082" y="910374"/>
                  </a:lnTo>
                  <a:lnTo>
                    <a:pt x="77340" y="937523"/>
                  </a:lnTo>
                  <a:lnTo>
                    <a:pt x="126657" y="947478"/>
                  </a:lnTo>
                  <a:lnTo>
                    <a:pt x="527037" y="947478"/>
                  </a:lnTo>
                  <a:lnTo>
                    <a:pt x="534042" y="994520"/>
                  </a:lnTo>
                  <a:lnTo>
                    <a:pt x="539062" y="1043080"/>
                  </a:lnTo>
                  <a:lnTo>
                    <a:pt x="541939" y="1093149"/>
                  </a:lnTo>
                  <a:lnTo>
                    <a:pt x="542511" y="1144718"/>
                  </a:lnTo>
                  <a:lnTo>
                    <a:pt x="542041" y="1157905"/>
                  </a:lnTo>
                  <a:lnTo>
                    <a:pt x="910242" y="1157905"/>
                  </a:lnTo>
                  <a:lnTo>
                    <a:pt x="909792" y="1082442"/>
                  </a:lnTo>
                  <a:lnTo>
                    <a:pt x="905768" y="1011691"/>
                  </a:lnTo>
                  <a:lnTo>
                    <a:pt x="898533" y="943192"/>
                  </a:lnTo>
                  <a:lnTo>
                    <a:pt x="888342" y="876971"/>
                  </a:lnTo>
                  <a:lnTo>
                    <a:pt x="875454" y="813056"/>
                  </a:lnTo>
                  <a:lnTo>
                    <a:pt x="860125" y="751473"/>
                  </a:lnTo>
                  <a:lnTo>
                    <a:pt x="842612" y="692250"/>
                  </a:lnTo>
                  <a:lnTo>
                    <a:pt x="823173" y="635413"/>
                  </a:lnTo>
                  <a:lnTo>
                    <a:pt x="802063" y="580991"/>
                  </a:lnTo>
                  <a:lnTo>
                    <a:pt x="779541" y="529010"/>
                  </a:lnTo>
                  <a:lnTo>
                    <a:pt x="755862" y="479497"/>
                  </a:lnTo>
                  <a:lnTo>
                    <a:pt x="731285" y="432480"/>
                  </a:lnTo>
                  <a:lnTo>
                    <a:pt x="706066" y="387985"/>
                  </a:lnTo>
                  <a:lnTo>
                    <a:pt x="680461" y="346039"/>
                  </a:lnTo>
                  <a:lnTo>
                    <a:pt x="654729" y="306670"/>
                  </a:lnTo>
                  <a:lnTo>
                    <a:pt x="629126" y="269906"/>
                  </a:lnTo>
                  <a:lnTo>
                    <a:pt x="603908" y="235772"/>
                  </a:lnTo>
                  <a:lnTo>
                    <a:pt x="579334" y="204296"/>
                  </a:lnTo>
                  <a:lnTo>
                    <a:pt x="533142" y="149427"/>
                  </a:lnTo>
                  <a:lnTo>
                    <a:pt x="492605" y="105516"/>
                  </a:lnTo>
                  <a:lnTo>
                    <a:pt x="459780" y="72781"/>
                  </a:lnTo>
                  <a:lnTo>
                    <a:pt x="425488" y="41702"/>
                  </a:lnTo>
                  <a:lnTo>
                    <a:pt x="383993" y="15566"/>
                  </a:lnTo>
                  <a:lnTo>
                    <a:pt x="338686" y="1745"/>
                  </a:lnTo>
                  <a:lnTo>
                    <a:pt x="29199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bg object 25">
              <a:extLst>
                <a:ext uri="{FF2B5EF4-FFF2-40B4-BE49-F238E27FC236}">
                  <a16:creationId xmlns:a16="http://schemas.microsoft.com/office/drawing/2014/main" id="{C1499BA4-E8C7-3B13-EB73-D7E5A024F6F1}"/>
                </a:ext>
              </a:extLst>
            </p:cNvPr>
            <p:cNvSpPr/>
            <p:nvPr/>
          </p:nvSpPr>
          <p:spPr>
            <a:xfrm>
              <a:off x="465830" y="5649760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bg object 26">
              <a:extLst>
                <a:ext uri="{FF2B5EF4-FFF2-40B4-BE49-F238E27FC236}">
                  <a16:creationId xmlns:a16="http://schemas.microsoft.com/office/drawing/2014/main" id="{BAF2F270-F520-5256-1A13-88753B966785}"/>
                </a:ext>
              </a:extLst>
            </p:cNvPr>
            <p:cNvSpPr/>
            <p:nvPr/>
          </p:nvSpPr>
          <p:spPr>
            <a:xfrm>
              <a:off x="1538145" y="5485645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09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bg object 27">
              <a:extLst>
                <a:ext uri="{FF2B5EF4-FFF2-40B4-BE49-F238E27FC236}">
                  <a16:creationId xmlns:a16="http://schemas.microsoft.com/office/drawing/2014/main" id="{8680BA9C-5F31-C21D-A980-22CC149FCB08}"/>
                </a:ext>
              </a:extLst>
            </p:cNvPr>
            <p:cNvSpPr/>
            <p:nvPr/>
          </p:nvSpPr>
          <p:spPr>
            <a:xfrm>
              <a:off x="1413231" y="4884901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10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bg object 28">
              <a:extLst>
                <a:ext uri="{FF2B5EF4-FFF2-40B4-BE49-F238E27FC236}">
                  <a16:creationId xmlns:a16="http://schemas.microsoft.com/office/drawing/2014/main" id="{764DA62F-52BC-833A-C4DD-A842EB4C2F92}"/>
                </a:ext>
              </a:extLst>
            </p:cNvPr>
            <p:cNvSpPr/>
            <p:nvPr/>
          </p:nvSpPr>
          <p:spPr>
            <a:xfrm>
              <a:off x="745586" y="5027755"/>
              <a:ext cx="416397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bg object 29">
              <a:extLst>
                <a:ext uri="{FF2B5EF4-FFF2-40B4-BE49-F238E27FC236}">
                  <a16:creationId xmlns:a16="http://schemas.microsoft.com/office/drawing/2014/main" id="{3E3A813A-BC09-90A1-0126-A506AD1F20D3}"/>
                </a:ext>
              </a:extLst>
            </p:cNvPr>
            <p:cNvSpPr/>
            <p:nvPr/>
          </p:nvSpPr>
          <p:spPr>
            <a:xfrm>
              <a:off x="2123992" y="5971316"/>
              <a:ext cx="643051" cy="652403"/>
            </a:xfrm>
            <a:custGeom>
              <a:avLst/>
              <a:gdLst/>
              <a:ahLst/>
              <a:cxnLst/>
              <a:rect l="l" t="t" r="r" b="b"/>
              <a:pathLst>
                <a:path w="708025" h="719454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103654" y="613962"/>
                  </a:lnTo>
                  <a:lnTo>
                    <a:pt x="137641" y="644364"/>
                  </a:lnTo>
                  <a:lnTo>
                    <a:pt x="175278" y="670199"/>
                  </a:lnTo>
                  <a:lnTo>
                    <a:pt x="216144" y="691039"/>
                  </a:lnTo>
                  <a:lnTo>
                    <a:pt x="259817" y="706455"/>
                  </a:lnTo>
                  <a:lnTo>
                    <a:pt x="305876" y="716019"/>
                  </a:lnTo>
                  <a:lnTo>
                    <a:pt x="353898" y="719302"/>
                  </a:lnTo>
                  <a:lnTo>
                    <a:pt x="401920" y="716019"/>
                  </a:lnTo>
                  <a:lnTo>
                    <a:pt x="447978" y="706455"/>
                  </a:lnTo>
                  <a:lnTo>
                    <a:pt x="491651" y="691039"/>
                  </a:lnTo>
                  <a:lnTo>
                    <a:pt x="532517" y="670199"/>
                  </a:lnTo>
                  <a:lnTo>
                    <a:pt x="570155" y="644364"/>
                  </a:lnTo>
                  <a:lnTo>
                    <a:pt x="604142" y="613962"/>
                  </a:lnTo>
                  <a:lnTo>
                    <a:pt x="634057" y="579422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bg object 30">
              <a:extLst>
                <a:ext uri="{FF2B5EF4-FFF2-40B4-BE49-F238E27FC236}">
                  <a16:creationId xmlns:a16="http://schemas.microsoft.com/office/drawing/2014/main" id="{D80260F0-006F-80ED-A187-F278F9CDEA7B}"/>
                </a:ext>
              </a:extLst>
            </p:cNvPr>
            <p:cNvSpPr/>
            <p:nvPr/>
          </p:nvSpPr>
          <p:spPr>
            <a:xfrm>
              <a:off x="528270" y="4184585"/>
              <a:ext cx="536933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5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5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bg object 31">
              <a:extLst>
                <a:ext uri="{FF2B5EF4-FFF2-40B4-BE49-F238E27FC236}">
                  <a16:creationId xmlns:a16="http://schemas.microsoft.com/office/drawing/2014/main" id="{E23A1099-90BC-41AF-13CD-F62E1BE0DB67}"/>
                </a:ext>
              </a:extLst>
            </p:cNvPr>
            <p:cNvSpPr/>
            <p:nvPr/>
          </p:nvSpPr>
          <p:spPr>
            <a:xfrm>
              <a:off x="0" y="4190048"/>
              <a:ext cx="326428" cy="1775824"/>
            </a:xfrm>
            <a:custGeom>
              <a:avLst/>
              <a:gdLst/>
              <a:ahLst/>
              <a:cxnLst/>
              <a:rect l="l" t="t" r="r" b="b"/>
              <a:pathLst>
                <a:path w="359410" h="1958340">
                  <a:moveTo>
                    <a:pt x="0" y="0"/>
                  </a:moveTo>
                  <a:lnTo>
                    <a:pt x="0" y="1957935"/>
                  </a:lnTo>
                  <a:lnTo>
                    <a:pt x="27343" y="1918542"/>
                  </a:lnTo>
                  <a:lnTo>
                    <a:pt x="53873" y="1878921"/>
                  </a:lnTo>
                  <a:lnTo>
                    <a:pt x="79503" y="1839152"/>
                  </a:lnTo>
                  <a:lnTo>
                    <a:pt x="104202" y="1799230"/>
                  </a:lnTo>
                  <a:lnTo>
                    <a:pt x="127941" y="1759153"/>
                  </a:lnTo>
                  <a:lnTo>
                    <a:pt x="150691" y="1718918"/>
                  </a:lnTo>
                  <a:lnTo>
                    <a:pt x="172420" y="1678522"/>
                  </a:lnTo>
                  <a:lnTo>
                    <a:pt x="193101" y="1637961"/>
                  </a:lnTo>
                  <a:lnTo>
                    <a:pt x="212701" y="1597233"/>
                  </a:lnTo>
                  <a:lnTo>
                    <a:pt x="231193" y="1556334"/>
                  </a:lnTo>
                  <a:lnTo>
                    <a:pt x="248546" y="1515262"/>
                  </a:lnTo>
                  <a:lnTo>
                    <a:pt x="264730" y="1474013"/>
                  </a:lnTo>
                  <a:lnTo>
                    <a:pt x="279716" y="1432583"/>
                  </a:lnTo>
                  <a:lnTo>
                    <a:pt x="293473" y="1390971"/>
                  </a:lnTo>
                  <a:lnTo>
                    <a:pt x="305972" y="1349173"/>
                  </a:lnTo>
                  <a:lnTo>
                    <a:pt x="317182" y="1307186"/>
                  </a:lnTo>
                  <a:lnTo>
                    <a:pt x="327075" y="1265006"/>
                  </a:lnTo>
                  <a:lnTo>
                    <a:pt x="335620" y="1222631"/>
                  </a:lnTo>
                  <a:lnTo>
                    <a:pt x="342788" y="1180057"/>
                  </a:lnTo>
                  <a:lnTo>
                    <a:pt x="348549" y="1137282"/>
                  </a:lnTo>
                  <a:lnTo>
                    <a:pt x="355702" y="1059942"/>
                  </a:lnTo>
                  <a:lnTo>
                    <a:pt x="358873" y="984771"/>
                  </a:lnTo>
                  <a:lnTo>
                    <a:pt x="358318" y="911798"/>
                  </a:lnTo>
                  <a:lnTo>
                    <a:pt x="354295" y="841048"/>
                  </a:lnTo>
                  <a:lnTo>
                    <a:pt x="347060" y="772550"/>
                  </a:lnTo>
                  <a:lnTo>
                    <a:pt x="336870" y="706330"/>
                  </a:lnTo>
                  <a:lnTo>
                    <a:pt x="323983" y="642415"/>
                  </a:lnTo>
                  <a:lnTo>
                    <a:pt x="308655" y="580833"/>
                  </a:lnTo>
                  <a:lnTo>
                    <a:pt x="291143" y="521610"/>
                  </a:lnTo>
                  <a:lnTo>
                    <a:pt x="271705" y="464775"/>
                  </a:lnTo>
                  <a:lnTo>
                    <a:pt x="250596" y="410353"/>
                  </a:lnTo>
                  <a:lnTo>
                    <a:pt x="228075" y="358372"/>
                  </a:lnTo>
                  <a:lnTo>
                    <a:pt x="204398" y="308860"/>
                  </a:lnTo>
                  <a:lnTo>
                    <a:pt x="179822" y="261843"/>
                  </a:lnTo>
                  <a:lnTo>
                    <a:pt x="154604" y="217348"/>
                  </a:lnTo>
                  <a:lnTo>
                    <a:pt x="129001" y="175403"/>
                  </a:lnTo>
                  <a:lnTo>
                    <a:pt x="103270" y="136034"/>
                  </a:lnTo>
                  <a:lnTo>
                    <a:pt x="77668" y="99270"/>
                  </a:lnTo>
                  <a:lnTo>
                    <a:pt x="52451" y="65136"/>
                  </a:lnTo>
                  <a:lnTo>
                    <a:pt x="27878" y="336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70901D-0772-6483-D106-1C6C5F3B0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696" y="6114954"/>
            <a:ext cx="887821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653" y="365125"/>
            <a:ext cx="8547587" cy="1325563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854E6-5AFC-01CC-D39F-9520230401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652" y="1825625"/>
            <a:ext cx="8547587" cy="3772535"/>
          </a:xfrm>
        </p:spPr>
        <p:txBody>
          <a:bodyPr>
            <a:normAutofit/>
          </a:bodyPr>
          <a:lstStyle>
            <a:lvl1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1pPr>
            <a:lvl2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2pPr>
            <a:lvl3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3pPr>
            <a:lvl4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4pPr>
            <a:lvl5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Quicksand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2" name="Picture 21" descr="A picture containing text&#10;&#10;Description automatically generated">
            <a:extLst>
              <a:ext uri="{FF2B5EF4-FFF2-40B4-BE49-F238E27FC236}">
                <a16:creationId xmlns:a16="http://schemas.microsoft.com/office/drawing/2014/main" id="{2FB7BBB5-8E7B-2C74-9A01-95D1F0F194B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6807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2000" dirty="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38F56F-30C0-B8AE-9A2D-75D458292098}"/>
              </a:ext>
            </a:extLst>
          </p:cNvPr>
          <p:cNvGrpSpPr/>
          <p:nvPr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17BFCD84-F3D5-2D67-1EF1-6EA656954F9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DC5B7BD2-C012-045B-C0AE-20165117D00C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46C39FBD-DAAB-94DF-35DC-C352F1542076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5658E3DE-4D80-E3F3-9EBE-7C75B09AA30F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591B4FBF-72FE-5A76-77F5-9B370934F24C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A151A684-DA1D-804F-5426-4B4A7A6B4C86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6A941DA-EEFE-1DF4-35CF-14C8B0F4F25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635760" y="-683147"/>
            <a:ext cx="7573873" cy="721259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18BAC3E-9C24-5719-CA3D-F7A0323717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3724" y="2103120"/>
            <a:ext cx="5634596" cy="363728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59A3552-8D5D-6609-37CC-BB86F389B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01" y="771525"/>
            <a:ext cx="5709919" cy="1325563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015775"/>
      </p:ext>
    </p:extLst>
  </p:cSld>
  <p:clrMapOvr>
    <a:masterClrMapping/>
  </p:clrMapOvr>
  <p:hf sldNum="0"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7">
            <a:extLst>
              <a:ext uri="{FF2B5EF4-FFF2-40B4-BE49-F238E27FC236}">
                <a16:creationId xmlns:a16="http://schemas.microsoft.com/office/drawing/2014/main" id="{C5CC3C5B-20F5-EDF1-6350-FE204957F054}"/>
              </a:ext>
            </a:extLst>
          </p:cNvPr>
          <p:cNvSpPr/>
          <p:nvPr/>
        </p:nvSpPr>
        <p:spPr>
          <a:xfrm>
            <a:off x="15163" y="2303"/>
            <a:ext cx="12271379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226669" y="6831254"/>
                </a:moveTo>
                <a:lnTo>
                  <a:pt x="223977" y="6784530"/>
                </a:lnTo>
                <a:lnTo>
                  <a:pt x="216090" y="6739382"/>
                </a:lnTo>
                <a:lnTo>
                  <a:pt x="203314" y="6696126"/>
                </a:lnTo>
                <a:lnTo>
                  <a:pt x="185940" y="6655054"/>
                </a:lnTo>
                <a:lnTo>
                  <a:pt x="164287" y="6616459"/>
                </a:lnTo>
                <a:lnTo>
                  <a:pt x="138645" y="6580657"/>
                </a:lnTo>
                <a:lnTo>
                  <a:pt x="109308" y="6547929"/>
                </a:lnTo>
                <a:lnTo>
                  <a:pt x="76593" y="6518605"/>
                </a:lnTo>
                <a:lnTo>
                  <a:pt x="40792" y="6492964"/>
                </a:lnTo>
                <a:lnTo>
                  <a:pt x="2197" y="6471310"/>
                </a:lnTo>
                <a:lnTo>
                  <a:pt x="0" y="6470370"/>
                </a:lnTo>
                <a:lnTo>
                  <a:pt x="0" y="7192124"/>
                </a:lnTo>
                <a:lnTo>
                  <a:pt x="40792" y="7169531"/>
                </a:lnTo>
                <a:lnTo>
                  <a:pt x="76593" y="7143890"/>
                </a:lnTo>
                <a:lnTo>
                  <a:pt x="109308" y="7114565"/>
                </a:lnTo>
                <a:lnTo>
                  <a:pt x="138645" y="7081837"/>
                </a:lnTo>
                <a:lnTo>
                  <a:pt x="164287" y="7046036"/>
                </a:lnTo>
                <a:lnTo>
                  <a:pt x="185940" y="7007453"/>
                </a:lnTo>
                <a:lnTo>
                  <a:pt x="203314" y="6966382"/>
                </a:lnTo>
                <a:lnTo>
                  <a:pt x="216090" y="6923125"/>
                </a:lnTo>
                <a:lnTo>
                  <a:pt x="223977" y="6877977"/>
                </a:lnTo>
                <a:lnTo>
                  <a:pt x="226669" y="6831254"/>
                </a:lnTo>
                <a:close/>
              </a:path>
              <a:path w="13428344" h="7560309">
                <a:moveTo>
                  <a:pt x="570217" y="5353024"/>
                </a:moveTo>
                <a:lnTo>
                  <a:pt x="568934" y="5305234"/>
                </a:lnTo>
                <a:lnTo>
                  <a:pt x="565111" y="5258117"/>
                </a:lnTo>
                <a:lnTo>
                  <a:pt x="558812" y="5211737"/>
                </a:lnTo>
                <a:lnTo>
                  <a:pt x="550125" y="5166169"/>
                </a:lnTo>
                <a:lnTo>
                  <a:pt x="539102" y="5121478"/>
                </a:lnTo>
                <a:lnTo>
                  <a:pt x="525818" y="5077714"/>
                </a:lnTo>
                <a:lnTo>
                  <a:pt x="510324" y="5034966"/>
                </a:lnTo>
                <a:lnTo>
                  <a:pt x="492696" y="4993284"/>
                </a:lnTo>
                <a:lnTo>
                  <a:pt x="472998" y="4952746"/>
                </a:lnTo>
                <a:lnTo>
                  <a:pt x="451294" y="4913401"/>
                </a:lnTo>
                <a:lnTo>
                  <a:pt x="427659" y="4875339"/>
                </a:lnTo>
                <a:lnTo>
                  <a:pt x="402158" y="4838611"/>
                </a:lnTo>
                <a:lnTo>
                  <a:pt x="374853" y="4803292"/>
                </a:lnTo>
                <a:lnTo>
                  <a:pt x="345821" y="4769434"/>
                </a:lnTo>
                <a:lnTo>
                  <a:pt x="315099" y="4737125"/>
                </a:lnTo>
                <a:lnTo>
                  <a:pt x="282790" y="4706417"/>
                </a:lnTo>
                <a:lnTo>
                  <a:pt x="248932" y="4677372"/>
                </a:lnTo>
                <a:lnTo>
                  <a:pt x="213614" y="4650067"/>
                </a:lnTo>
                <a:lnTo>
                  <a:pt x="176885" y="4624565"/>
                </a:lnTo>
                <a:lnTo>
                  <a:pt x="138823" y="4600930"/>
                </a:lnTo>
                <a:lnTo>
                  <a:pt x="99479" y="4579226"/>
                </a:lnTo>
                <a:lnTo>
                  <a:pt x="58940" y="4559541"/>
                </a:lnTo>
                <a:lnTo>
                  <a:pt x="17259" y="4541913"/>
                </a:lnTo>
                <a:lnTo>
                  <a:pt x="0" y="4535652"/>
                </a:lnTo>
                <a:lnTo>
                  <a:pt x="0" y="6170409"/>
                </a:lnTo>
                <a:lnTo>
                  <a:pt x="58940" y="6146520"/>
                </a:lnTo>
                <a:lnTo>
                  <a:pt x="99479" y="6126823"/>
                </a:lnTo>
                <a:lnTo>
                  <a:pt x="138823" y="6105118"/>
                </a:lnTo>
                <a:lnTo>
                  <a:pt x="176885" y="6081496"/>
                </a:lnTo>
                <a:lnTo>
                  <a:pt x="213614" y="6055982"/>
                </a:lnTo>
                <a:lnTo>
                  <a:pt x="248932" y="6028677"/>
                </a:lnTo>
                <a:lnTo>
                  <a:pt x="282790" y="5999645"/>
                </a:lnTo>
                <a:lnTo>
                  <a:pt x="315099" y="5968924"/>
                </a:lnTo>
                <a:lnTo>
                  <a:pt x="345821" y="5936615"/>
                </a:lnTo>
                <a:lnTo>
                  <a:pt x="374853" y="5902757"/>
                </a:lnTo>
                <a:lnTo>
                  <a:pt x="402158" y="5867438"/>
                </a:lnTo>
                <a:lnTo>
                  <a:pt x="427659" y="5830709"/>
                </a:lnTo>
                <a:lnTo>
                  <a:pt x="451294" y="5792648"/>
                </a:lnTo>
                <a:lnTo>
                  <a:pt x="472998" y="5753316"/>
                </a:lnTo>
                <a:lnTo>
                  <a:pt x="492696" y="5712765"/>
                </a:lnTo>
                <a:lnTo>
                  <a:pt x="510324" y="5671083"/>
                </a:lnTo>
                <a:lnTo>
                  <a:pt x="525818" y="5628335"/>
                </a:lnTo>
                <a:lnTo>
                  <a:pt x="539102" y="5584583"/>
                </a:lnTo>
                <a:lnTo>
                  <a:pt x="550125" y="5539879"/>
                </a:lnTo>
                <a:lnTo>
                  <a:pt x="558812" y="5494312"/>
                </a:lnTo>
                <a:lnTo>
                  <a:pt x="565111" y="5447931"/>
                </a:lnTo>
                <a:lnTo>
                  <a:pt x="568934" y="5400814"/>
                </a:lnTo>
                <a:lnTo>
                  <a:pt x="570217" y="5353024"/>
                </a:lnTo>
                <a:close/>
              </a:path>
              <a:path w="13428344" h="7560309">
                <a:moveTo>
                  <a:pt x="2835325" y="6635394"/>
                </a:moveTo>
                <a:lnTo>
                  <a:pt x="2834322" y="6586918"/>
                </a:lnTo>
                <a:lnTo>
                  <a:pt x="2831325" y="6538963"/>
                </a:lnTo>
                <a:lnTo>
                  <a:pt x="2826397" y="6491567"/>
                </a:lnTo>
                <a:lnTo>
                  <a:pt x="2819552" y="6444755"/>
                </a:lnTo>
                <a:lnTo>
                  <a:pt x="2810840" y="6398565"/>
                </a:lnTo>
                <a:lnTo>
                  <a:pt x="2800312" y="6353061"/>
                </a:lnTo>
                <a:lnTo>
                  <a:pt x="2787980" y="6308268"/>
                </a:lnTo>
                <a:lnTo>
                  <a:pt x="2773921" y="6264224"/>
                </a:lnTo>
                <a:lnTo>
                  <a:pt x="2758148" y="6220968"/>
                </a:lnTo>
                <a:lnTo>
                  <a:pt x="2740698" y="6178550"/>
                </a:lnTo>
                <a:lnTo>
                  <a:pt x="2721635" y="6136995"/>
                </a:lnTo>
                <a:lnTo>
                  <a:pt x="2700985" y="6096355"/>
                </a:lnTo>
                <a:lnTo>
                  <a:pt x="2678773" y="6056668"/>
                </a:lnTo>
                <a:lnTo>
                  <a:pt x="2655062" y="6017971"/>
                </a:lnTo>
                <a:lnTo>
                  <a:pt x="2629890" y="5980303"/>
                </a:lnTo>
                <a:lnTo>
                  <a:pt x="2603284" y="5943701"/>
                </a:lnTo>
                <a:lnTo>
                  <a:pt x="2575293" y="5908218"/>
                </a:lnTo>
                <a:lnTo>
                  <a:pt x="2545943" y="5873877"/>
                </a:lnTo>
                <a:lnTo>
                  <a:pt x="2515298" y="5840730"/>
                </a:lnTo>
                <a:lnTo>
                  <a:pt x="2483370" y="5808802"/>
                </a:lnTo>
                <a:lnTo>
                  <a:pt x="2450223" y="5778157"/>
                </a:lnTo>
                <a:lnTo>
                  <a:pt x="2415883" y="5748807"/>
                </a:lnTo>
                <a:lnTo>
                  <a:pt x="2380399" y="5720816"/>
                </a:lnTo>
                <a:lnTo>
                  <a:pt x="2343797" y="5694210"/>
                </a:lnTo>
                <a:lnTo>
                  <a:pt x="2306129" y="5669026"/>
                </a:lnTo>
                <a:lnTo>
                  <a:pt x="2267432" y="5645315"/>
                </a:lnTo>
                <a:lnTo>
                  <a:pt x="2227732" y="5623115"/>
                </a:lnTo>
                <a:lnTo>
                  <a:pt x="2187092" y="5602465"/>
                </a:lnTo>
                <a:lnTo>
                  <a:pt x="2145550" y="5583390"/>
                </a:lnTo>
                <a:lnTo>
                  <a:pt x="2103120" y="5565953"/>
                </a:lnTo>
                <a:lnTo>
                  <a:pt x="2059876" y="5550179"/>
                </a:lnTo>
                <a:lnTo>
                  <a:pt x="2015832" y="5536108"/>
                </a:lnTo>
                <a:lnTo>
                  <a:pt x="1971040" y="5523789"/>
                </a:lnTo>
                <a:lnTo>
                  <a:pt x="1925523" y="5513260"/>
                </a:lnTo>
                <a:lnTo>
                  <a:pt x="1879346" y="5504548"/>
                </a:lnTo>
                <a:lnTo>
                  <a:pt x="1832533" y="5497703"/>
                </a:lnTo>
                <a:lnTo>
                  <a:pt x="1785137" y="5492762"/>
                </a:lnTo>
                <a:lnTo>
                  <a:pt x="1737169" y="5489778"/>
                </a:lnTo>
                <a:lnTo>
                  <a:pt x="1688706" y="5488775"/>
                </a:lnTo>
                <a:lnTo>
                  <a:pt x="1640243" y="5489778"/>
                </a:lnTo>
                <a:lnTo>
                  <a:pt x="1592275" y="5492762"/>
                </a:lnTo>
                <a:lnTo>
                  <a:pt x="1544878" y="5497703"/>
                </a:lnTo>
                <a:lnTo>
                  <a:pt x="1498066" y="5504548"/>
                </a:lnTo>
                <a:lnTo>
                  <a:pt x="1451889" y="5513260"/>
                </a:lnTo>
                <a:lnTo>
                  <a:pt x="1406372" y="5523789"/>
                </a:lnTo>
                <a:lnTo>
                  <a:pt x="1361579" y="5536108"/>
                </a:lnTo>
                <a:lnTo>
                  <a:pt x="1317536" y="5550179"/>
                </a:lnTo>
                <a:lnTo>
                  <a:pt x="1274292" y="5565953"/>
                </a:lnTo>
                <a:lnTo>
                  <a:pt x="1231861" y="5583390"/>
                </a:lnTo>
                <a:lnTo>
                  <a:pt x="1190320" y="5602465"/>
                </a:lnTo>
                <a:lnTo>
                  <a:pt x="1149680" y="5623115"/>
                </a:lnTo>
                <a:lnTo>
                  <a:pt x="1109980" y="5645315"/>
                </a:lnTo>
                <a:lnTo>
                  <a:pt x="1071283" y="5669026"/>
                </a:lnTo>
                <a:lnTo>
                  <a:pt x="1033614" y="5694210"/>
                </a:lnTo>
                <a:lnTo>
                  <a:pt x="997013" y="5720816"/>
                </a:lnTo>
                <a:lnTo>
                  <a:pt x="961529" y="5748807"/>
                </a:lnTo>
                <a:lnTo>
                  <a:pt x="927188" y="5778157"/>
                </a:lnTo>
                <a:lnTo>
                  <a:pt x="894041" y="5808802"/>
                </a:lnTo>
                <a:lnTo>
                  <a:pt x="862114" y="5840730"/>
                </a:lnTo>
                <a:lnTo>
                  <a:pt x="831469" y="5873877"/>
                </a:lnTo>
                <a:lnTo>
                  <a:pt x="802119" y="5908218"/>
                </a:lnTo>
                <a:lnTo>
                  <a:pt x="774128" y="5943701"/>
                </a:lnTo>
                <a:lnTo>
                  <a:pt x="747522" y="5980303"/>
                </a:lnTo>
                <a:lnTo>
                  <a:pt x="722350" y="6017971"/>
                </a:lnTo>
                <a:lnTo>
                  <a:pt x="698639" y="6056668"/>
                </a:lnTo>
                <a:lnTo>
                  <a:pt x="676427" y="6096355"/>
                </a:lnTo>
                <a:lnTo>
                  <a:pt x="655777" y="6136995"/>
                </a:lnTo>
                <a:lnTo>
                  <a:pt x="636714" y="6178550"/>
                </a:lnTo>
                <a:lnTo>
                  <a:pt x="619264" y="6220968"/>
                </a:lnTo>
                <a:lnTo>
                  <a:pt x="603491" y="6264224"/>
                </a:lnTo>
                <a:lnTo>
                  <a:pt x="589432" y="6308268"/>
                </a:lnTo>
                <a:lnTo>
                  <a:pt x="577100" y="6353061"/>
                </a:lnTo>
                <a:lnTo>
                  <a:pt x="566572" y="6398565"/>
                </a:lnTo>
                <a:lnTo>
                  <a:pt x="557860" y="6444755"/>
                </a:lnTo>
                <a:lnTo>
                  <a:pt x="551014" y="6491567"/>
                </a:lnTo>
                <a:lnTo>
                  <a:pt x="546087" y="6538963"/>
                </a:lnTo>
                <a:lnTo>
                  <a:pt x="543090" y="6586918"/>
                </a:lnTo>
                <a:lnTo>
                  <a:pt x="542086" y="6635394"/>
                </a:lnTo>
                <a:lnTo>
                  <a:pt x="543090" y="6683857"/>
                </a:lnTo>
                <a:lnTo>
                  <a:pt x="546087" y="6731813"/>
                </a:lnTo>
                <a:lnTo>
                  <a:pt x="551014" y="6779222"/>
                </a:lnTo>
                <a:lnTo>
                  <a:pt x="557860" y="6826034"/>
                </a:lnTo>
                <a:lnTo>
                  <a:pt x="566572" y="6872211"/>
                </a:lnTo>
                <a:lnTo>
                  <a:pt x="577100" y="6917715"/>
                </a:lnTo>
                <a:lnTo>
                  <a:pt x="589432" y="6962508"/>
                </a:lnTo>
                <a:lnTo>
                  <a:pt x="603491" y="7006552"/>
                </a:lnTo>
                <a:lnTo>
                  <a:pt x="619264" y="7049808"/>
                </a:lnTo>
                <a:lnTo>
                  <a:pt x="636714" y="7092226"/>
                </a:lnTo>
                <a:lnTo>
                  <a:pt x="655777" y="7133780"/>
                </a:lnTo>
                <a:lnTo>
                  <a:pt x="676427" y="7174420"/>
                </a:lnTo>
                <a:lnTo>
                  <a:pt x="698639" y="7214108"/>
                </a:lnTo>
                <a:lnTo>
                  <a:pt x="722350" y="7252805"/>
                </a:lnTo>
                <a:lnTo>
                  <a:pt x="747522" y="7290473"/>
                </a:lnTo>
                <a:lnTo>
                  <a:pt x="774128" y="7327074"/>
                </a:lnTo>
                <a:lnTo>
                  <a:pt x="802119" y="7362571"/>
                </a:lnTo>
                <a:lnTo>
                  <a:pt x="831469" y="7396912"/>
                </a:lnTo>
                <a:lnTo>
                  <a:pt x="862114" y="7430059"/>
                </a:lnTo>
                <a:lnTo>
                  <a:pt x="894041" y="7461974"/>
                </a:lnTo>
                <a:lnTo>
                  <a:pt x="927188" y="7492632"/>
                </a:lnTo>
                <a:lnTo>
                  <a:pt x="961529" y="7521969"/>
                </a:lnTo>
                <a:lnTo>
                  <a:pt x="997013" y="7549972"/>
                </a:lnTo>
                <a:lnTo>
                  <a:pt x="1010831" y="7560005"/>
                </a:lnTo>
                <a:lnTo>
                  <a:pt x="2366581" y="7560005"/>
                </a:lnTo>
                <a:lnTo>
                  <a:pt x="2415883" y="7521969"/>
                </a:lnTo>
                <a:lnTo>
                  <a:pt x="2450223" y="7492632"/>
                </a:lnTo>
                <a:lnTo>
                  <a:pt x="2483370" y="7461974"/>
                </a:lnTo>
                <a:lnTo>
                  <a:pt x="2515298" y="7430059"/>
                </a:lnTo>
                <a:lnTo>
                  <a:pt x="2545943" y="7396912"/>
                </a:lnTo>
                <a:lnTo>
                  <a:pt x="2575293" y="7362571"/>
                </a:lnTo>
                <a:lnTo>
                  <a:pt x="2603284" y="7327074"/>
                </a:lnTo>
                <a:lnTo>
                  <a:pt x="2629890" y="7290473"/>
                </a:lnTo>
                <a:lnTo>
                  <a:pt x="2655062" y="7252805"/>
                </a:lnTo>
                <a:lnTo>
                  <a:pt x="2678773" y="7214108"/>
                </a:lnTo>
                <a:lnTo>
                  <a:pt x="2700985" y="7174420"/>
                </a:lnTo>
                <a:lnTo>
                  <a:pt x="2721635" y="7133780"/>
                </a:lnTo>
                <a:lnTo>
                  <a:pt x="2740698" y="7092226"/>
                </a:lnTo>
                <a:lnTo>
                  <a:pt x="2758148" y="7049808"/>
                </a:lnTo>
                <a:lnTo>
                  <a:pt x="2773921" y="7006552"/>
                </a:lnTo>
                <a:lnTo>
                  <a:pt x="2787980" y="6962508"/>
                </a:lnTo>
                <a:lnTo>
                  <a:pt x="2800312" y="6917715"/>
                </a:lnTo>
                <a:lnTo>
                  <a:pt x="2810840" y="6872211"/>
                </a:lnTo>
                <a:lnTo>
                  <a:pt x="2819552" y="6826034"/>
                </a:lnTo>
                <a:lnTo>
                  <a:pt x="2826397" y="6779222"/>
                </a:lnTo>
                <a:lnTo>
                  <a:pt x="2831325" y="6731813"/>
                </a:lnTo>
                <a:lnTo>
                  <a:pt x="2834322" y="6683857"/>
                </a:lnTo>
                <a:lnTo>
                  <a:pt x="2835325" y="6635394"/>
                </a:lnTo>
                <a:close/>
              </a:path>
              <a:path w="13428344" h="7560309">
                <a:moveTo>
                  <a:pt x="2872587" y="5132197"/>
                </a:moveTo>
                <a:lnTo>
                  <a:pt x="2869895" y="5085473"/>
                </a:lnTo>
                <a:lnTo>
                  <a:pt x="2862008" y="5040338"/>
                </a:lnTo>
                <a:lnTo>
                  <a:pt x="2849232" y="4997069"/>
                </a:lnTo>
                <a:lnTo>
                  <a:pt x="2831858" y="4955997"/>
                </a:lnTo>
                <a:lnTo>
                  <a:pt x="2810205" y="4917402"/>
                </a:lnTo>
                <a:lnTo>
                  <a:pt x="2784564" y="4881600"/>
                </a:lnTo>
                <a:lnTo>
                  <a:pt x="2755239" y="4848885"/>
                </a:lnTo>
                <a:lnTo>
                  <a:pt x="2722511" y="4819548"/>
                </a:lnTo>
                <a:lnTo>
                  <a:pt x="2686710" y="4793907"/>
                </a:lnTo>
                <a:lnTo>
                  <a:pt x="2648115" y="4772253"/>
                </a:lnTo>
                <a:lnTo>
                  <a:pt x="2607043" y="4754892"/>
                </a:lnTo>
                <a:lnTo>
                  <a:pt x="2563787" y="4742116"/>
                </a:lnTo>
                <a:lnTo>
                  <a:pt x="2518638" y="4734230"/>
                </a:lnTo>
                <a:lnTo>
                  <a:pt x="2471915" y="4731524"/>
                </a:lnTo>
                <a:lnTo>
                  <a:pt x="2425192" y="4734230"/>
                </a:lnTo>
                <a:lnTo>
                  <a:pt x="2380043" y="4742116"/>
                </a:lnTo>
                <a:lnTo>
                  <a:pt x="2336787" y="4754892"/>
                </a:lnTo>
                <a:lnTo>
                  <a:pt x="2295715" y="4772253"/>
                </a:lnTo>
                <a:lnTo>
                  <a:pt x="2257120" y="4793907"/>
                </a:lnTo>
                <a:lnTo>
                  <a:pt x="2221319" y="4819548"/>
                </a:lnTo>
                <a:lnTo>
                  <a:pt x="2188603" y="4848885"/>
                </a:lnTo>
                <a:lnTo>
                  <a:pt x="2159266" y="4881600"/>
                </a:lnTo>
                <a:lnTo>
                  <a:pt x="2133625" y="4917402"/>
                </a:lnTo>
                <a:lnTo>
                  <a:pt x="2111972" y="4955997"/>
                </a:lnTo>
                <a:lnTo>
                  <a:pt x="2094598" y="4997069"/>
                </a:lnTo>
                <a:lnTo>
                  <a:pt x="2081822" y="5040338"/>
                </a:lnTo>
                <a:lnTo>
                  <a:pt x="2073935" y="5085473"/>
                </a:lnTo>
                <a:lnTo>
                  <a:pt x="2071243" y="5132197"/>
                </a:lnTo>
                <a:lnTo>
                  <a:pt x="2073935" y="5178933"/>
                </a:lnTo>
                <a:lnTo>
                  <a:pt x="2081822" y="5224069"/>
                </a:lnTo>
                <a:lnTo>
                  <a:pt x="2094598" y="5267337"/>
                </a:lnTo>
                <a:lnTo>
                  <a:pt x="2111972" y="5308409"/>
                </a:lnTo>
                <a:lnTo>
                  <a:pt x="2133625" y="5346992"/>
                </a:lnTo>
                <a:lnTo>
                  <a:pt x="2159266" y="5382793"/>
                </a:lnTo>
                <a:lnTo>
                  <a:pt x="2188603" y="5415508"/>
                </a:lnTo>
                <a:lnTo>
                  <a:pt x="2221319" y="5444845"/>
                </a:lnTo>
                <a:lnTo>
                  <a:pt x="2257120" y="5470487"/>
                </a:lnTo>
                <a:lnTo>
                  <a:pt x="2295715" y="5492140"/>
                </a:lnTo>
                <a:lnTo>
                  <a:pt x="2336787" y="5509501"/>
                </a:lnTo>
                <a:lnTo>
                  <a:pt x="2380043" y="5522277"/>
                </a:lnTo>
                <a:lnTo>
                  <a:pt x="2425192" y="5530164"/>
                </a:lnTo>
                <a:lnTo>
                  <a:pt x="2471915" y="5532856"/>
                </a:lnTo>
                <a:lnTo>
                  <a:pt x="2518638" y="5530164"/>
                </a:lnTo>
                <a:lnTo>
                  <a:pt x="2563787" y="5522277"/>
                </a:lnTo>
                <a:lnTo>
                  <a:pt x="2607043" y="5509501"/>
                </a:lnTo>
                <a:lnTo>
                  <a:pt x="2648115" y="5492140"/>
                </a:lnTo>
                <a:lnTo>
                  <a:pt x="2686710" y="5470487"/>
                </a:lnTo>
                <a:lnTo>
                  <a:pt x="2722511" y="5444845"/>
                </a:lnTo>
                <a:lnTo>
                  <a:pt x="2755239" y="5415508"/>
                </a:lnTo>
                <a:lnTo>
                  <a:pt x="2784564" y="5382793"/>
                </a:lnTo>
                <a:lnTo>
                  <a:pt x="2810205" y="5346992"/>
                </a:lnTo>
                <a:lnTo>
                  <a:pt x="2831858" y="5308409"/>
                </a:lnTo>
                <a:lnTo>
                  <a:pt x="2849232" y="5267337"/>
                </a:lnTo>
                <a:lnTo>
                  <a:pt x="2862008" y="5224069"/>
                </a:lnTo>
                <a:lnTo>
                  <a:pt x="2869895" y="5178933"/>
                </a:lnTo>
                <a:lnTo>
                  <a:pt x="2872587" y="5132197"/>
                </a:lnTo>
                <a:close/>
              </a:path>
              <a:path w="13428344" h="7560309">
                <a:moveTo>
                  <a:pt x="3311982" y="5582005"/>
                </a:moveTo>
                <a:lnTo>
                  <a:pt x="3307931" y="5536819"/>
                </a:lnTo>
                <a:lnTo>
                  <a:pt x="3296259" y="5494274"/>
                </a:lnTo>
                <a:lnTo>
                  <a:pt x="3277666" y="5455107"/>
                </a:lnTo>
                <a:lnTo>
                  <a:pt x="3252863" y="5420017"/>
                </a:lnTo>
                <a:lnTo>
                  <a:pt x="3222561" y="5389715"/>
                </a:lnTo>
                <a:lnTo>
                  <a:pt x="3187471" y="5364912"/>
                </a:lnTo>
                <a:lnTo>
                  <a:pt x="3148292" y="5346319"/>
                </a:lnTo>
                <a:lnTo>
                  <a:pt x="3105759" y="5334635"/>
                </a:lnTo>
                <a:lnTo>
                  <a:pt x="3060560" y="5330583"/>
                </a:lnTo>
                <a:lnTo>
                  <a:pt x="3015373" y="5334635"/>
                </a:lnTo>
                <a:lnTo>
                  <a:pt x="2972828" y="5346319"/>
                </a:lnTo>
                <a:lnTo>
                  <a:pt x="2933662" y="5364912"/>
                </a:lnTo>
                <a:lnTo>
                  <a:pt x="2898571" y="5389715"/>
                </a:lnTo>
                <a:lnTo>
                  <a:pt x="2868269" y="5420017"/>
                </a:lnTo>
                <a:lnTo>
                  <a:pt x="2843453" y="5455107"/>
                </a:lnTo>
                <a:lnTo>
                  <a:pt x="2824861" y="5494274"/>
                </a:lnTo>
                <a:lnTo>
                  <a:pt x="2813177" y="5536819"/>
                </a:lnTo>
                <a:lnTo>
                  <a:pt x="2809125" y="5582005"/>
                </a:lnTo>
                <a:lnTo>
                  <a:pt x="2813177" y="5627205"/>
                </a:lnTo>
                <a:lnTo>
                  <a:pt x="2824861" y="5669737"/>
                </a:lnTo>
                <a:lnTo>
                  <a:pt x="2843453" y="5708904"/>
                </a:lnTo>
                <a:lnTo>
                  <a:pt x="2868269" y="5744007"/>
                </a:lnTo>
                <a:lnTo>
                  <a:pt x="2898571" y="5774309"/>
                </a:lnTo>
                <a:lnTo>
                  <a:pt x="2933662" y="5799112"/>
                </a:lnTo>
                <a:lnTo>
                  <a:pt x="2972828" y="5817705"/>
                </a:lnTo>
                <a:lnTo>
                  <a:pt x="3015373" y="5829389"/>
                </a:lnTo>
                <a:lnTo>
                  <a:pt x="3060560" y="5833440"/>
                </a:lnTo>
                <a:lnTo>
                  <a:pt x="3105759" y="5829389"/>
                </a:lnTo>
                <a:lnTo>
                  <a:pt x="3148292" y="5817705"/>
                </a:lnTo>
                <a:lnTo>
                  <a:pt x="3187471" y="5799112"/>
                </a:lnTo>
                <a:lnTo>
                  <a:pt x="3222561" y="5774309"/>
                </a:lnTo>
                <a:lnTo>
                  <a:pt x="3252863" y="5744007"/>
                </a:lnTo>
                <a:lnTo>
                  <a:pt x="3277666" y="5708904"/>
                </a:lnTo>
                <a:lnTo>
                  <a:pt x="3296259" y="5669737"/>
                </a:lnTo>
                <a:lnTo>
                  <a:pt x="3307931" y="5627205"/>
                </a:lnTo>
                <a:lnTo>
                  <a:pt x="3311982" y="5582005"/>
                </a:lnTo>
                <a:close/>
              </a:path>
              <a:path w="13428344" h="7560309">
                <a:moveTo>
                  <a:pt x="6244856" y="2232571"/>
                </a:moveTo>
                <a:lnTo>
                  <a:pt x="6240805" y="2187384"/>
                </a:lnTo>
                <a:lnTo>
                  <a:pt x="6229121" y="2144852"/>
                </a:lnTo>
                <a:lnTo>
                  <a:pt x="6210528" y="2105685"/>
                </a:lnTo>
                <a:lnTo>
                  <a:pt x="6185725" y="2070595"/>
                </a:lnTo>
                <a:lnTo>
                  <a:pt x="6155423" y="2040280"/>
                </a:lnTo>
                <a:lnTo>
                  <a:pt x="6120320" y="2015477"/>
                </a:lnTo>
                <a:lnTo>
                  <a:pt x="6081153" y="1996884"/>
                </a:lnTo>
                <a:lnTo>
                  <a:pt x="6038621" y="1985200"/>
                </a:lnTo>
                <a:lnTo>
                  <a:pt x="5993422" y="1981149"/>
                </a:lnTo>
                <a:lnTo>
                  <a:pt x="5948223" y="1985200"/>
                </a:lnTo>
                <a:lnTo>
                  <a:pt x="5905690" y="1996884"/>
                </a:lnTo>
                <a:lnTo>
                  <a:pt x="5866523" y="2015477"/>
                </a:lnTo>
                <a:lnTo>
                  <a:pt x="5831433" y="2040280"/>
                </a:lnTo>
                <a:lnTo>
                  <a:pt x="5801118" y="2070595"/>
                </a:lnTo>
                <a:lnTo>
                  <a:pt x="5776315" y="2105685"/>
                </a:lnTo>
                <a:lnTo>
                  <a:pt x="5757723" y="2144852"/>
                </a:lnTo>
                <a:lnTo>
                  <a:pt x="5746039" y="2187384"/>
                </a:lnTo>
                <a:lnTo>
                  <a:pt x="5741987" y="2232571"/>
                </a:lnTo>
                <a:lnTo>
                  <a:pt x="5746039" y="2277770"/>
                </a:lnTo>
                <a:lnTo>
                  <a:pt x="5757723" y="2320302"/>
                </a:lnTo>
                <a:lnTo>
                  <a:pt x="5776315" y="2359482"/>
                </a:lnTo>
                <a:lnTo>
                  <a:pt x="5801118" y="2394572"/>
                </a:lnTo>
                <a:lnTo>
                  <a:pt x="5831433" y="2424874"/>
                </a:lnTo>
                <a:lnTo>
                  <a:pt x="5866523" y="2449677"/>
                </a:lnTo>
                <a:lnTo>
                  <a:pt x="5905690" y="2468283"/>
                </a:lnTo>
                <a:lnTo>
                  <a:pt x="5948223" y="2479954"/>
                </a:lnTo>
                <a:lnTo>
                  <a:pt x="5993422" y="2484005"/>
                </a:lnTo>
                <a:lnTo>
                  <a:pt x="6038621" y="2479954"/>
                </a:lnTo>
                <a:lnTo>
                  <a:pt x="6081153" y="2468283"/>
                </a:lnTo>
                <a:lnTo>
                  <a:pt x="6120320" y="2449677"/>
                </a:lnTo>
                <a:lnTo>
                  <a:pt x="6155423" y="2424874"/>
                </a:lnTo>
                <a:lnTo>
                  <a:pt x="6185725" y="2394572"/>
                </a:lnTo>
                <a:lnTo>
                  <a:pt x="6210528" y="2359482"/>
                </a:lnTo>
                <a:lnTo>
                  <a:pt x="6229121" y="2320302"/>
                </a:lnTo>
                <a:lnTo>
                  <a:pt x="6240805" y="2277770"/>
                </a:lnTo>
                <a:lnTo>
                  <a:pt x="6244856" y="2232571"/>
                </a:lnTo>
                <a:close/>
              </a:path>
              <a:path w="13428344" h="7560309">
                <a:moveTo>
                  <a:pt x="6511226" y="750633"/>
                </a:moveTo>
                <a:lnTo>
                  <a:pt x="6510223" y="702170"/>
                </a:lnTo>
                <a:lnTo>
                  <a:pt x="6507239" y="654202"/>
                </a:lnTo>
                <a:lnTo>
                  <a:pt x="6502298" y="606806"/>
                </a:lnTo>
                <a:lnTo>
                  <a:pt x="6495453" y="559993"/>
                </a:lnTo>
                <a:lnTo>
                  <a:pt x="6486741" y="513816"/>
                </a:lnTo>
                <a:lnTo>
                  <a:pt x="6476212" y="468299"/>
                </a:lnTo>
                <a:lnTo>
                  <a:pt x="6463893" y="423506"/>
                </a:lnTo>
                <a:lnTo>
                  <a:pt x="6449822" y="379463"/>
                </a:lnTo>
                <a:lnTo>
                  <a:pt x="6434048" y="336219"/>
                </a:lnTo>
                <a:lnTo>
                  <a:pt x="6416611" y="293789"/>
                </a:lnTo>
                <a:lnTo>
                  <a:pt x="6397536" y="252247"/>
                </a:lnTo>
                <a:lnTo>
                  <a:pt x="6376886" y="211607"/>
                </a:lnTo>
                <a:lnTo>
                  <a:pt x="6354686" y="171907"/>
                </a:lnTo>
                <a:lnTo>
                  <a:pt x="6330975" y="133210"/>
                </a:lnTo>
                <a:lnTo>
                  <a:pt x="6305791" y="95542"/>
                </a:lnTo>
                <a:lnTo>
                  <a:pt x="6279185" y="58940"/>
                </a:lnTo>
                <a:lnTo>
                  <a:pt x="6251194" y="23456"/>
                </a:lnTo>
                <a:lnTo>
                  <a:pt x="6231153" y="0"/>
                </a:lnTo>
                <a:lnTo>
                  <a:pt x="4498073" y="0"/>
                </a:lnTo>
                <a:lnTo>
                  <a:pt x="4450029" y="58940"/>
                </a:lnTo>
                <a:lnTo>
                  <a:pt x="4423422" y="95542"/>
                </a:lnTo>
                <a:lnTo>
                  <a:pt x="4398251" y="133210"/>
                </a:lnTo>
                <a:lnTo>
                  <a:pt x="4374540" y="171907"/>
                </a:lnTo>
                <a:lnTo>
                  <a:pt x="4352341" y="211607"/>
                </a:lnTo>
                <a:lnTo>
                  <a:pt x="4331678" y="252247"/>
                </a:lnTo>
                <a:lnTo>
                  <a:pt x="4312615" y="293789"/>
                </a:lnTo>
                <a:lnTo>
                  <a:pt x="4295178" y="336219"/>
                </a:lnTo>
                <a:lnTo>
                  <a:pt x="4279404" y="379463"/>
                </a:lnTo>
                <a:lnTo>
                  <a:pt x="4265333" y="423506"/>
                </a:lnTo>
                <a:lnTo>
                  <a:pt x="4253014" y="468299"/>
                </a:lnTo>
                <a:lnTo>
                  <a:pt x="4242473" y="513816"/>
                </a:lnTo>
                <a:lnTo>
                  <a:pt x="4233773" y="559993"/>
                </a:lnTo>
                <a:lnTo>
                  <a:pt x="4226928" y="606806"/>
                </a:lnTo>
                <a:lnTo>
                  <a:pt x="4221988" y="654202"/>
                </a:lnTo>
                <a:lnTo>
                  <a:pt x="4219003" y="702170"/>
                </a:lnTo>
                <a:lnTo>
                  <a:pt x="4217987" y="750633"/>
                </a:lnTo>
                <a:lnTo>
                  <a:pt x="4219003" y="799096"/>
                </a:lnTo>
                <a:lnTo>
                  <a:pt x="4221988" y="847064"/>
                </a:lnTo>
                <a:lnTo>
                  <a:pt x="4226928" y="894461"/>
                </a:lnTo>
                <a:lnTo>
                  <a:pt x="4233773" y="941273"/>
                </a:lnTo>
                <a:lnTo>
                  <a:pt x="4242473" y="987450"/>
                </a:lnTo>
                <a:lnTo>
                  <a:pt x="4253014" y="1032967"/>
                </a:lnTo>
                <a:lnTo>
                  <a:pt x="4265333" y="1077760"/>
                </a:lnTo>
                <a:lnTo>
                  <a:pt x="4279404" y="1121803"/>
                </a:lnTo>
                <a:lnTo>
                  <a:pt x="4295178" y="1165047"/>
                </a:lnTo>
                <a:lnTo>
                  <a:pt x="4312615" y="1207477"/>
                </a:lnTo>
                <a:lnTo>
                  <a:pt x="4331678" y="1249019"/>
                </a:lnTo>
                <a:lnTo>
                  <a:pt x="4352341" y="1289659"/>
                </a:lnTo>
                <a:lnTo>
                  <a:pt x="4374540" y="1329359"/>
                </a:lnTo>
                <a:lnTo>
                  <a:pt x="4398251" y="1368056"/>
                </a:lnTo>
                <a:lnTo>
                  <a:pt x="4423422" y="1405724"/>
                </a:lnTo>
                <a:lnTo>
                  <a:pt x="4450029" y="1442326"/>
                </a:lnTo>
                <a:lnTo>
                  <a:pt x="4478032" y="1477810"/>
                </a:lnTo>
                <a:lnTo>
                  <a:pt x="4507369" y="1512150"/>
                </a:lnTo>
                <a:lnTo>
                  <a:pt x="4538027" y="1545297"/>
                </a:lnTo>
                <a:lnTo>
                  <a:pt x="4569942" y="1577225"/>
                </a:lnTo>
                <a:lnTo>
                  <a:pt x="4603102" y="1607870"/>
                </a:lnTo>
                <a:lnTo>
                  <a:pt x="4637430" y="1637220"/>
                </a:lnTo>
                <a:lnTo>
                  <a:pt x="4672927" y="1665211"/>
                </a:lnTo>
                <a:lnTo>
                  <a:pt x="4709528" y="1691817"/>
                </a:lnTo>
                <a:lnTo>
                  <a:pt x="4747196" y="1716989"/>
                </a:lnTo>
                <a:lnTo>
                  <a:pt x="4785893" y="1740700"/>
                </a:lnTo>
                <a:lnTo>
                  <a:pt x="4825581" y="1762912"/>
                </a:lnTo>
                <a:lnTo>
                  <a:pt x="4866221" y="1783562"/>
                </a:lnTo>
                <a:lnTo>
                  <a:pt x="4907775" y="1802625"/>
                </a:lnTo>
                <a:lnTo>
                  <a:pt x="4950193" y="1820075"/>
                </a:lnTo>
                <a:lnTo>
                  <a:pt x="4993449" y="1835848"/>
                </a:lnTo>
                <a:lnTo>
                  <a:pt x="5037493" y="1849907"/>
                </a:lnTo>
                <a:lnTo>
                  <a:pt x="5082286" y="1862239"/>
                </a:lnTo>
                <a:lnTo>
                  <a:pt x="5127790" y="1872767"/>
                </a:lnTo>
                <a:lnTo>
                  <a:pt x="5173967" y="1881479"/>
                </a:lnTo>
                <a:lnTo>
                  <a:pt x="5220779" y="1888324"/>
                </a:lnTo>
                <a:lnTo>
                  <a:pt x="5268188" y="1893252"/>
                </a:lnTo>
                <a:lnTo>
                  <a:pt x="5316144" y="1896249"/>
                </a:lnTo>
                <a:lnTo>
                  <a:pt x="5364607" y="1897253"/>
                </a:lnTo>
                <a:lnTo>
                  <a:pt x="5413083" y="1896249"/>
                </a:lnTo>
                <a:lnTo>
                  <a:pt x="5461038" y="1893252"/>
                </a:lnTo>
                <a:lnTo>
                  <a:pt x="5508447" y="1888324"/>
                </a:lnTo>
                <a:lnTo>
                  <a:pt x="5555246" y="1881479"/>
                </a:lnTo>
                <a:lnTo>
                  <a:pt x="5601436" y="1872767"/>
                </a:lnTo>
                <a:lnTo>
                  <a:pt x="5646940" y="1862239"/>
                </a:lnTo>
                <a:lnTo>
                  <a:pt x="5691733" y="1849907"/>
                </a:lnTo>
                <a:lnTo>
                  <a:pt x="5735777" y="1835848"/>
                </a:lnTo>
                <a:lnTo>
                  <a:pt x="5779033" y="1820075"/>
                </a:lnTo>
                <a:lnTo>
                  <a:pt x="5821451" y="1802625"/>
                </a:lnTo>
                <a:lnTo>
                  <a:pt x="5863006" y="1783562"/>
                </a:lnTo>
                <a:lnTo>
                  <a:pt x="5903646" y="1762912"/>
                </a:lnTo>
                <a:lnTo>
                  <a:pt x="5943333" y="1740700"/>
                </a:lnTo>
                <a:lnTo>
                  <a:pt x="5982030" y="1716989"/>
                </a:lnTo>
                <a:lnTo>
                  <a:pt x="6019698" y="1691817"/>
                </a:lnTo>
                <a:lnTo>
                  <a:pt x="6056300" y="1665211"/>
                </a:lnTo>
                <a:lnTo>
                  <a:pt x="6091783" y="1637220"/>
                </a:lnTo>
                <a:lnTo>
                  <a:pt x="6126124" y="1607870"/>
                </a:lnTo>
                <a:lnTo>
                  <a:pt x="6159271" y="1577225"/>
                </a:lnTo>
                <a:lnTo>
                  <a:pt x="6191199" y="1545297"/>
                </a:lnTo>
                <a:lnTo>
                  <a:pt x="6221857" y="1512150"/>
                </a:lnTo>
                <a:lnTo>
                  <a:pt x="6251194" y="1477810"/>
                </a:lnTo>
                <a:lnTo>
                  <a:pt x="6279185" y="1442326"/>
                </a:lnTo>
                <a:lnTo>
                  <a:pt x="6305791" y="1405724"/>
                </a:lnTo>
                <a:lnTo>
                  <a:pt x="6330975" y="1368056"/>
                </a:lnTo>
                <a:lnTo>
                  <a:pt x="6354686" y="1329359"/>
                </a:lnTo>
                <a:lnTo>
                  <a:pt x="6376886" y="1289659"/>
                </a:lnTo>
                <a:lnTo>
                  <a:pt x="6397536" y="1249019"/>
                </a:lnTo>
                <a:lnTo>
                  <a:pt x="6416611" y="1207477"/>
                </a:lnTo>
                <a:lnTo>
                  <a:pt x="6434048" y="1165047"/>
                </a:lnTo>
                <a:lnTo>
                  <a:pt x="6449822" y="1121803"/>
                </a:lnTo>
                <a:lnTo>
                  <a:pt x="6463893" y="1077760"/>
                </a:lnTo>
                <a:lnTo>
                  <a:pt x="6476212" y="1032967"/>
                </a:lnTo>
                <a:lnTo>
                  <a:pt x="6486741" y="987450"/>
                </a:lnTo>
                <a:lnTo>
                  <a:pt x="6495453" y="941273"/>
                </a:lnTo>
                <a:lnTo>
                  <a:pt x="6502298" y="894461"/>
                </a:lnTo>
                <a:lnTo>
                  <a:pt x="6507239" y="847064"/>
                </a:lnTo>
                <a:lnTo>
                  <a:pt x="6510223" y="799096"/>
                </a:lnTo>
                <a:lnTo>
                  <a:pt x="6511226" y="750633"/>
                </a:lnTo>
                <a:close/>
              </a:path>
              <a:path w="13428344" h="7560309">
                <a:moveTo>
                  <a:pt x="7263955" y="2331961"/>
                </a:moveTo>
                <a:lnTo>
                  <a:pt x="7261212" y="2284628"/>
                </a:lnTo>
                <a:lnTo>
                  <a:pt x="7253224" y="2238883"/>
                </a:lnTo>
                <a:lnTo>
                  <a:pt x="7240283" y="2195055"/>
                </a:lnTo>
                <a:lnTo>
                  <a:pt x="7222693" y="2153437"/>
                </a:lnTo>
                <a:lnTo>
                  <a:pt x="7200747" y="2114334"/>
                </a:lnTo>
                <a:lnTo>
                  <a:pt x="7174763" y="2078062"/>
                </a:lnTo>
                <a:lnTo>
                  <a:pt x="7145045" y="2044915"/>
                </a:lnTo>
                <a:lnTo>
                  <a:pt x="7111898" y="2015197"/>
                </a:lnTo>
                <a:lnTo>
                  <a:pt x="7075627" y="1989213"/>
                </a:lnTo>
                <a:lnTo>
                  <a:pt x="7036524" y="1967268"/>
                </a:lnTo>
                <a:lnTo>
                  <a:pt x="6994906" y="1949678"/>
                </a:lnTo>
                <a:lnTo>
                  <a:pt x="6951078" y="1936737"/>
                </a:lnTo>
                <a:lnTo>
                  <a:pt x="6905333" y="1928736"/>
                </a:lnTo>
                <a:lnTo>
                  <a:pt x="6858000" y="1926005"/>
                </a:lnTo>
                <a:lnTo>
                  <a:pt x="6810654" y="1928736"/>
                </a:lnTo>
                <a:lnTo>
                  <a:pt x="6764909" y="1936737"/>
                </a:lnTo>
                <a:lnTo>
                  <a:pt x="6721081" y="1949678"/>
                </a:lnTo>
                <a:lnTo>
                  <a:pt x="6679463" y="1967268"/>
                </a:lnTo>
                <a:lnTo>
                  <a:pt x="6640360" y="1989213"/>
                </a:lnTo>
                <a:lnTo>
                  <a:pt x="6604089" y="2015197"/>
                </a:lnTo>
                <a:lnTo>
                  <a:pt x="6570942" y="2044915"/>
                </a:lnTo>
                <a:lnTo>
                  <a:pt x="6541224" y="2078062"/>
                </a:lnTo>
                <a:lnTo>
                  <a:pt x="6515240" y="2114334"/>
                </a:lnTo>
                <a:lnTo>
                  <a:pt x="6493294" y="2153437"/>
                </a:lnTo>
                <a:lnTo>
                  <a:pt x="6475704" y="2195055"/>
                </a:lnTo>
                <a:lnTo>
                  <a:pt x="6462763" y="2238883"/>
                </a:lnTo>
                <a:lnTo>
                  <a:pt x="6454775" y="2284628"/>
                </a:lnTo>
                <a:lnTo>
                  <a:pt x="6452044" y="2331961"/>
                </a:lnTo>
                <a:lnTo>
                  <a:pt x="6454775" y="2379307"/>
                </a:lnTo>
                <a:lnTo>
                  <a:pt x="6462763" y="2425039"/>
                </a:lnTo>
                <a:lnTo>
                  <a:pt x="6475704" y="2468867"/>
                </a:lnTo>
                <a:lnTo>
                  <a:pt x="6493294" y="2510485"/>
                </a:lnTo>
                <a:lnTo>
                  <a:pt x="6515240" y="2549588"/>
                </a:lnTo>
                <a:lnTo>
                  <a:pt x="6541224" y="2585859"/>
                </a:lnTo>
                <a:lnTo>
                  <a:pt x="6570942" y="2619006"/>
                </a:lnTo>
                <a:lnTo>
                  <a:pt x="6604089" y="2648724"/>
                </a:lnTo>
                <a:lnTo>
                  <a:pt x="6640360" y="2674709"/>
                </a:lnTo>
                <a:lnTo>
                  <a:pt x="6679463" y="2696654"/>
                </a:lnTo>
                <a:lnTo>
                  <a:pt x="6721081" y="2714244"/>
                </a:lnTo>
                <a:lnTo>
                  <a:pt x="6764909" y="2727185"/>
                </a:lnTo>
                <a:lnTo>
                  <a:pt x="6810654" y="2735173"/>
                </a:lnTo>
                <a:lnTo>
                  <a:pt x="6858000" y="2737904"/>
                </a:lnTo>
                <a:lnTo>
                  <a:pt x="6905333" y="2735173"/>
                </a:lnTo>
                <a:lnTo>
                  <a:pt x="6951078" y="2727185"/>
                </a:lnTo>
                <a:lnTo>
                  <a:pt x="6994906" y="2714244"/>
                </a:lnTo>
                <a:lnTo>
                  <a:pt x="7036524" y="2696654"/>
                </a:lnTo>
                <a:lnTo>
                  <a:pt x="7075627" y="2674709"/>
                </a:lnTo>
                <a:lnTo>
                  <a:pt x="7111898" y="2648724"/>
                </a:lnTo>
                <a:lnTo>
                  <a:pt x="7145045" y="2619006"/>
                </a:lnTo>
                <a:lnTo>
                  <a:pt x="7174763" y="2585859"/>
                </a:lnTo>
                <a:lnTo>
                  <a:pt x="7200747" y="2549588"/>
                </a:lnTo>
                <a:lnTo>
                  <a:pt x="7222693" y="2510485"/>
                </a:lnTo>
                <a:lnTo>
                  <a:pt x="7240283" y="2468867"/>
                </a:lnTo>
                <a:lnTo>
                  <a:pt x="7253224" y="2425039"/>
                </a:lnTo>
                <a:lnTo>
                  <a:pt x="7261212" y="2379307"/>
                </a:lnTo>
                <a:lnTo>
                  <a:pt x="7263955" y="2331961"/>
                </a:lnTo>
                <a:close/>
              </a:path>
              <a:path w="13428344" h="7560309">
                <a:moveTo>
                  <a:pt x="9683991" y="6804571"/>
                </a:moveTo>
                <a:lnTo>
                  <a:pt x="9679940" y="6759384"/>
                </a:lnTo>
                <a:lnTo>
                  <a:pt x="9668256" y="6716852"/>
                </a:lnTo>
                <a:lnTo>
                  <a:pt x="9649663" y="6677685"/>
                </a:lnTo>
                <a:lnTo>
                  <a:pt x="9624860" y="6642595"/>
                </a:lnTo>
                <a:lnTo>
                  <a:pt x="9594558" y="6612280"/>
                </a:lnTo>
                <a:lnTo>
                  <a:pt x="9559468" y="6587477"/>
                </a:lnTo>
                <a:lnTo>
                  <a:pt x="9520301" y="6568884"/>
                </a:lnTo>
                <a:lnTo>
                  <a:pt x="9477756" y="6557200"/>
                </a:lnTo>
                <a:lnTo>
                  <a:pt x="9432569" y="6553149"/>
                </a:lnTo>
                <a:lnTo>
                  <a:pt x="9387370" y="6557200"/>
                </a:lnTo>
                <a:lnTo>
                  <a:pt x="9344838" y="6568884"/>
                </a:lnTo>
                <a:lnTo>
                  <a:pt x="9305658" y="6587477"/>
                </a:lnTo>
                <a:lnTo>
                  <a:pt x="9270568" y="6612280"/>
                </a:lnTo>
                <a:lnTo>
                  <a:pt x="9240266" y="6642595"/>
                </a:lnTo>
                <a:lnTo>
                  <a:pt x="9215463" y="6677685"/>
                </a:lnTo>
                <a:lnTo>
                  <a:pt x="9196857" y="6716852"/>
                </a:lnTo>
                <a:lnTo>
                  <a:pt x="9185186" y="6759384"/>
                </a:lnTo>
                <a:lnTo>
                  <a:pt x="9181135" y="6804571"/>
                </a:lnTo>
                <a:lnTo>
                  <a:pt x="9185186" y="6849770"/>
                </a:lnTo>
                <a:lnTo>
                  <a:pt x="9196857" y="6892303"/>
                </a:lnTo>
                <a:lnTo>
                  <a:pt x="9215463" y="6931482"/>
                </a:lnTo>
                <a:lnTo>
                  <a:pt x="9240266" y="6966572"/>
                </a:lnTo>
                <a:lnTo>
                  <a:pt x="9270568" y="6996874"/>
                </a:lnTo>
                <a:lnTo>
                  <a:pt x="9305658" y="7021677"/>
                </a:lnTo>
                <a:lnTo>
                  <a:pt x="9344838" y="7040283"/>
                </a:lnTo>
                <a:lnTo>
                  <a:pt x="9387370" y="7051954"/>
                </a:lnTo>
                <a:lnTo>
                  <a:pt x="9432569" y="7056006"/>
                </a:lnTo>
                <a:lnTo>
                  <a:pt x="9477756" y="7051954"/>
                </a:lnTo>
                <a:lnTo>
                  <a:pt x="9520301" y="7040283"/>
                </a:lnTo>
                <a:lnTo>
                  <a:pt x="9559468" y="7021677"/>
                </a:lnTo>
                <a:lnTo>
                  <a:pt x="9594558" y="6996874"/>
                </a:lnTo>
                <a:lnTo>
                  <a:pt x="9624860" y="6966572"/>
                </a:lnTo>
                <a:lnTo>
                  <a:pt x="9649663" y="6931482"/>
                </a:lnTo>
                <a:lnTo>
                  <a:pt x="9668256" y="6892303"/>
                </a:lnTo>
                <a:lnTo>
                  <a:pt x="9679940" y="6849770"/>
                </a:lnTo>
                <a:lnTo>
                  <a:pt x="9683991" y="6804571"/>
                </a:lnTo>
                <a:close/>
              </a:path>
              <a:path w="13428344" h="7560309">
                <a:moveTo>
                  <a:pt x="10395331" y="7534681"/>
                </a:moveTo>
                <a:lnTo>
                  <a:pt x="10392639" y="7487958"/>
                </a:lnTo>
                <a:lnTo>
                  <a:pt x="10384752" y="7442809"/>
                </a:lnTo>
                <a:lnTo>
                  <a:pt x="10371976" y="7399553"/>
                </a:lnTo>
                <a:lnTo>
                  <a:pt x="10354615" y="7358481"/>
                </a:lnTo>
                <a:lnTo>
                  <a:pt x="10332949" y="7319886"/>
                </a:lnTo>
                <a:lnTo>
                  <a:pt x="10307307" y="7284085"/>
                </a:lnTo>
                <a:lnTo>
                  <a:pt x="10277983" y="7251370"/>
                </a:lnTo>
                <a:lnTo>
                  <a:pt x="10245268" y="7222033"/>
                </a:lnTo>
                <a:lnTo>
                  <a:pt x="10209454" y="7196391"/>
                </a:lnTo>
                <a:lnTo>
                  <a:pt x="10170871" y="7174738"/>
                </a:lnTo>
                <a:lnTo>
                  <a:pt x="10129787" y="7157377"/>
                </a:lnTo>
                <a:lnTo>
                  <a:pt x="10086530" y="7144601"/>
                </a:lnTo>
                <a:lnTo>
                  <a:pt x="10041395" y="7136714"/>
                </a:lnTo>
                <a:lnTo>
                  <a:pt x="9994659" y="7134009"/>
                </a:lnTo>
                <a:lnTo>
                  <a:pt x="9947935" y="7136714"/>
                </a:lnTo>
                <a:lnTo>
                  <a:pt x="9902787" y="7144601"/>
                </a:lnTo>
                <a:lnTo>
                  <a:pt x="9859531" y="7157377"/>
                </a:lnTo>
                <a:lnTo>
                  <a:pt x="9818459" y="7174738"/>
                </a:lnTo>
                <a:lnTo>
                  <a:pt x="9779864" y="7196391"/>
                </a:lnTo>
                <a:lnTo>
                  <a:pt x="9744062" y="7222033"/>
                </a:lnTo>
                <a:lnTo>
                  <a:pt x="9711347" y="7251370"/>
                </a:lnTo>
                <a:lnTo>
                  <a:pt x="9682010" y="7284085"/>
                </a:lnTo>
                <a:lnTo>
                  <a:pt x="9656369" y="7319886"/>
                </a:lnTo>
                <a:lnTo>
                  <a:pt x="9634715" y="7358481"/>
                </a:lnTo>
                <a:lnTo>
                  <a:pt x="9617354" y="7399553"/>
                </a:lnTo>
                <a:lnTo>
                  <a:pt x="9604578" y="7442809"/>
                </a:lnTo>
                <a:lnTo>
                  <a:pt x="9596691" y="7487958"/>
                </a:lnTo>
                <a:lnTo>
                  <a:pt x="9593986" y="7534681"/>
                </a:lnTo>
                <a:lnTo>
                  <a:pt x="9595447" y="7560005"/>
                </a:lnTo>
                <a:lnTo>
                  <a:pt x="10393870" y="7560005"/>
                </a:lnTo>
                <a:lnTo>
                  <a:pt x="10395331" y="7534681"/>
                </a:lnTo>
                <a:close/>
              </a:path>
              <a:path w="13428344" h="7560309">
                <a:moveTo>
                  <a:pt x="10611333" y="6562687"/>
                </a:moveTo>
                <a:lnTo>
                  <a:pt x="10608640" y="6515963"/>
                </a:lnTo>
                <a:lnTo>
                  <a:pt x="10600754" y="6470815"/>
                </a:lnTo>
                <a:lnTo>
                  <a:pt x="10587977" y="6427559"/>
                </a:lnTo>
                <a:lnTo>
                  <a:pt x="10570604" y="6386474"/>
                </a:lnTo>
                <a:lnTo>
                  <a:pt x="10548950" y="6347892"/>
                </a:lnTo>
                <a:lnTo>
                  <a:pt x="10523309" y="6312090"/>
                </a:lnTo>
                <a:lnTo>
                  <a:pt x="10493985" y="6279362"/>
                </a:lnTo>
                <a:lnTo>
                  <a:pt x="10461257" y="6250038"/>
                </a:lnTo>
                <a:lnTo>
                  <a:pt x="10425455" y="6224397"/>
                </a:lnTo>
                <a:lnTo>
                  <a:pt x="10386873" y="6202731"/>
                </a:lnTo>
                <a:lnTo>
                  <a:pt x="10345788" y="6185370"/>
                </a:lnTo>
                <a:lnTo>
                  <a:pt x="10302532" y="6172593"/>
                </a:lnTo>
                <a:lnTo>
                  <a:pt x="10257384" y="6164707"/>
                </a:lnTo>
                <a:lnTo>
                  <a:pt x="10210660" y="6162014"/>
                </a:lnTo>
                <a:lnTo>
                  <a:pt x="10163937" y="6164707"/>
                </a:lnTo>
                <a:lnTo>
                  <a:pt x="10118788" y="6172593"/>
                </a:lnTo>
                <a:lnTo>
                  <a:pt x="10075532" y="6185370"/>
                </a:lnTo>
                <a:lnTo>
                  <a:pt x="10034460" y="6202731"/>
                </a:lnTo>
                <a:lnTo>
                  <a:pt x="9995865" y="6224397"/>
                </a:lnTo>
                <a:lnTo>
                  <a:pt x="9960064" y="6250038"/>
                </a:lnTo>
                <a:lnTo>
                  <a:pt x="9927349" y="6279362"/>
                </a:lnTo>
                <a:lnTo>
                  <a:pt x="9898012" y="6312090"/>
                </a:lnTo>
                <a:lnTo>
                  <a:pt x="9872370" y="6347892"/>
                </a:lnTo>
                <a:lnTo>
                  <a:pt x="9850717" y="6386474"/>
                </a:lnTo>
                <a:lnTo>
                  <a:pt x="9833343" y="6427559"/>
                </a:lnTo>
                <a:lnTo>
                  <a:pt x="9820567" y="6470815"/>
                </a:lnTo>
                <a:lnTo>
                  <a:pt x="9812680" y="6515963"/>
                </a:lnTo>
                <a:lnTo>
                  <a:pt x="9809988" y="6562687"/>
                </a:lnTo>
                <a:lnTo>
                  <a:pt x="9812680" y="6609410"/>
                </a:lnTo>
                <a:lnTo>
                  <a:pt x="9820567" y="6654559"/>
                </a:lnTo>
                <a:lnTo>
                  <a:pt x="9833343" y="6697815"/>
                </a:lnTo>
                <a:lnTo>
                  <a:pt x="9850717" y="6738887"/>
                </a:lnTo>
                <a:lnTo>
                  <a:pt x="9872370" y="6777482"/>
                </a:lnTo>
                <a:lnTo>
                  <a:pt x="9898012" y="6813283"/>
                </a:lnTo>
                <a:lnTo>
                  <a:pt x="9927349" y="6845998"/>
                </a:lnTo>
                <a:lnTo>
                  <a:pt x="9960064" y="6875323"/>
                </a:lnTo>
                <a:lnTo>
                  <a:pt x="9995865" y="6900964"/>
                </a:lnTo>
                <a:lnTo>
                  <a:pt x="10034460" y="6922617"/>
                </a:lnTo>
                <a:lnTo>
                  <a:pt x="10075532" y="6939991"/>
                </a:lnTo>
                <a:lnTo>
                  <a:pt x="10118788" y="6952767"/>
                </a:lnTo>
                <a:lnTo>
                  <a:pt x="10163937" y="6960654"/>
                </a:lnTo>
                <a:lnTo>
                  <a:pt x="10210660" y="6963346"/>
                </a:lnTo>
                <a:lnTo>
                  <a:pt x="10257384" y="6960654"/>
                </a:lnTo>
                <a:lnTo>
                  <a:pt x="10302532" y="6952767"/>
                </a:lnTo>
                <a:lnTo>
                  <a:pt x="10345788" y="6939991"/>
                </a:lnTo>
                <a:lnTo>
                  <a:pt x="10386873" y="6922617"/>
                </a:lnTo>
                <a:lnTo>
                  <a:pt x="10425455" y="6900964"/>
                </a:lnTo>
                <a:lnTo>
                  <a:pt x="10461257" y="6875323"/>
                </a:lnTo>
                <a:lnTo>
                  <a:pt x="10493985" y="6845998"/>
                </a:lnTo>
                <a:lnTo>
                  <a:pt x="10523309" y="6813283"/>
                </a:lnTo>
                <a:lnTo>
                  <a:pt x="10548950" y="6777482"/>
                </a:lnTo>
                <a:lnTo>
                  <a:pt x="10570604" y="6738887"/>
                </a:lnTo>
                <a:lnTo>
                  <a:pt x="10587977" y="6697815"/>
                </a:lnTo>
                <a:lnTo>
                  <a:pt x="10600754" y="6654559"/>
                </a:lnTo>
                <a:lnTo>
                  <a:pt x="10608640" y="6609410"/>
                </a:lnTo>
                <a:lnTo>
                  <a:pt x="10611333" y="6562687"/>
                </a:lnTo>
                <a:close/>
              </a:path>
              <a:path w="13428344" h="7560309">
                <a:moveTo>
                  <a:pt x="13427951" y="4216793"/>
                </a:moveTo>
                <a:lnTo>
                  <a:pt x="13384009" y="4191304"/>
                </a:lnTo>
                <a:lnTo>
                  <a:pt x="13342938" y="4173944"/>
                </a:lnTo>
                <a:lnTo>
                  <a:pt x="13299669" y="4161167"/>
                </a:lnTo>
                <a:lnTo>
                  <a:pt x="13254533" y="4153281"/>
                </a:lnTo>
                <a:lnTo>
                  <a:pt x="13207810" y="4150576"/>
                </a:lnTo>
                <a:lnTo>
                  <a:pt x="13161074" y="4153281"/>
                </a:lnTo>
                <a:lnTo>
                  <a:pt x="13115938" y="4161167"/>
                </a:lnTo>
                <a:lnTo>
                  <a:pt x="13072669" y="4173944"/>
                </a:lnTo>
                <a:lnTo>
                  <a:pt x="13031597" y="4191304"/>
                </a:lnTo>
                <a:lnTo>
                  <a:pt x="12993015" y="4212958"/>
                </a:lnTo>
                <a:lnTo>
                  <a:pt x="12957201" y="4238599"/>
                </a:lnTo>
                <a:lnTo>
                  <a:pt x="12924485" y="4267936"/>
                </a:lnTo>
                <a:lnTo>
                  <a:pt x="12895161" y="4300652"/>
                </a:lnTo>
                <a:lnTo>
                  <a:pt x="12869507" y="4336453"/>
                </a:lnTo>
                <a:lnTo>
                  <a:pt x="12847854" y="4375048"/>
                </a:lnTo>
                <a:lnTo>
                  <a:pt x="12830493" y="4416120"/>
                </a:lnTo>
                <a:lnTo>
                  <a:pt x="12817716" y="4459389"/>
                </a:lnTo>
                <a:lnTo>
                  <a:pt x="12809830" y="4504525"/>
                </a:lnTo>
                <a:lnTo>
                  <a:pt x="12807137" y="4551248"/>
                </a:lnTo>
                <a:lnTo>
                  <a:pt x="12809830" y="4597971"/>
                </a:lnTo>
                <a:lnTo>
                  <a:pt x="12817716" y="4643120"/>
                </a:lnTo>
                <a:lnTo>
                  <a:pt x="12830493" y="4686376"/>
                </a:lnTo>
                <a:lnTo>
                  <a:pt x="12847854" y="4727448"/>
                </a:lnTo>
                <a:lnTo>
                  <a:pt x="12869507" y="4766043"/>
                </a:lnTo>
                <a:lnTo>
                  <a:pt x="12895161" y="4801844"/>
                </a:lnTo>
                <a:lnTo>
                  <a:pt x="12924485" y="4834560"/>
                </a:lnTo>
                <a:lnTo>
                  <a:pt x="12957201" y="4863897"/>
                </a:lnTo>
                <a:lnTo>
                  <a:pt x="12993015" y="4889538"/>
                </a:lnTo>
                <a:lnTo>
                  <a:pt x="13031597" y="4911191"/>
                </a:lnTo>
                <a:lnTo>
                  <a:pt x="13072669" y="4928552"/>
                </a:lnTo>
                <a:lnTo>
                  <a:pt x="13115938" y="4941328"/>
                </a:lnTo>
                <a:lnTo>
                  <a:pt x="13161074" y="4949215"/>
                </a:lnTo>
                <a:lnTo>
                  <a:pt x="13207810" y="4951908"/>
                </a:lnTo>
                <a:lnTo>
                  <a:pt x="13254533" y="4949215"/>
                </a:lnTo>
                <a:lnTo>
                  <a:pt x="13299669" y="4941328"/>
                </a:lnTo>
                <a:lnTo>
                  <a:pt x="13342938" y="4928552"/>
                </a:lnTo>
                <a:lnTo>
                  <a:pt x="13384009" y="4911191"/>
                </a:lnTo>
                <a:lnTo>
                  <a:pt x="13422605" y="4889538"/>
                </a:lnTo>
                <a:lnTo>
                  <a:pt x="13427951" y="4885702"/>
                </a:lnTo>
                <a:lnTo>
                  <a:pt x="13427951" y="4216793"/>
                </a:lnTo>
                <a:close/>
              </a:path>
              <a:path w="13428344" h="7560309">
                <a:moveTo>
                  <a:pt x="13427951" y="2274125"/>
                </a:moveTo>
                <a:lnTo>
                  <a:pt x="13356323" y="2246414"/>
                </a:lnTo>
                <a:lnTo>
                  <a:pt x="13312559" y="2233130"/>
                </a:lnTo>
                <a:lnTo>
                  <a:pt x="13267868" y="2222106"/>
                </a:lnTo>
                <a:lnTo>
                  <a:pt x="13222300" y="2213419"/>
                </a:lnTo>
                <a:lnTo>
                  <a:pt x="13175920" y="2207120"/>
                </a:lnTo>
                <a:lnTo>
                  <a:pt x="13128803" y="2203297"/>
                </a:lnTo>
                <a:lnTo>
                  <a:pt x="13081013" y="2202015"/>
                </a:lnTo>
                <a:lnTo>
                  <a:pt x="13033223" y="2203297"/>
                </a:lnTo>
                <a:lnTo>
                  <a:pt x="12986106" y="2207120"/>
                </a:lnTo>
                <a:lnTo>
                  <a:pt x="12939725" y="2213419"/>
                </a:lnTo>
                <a:lnTo>
                  <a:pt x="12894158" y="2222106"/>
                </a:lnTo>
                <a:lnTo>
                  <a:pt x="12849454" y="2233130"/>
                </a:lnTo>
                <a:lnTo>
                  <a:pt x="12805702" y="2246414"/>
                </a:lnTo>
                <a:lnTo>
                  <a:pt x="12762954" y="2261908"/>
                </a:lnTo>
                <a:lnTo>
                  <a:pt x="12721273" y="2279535"/>
                </a:lnTo>
                <a:lnTo>
                  <a:pt x="12680722" y="2299233"/>
                </a:lnTo>
                <a:lnTo>
                  <a:pt x="12641390" y="2320937"/>
                </a:lnTo>
                <a:lnTo>
                  <a:pt x="12603328" y="2344572"/>
                </a:lnTo>
                <a:lnTo>
                  <a:pt x="12566599" y="2370074"/>
                </a:lnTo>
                <a:lnTo>
                  <a:pt x="12531281" y="2397379"/>
                </a:lnTo>
                <a:lnTo>
                  <a:pt x="12497422" y="2426411"/>
                </a:lnTo>
                <a:lnTo>
                  <a:pt x="12465114" y="2457132"/>
                </a:lnTo>
                <a:lnTo>
                  <a:pt x="12434392" y="2489441"/>
                </a:lnTo>
                <a:lnTo>
                  <a:pt x="12405360" y="2523299"/>
                </a:lnTo>
                <a:lnTo>
                  <a:pt x="12378055" y="2558618"/>
                </a:lnTo>
                <a:lnTo>
                  <a:pt x="12352541" y="2595346"/>
                </a:lnTo>
                <a:lnTo>
                  <a:pt x="12328919" y="2633408"/>
                </a:lnTo>
                <a:lnTo>
                  <a:pt x="12307214" y="2672753"/>
                </a:lnTo>
                <a:lnTo>
                  <a:pt x="12287517" y="2713291"/>
                </a:lnTo>
                <a:lnTo>
                  <a:pt x="12269889" y="2754973"/>
                </a:lnTo>
                <a:lnTo>
                  <a:pt x="12254395" y="2797721"/>
                </a:lnTo>
                <a:lnTo>
                  <a:pt x="12241111" y="2841485"/>
                </a:lnTo>
                <a:lnTo>
                  <a:pt x="12230087" y="2886176"/>
                </a:lnTo>
                <a:lnTo>
                  <a:pt x="12221388" y="2931744"/>
                </a:lnTo>
                <a:lnTo>
                  <a:pt x="12215101" y="2978124"/>
                </a:lnTo>
                <a:lnTo>
                  <a:pt x="12211279" y="3025241"/>
                </a:lnTo>
                <a:lnTo>
                  <a:pt x="12209996" y="3073031"/>
                </a:lnTo>
                <a:lnTo>
                  <a:pt x="12211279" y="3120821"/>
                </a:lnTo>
                <a:lnTo>
                  <a:pt x="12215101" y="3167938"/>
                </a:lnTo>
                <a:lnTo>
                  <a:pt x="12221388" y="3214319"/>
                </a:lnTo>
                <a:lnTo>
                  <a:pt x="12230087" y="3259886"/>
                </a:lnTo>
                <a:lnTo>
                  <a:pt x="12241111" y="3304578"/>
                </a:lnTo>
                <a:lnTo>
                  <a:pt x="12254395" y="3348342"/>
                </a:lnTo>
                <a:lnTo>
                  <a:pt x="12269889" y="3391090"/>
                </a:lnTo>
                <a:lnTo>
                  <a:pt x="12287517" y="3432772"/>
                </a:lnTo>
                <a:lnTo>
                  <a:pt x="12307214" y="3473310"/>
                </a:lnTo>
                <a:lnTo>
                  <a:pt x="12328919" y="3512655"/>
                </a:lnTo>
                <a:lnTo>
                  <a:pt x="12352541" y="3550716"/>
                </a:lnTo>
                <a:lnTo>
                  <a:pt x="12378055" y="3587445"/>
                </a:lnTo>
                <a:lnTo>
                  <a:pt x="12405360" y="3622764"/>
                </a:lnTo>
                <a:lnTo>
                  <a:pt x="12434392" y="3656622"/>
                </a:lnTo>
                <a:lnTo>
                  <a:pt x="12465114" y="3688931"/>
                </a:lnTo>
                <a:lnTo>
                  <a:pt x="12497422" y="3719639"/>
                </a:lnTo>
                <a:lnTo>
                  <a:pt x="12531281" y="3748684"/>
                </a:lnTo>
                <a:lnTo>
                  <a:pt x="12566599" y="3775989"/>
                </a:lnTo>
                <a:lnTo>
                  <a:pt x="12603328" y="3801491"/>
                </a:lnTo>
                <a:lnTo>
                  <a:pt x="12641390" y="3825125"/>
                </a:lnTo>
                <a:lnTo>
                  <a:pt x="12680722" y="3846830"/>
                </a:lnTo>
                <a:lnTo>
                  <a:pt x="12721273" y="3866527"/>
                </a:lnTo>
                <a:lnTo>
                  <a:pt x="12762954" y="3884155"/>
                </a:lnTo>
                <a:lnTo>
                  <a:pt x="12805702" y="3899636"/>
                </a:lnTo>
                <a:lnTo>
                  <a:pt x="12849454" y="3912933"/>
                </a:lnTo>
                <a:lnTo>
                  <a:pt x="12894158" y="3923957"/>
                </a:lnTo>
                <a:lnTo>
                  <a:pt x="12939725" y="3932644"/>
                </a:lnTo>
                <a:lnTo>
                  <a:pt x="12986106" y="3938930"/>
                </a:lnTo>
                <a:lnTo>
                  <a:pt x="13033223" y="3942753"/>
                </a:lnTo>
                <a:lnTo>
                  <a:pt x="13081013" y="3944048"/>
                </a:lnTo>
                <a:lnTo>
                  <a:pt x="13128803" y="3942753"/>
                </a:lnTo>
                <a:lnTo>
                  <a:pt x="13175920" y="3938930"/>
                </a:lnTo>
                <a:lnTo>
                  <a:pt x="13222300" y="3932644"/>
                </a:lnTo>
                <a:lnTo>
                  <a:pt x="13267868" y="3923957"/>
                </a:lnTo>
                <a:lnTo>
                  <a:pt x="13312559" y="3912933"/>
                </a:lnTo>
                <a:lnTo>
                  <a:pt x="13356323" y="3899636"/>
                </a:lnTo>
                <a:lnTo>
                  <a:pt x="13399072" y="3884155"/>
                </a:lnTo>
                <a:lnTo>
                  <a:pt x="13427951" y="3871938"/>
                </a:lnTo>
                <a:lnTo>
                  <a:pt x="13427951" y="2274125"/>
                </a:lnTo>
                <a:close/>
              </a:path>
            </a:pathLst>
          </a:custGeom>
          <a:solidFill>
            <a:srgbClr val="00AFFF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59032" y="323841"/>
            <a:ext cx="2409934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42828" y="4045890"/>
            <a:ext cx="2694661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BF7EEC-507A-5DAF-041E-6C88DA7CD38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59810" y="5994450"/>
            <a:ext cx="2177679" cy="865909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56A3293-0A25-9254-24C1-0102A4EFA6AA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528540" y="569748"/>
            <a:ext cx="2993617" cy="2953425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278CA799-987B-A375-4C17-9D3DEB73736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129092" y="2844799"/>
            <a:ext cx="5166198" cy="509683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50AD25F3-855C-5EB6-FE7B-3C66BC00A2E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7221221" y="-501494"/>
            <a:ext cx="3537548" cy="34900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296069B-042B-27A3-FD0E-ECE4DCE3A473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9173795" y="3523173"/>
            <a:ext cx="2005782" cy="19788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2811845"/>
      </p:ext>
    </p:extLst>
  </p:cSld>
  <p:clrMapOvr>
    <a:masterClrMapping/>
  </p:clrMapOvr>
  <p:hf sldNum="0"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7658028" y="4109545"/>
            <a:ext cx="4243583" cy="1436853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object 7">
            <a:extLst>
              <a:ext uri="{FF2B5EF4-FFF2-40B4-BE49-F238E27FC236}">
                <a16:creationId xmlns:a16="http://schemas.microsoft.com/office/drawing/2014/main" id="{8553A972-1E95-D470-43E7-20722BD9B698}"/>
              </a:ext>
            </a:extLst>
          </p:cNvPr>
          <p:cNvSpPr/>
          <p:nvPr/>
        </p:nvSpPr>
        <p:spPr>
          <a:xfrm>
            <a:off x="8504433" y="4290554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34" y="0"/>
                </a:moveTo>
                <a:lnTo>
                  <a:pt x="206239" y="4051"/>
                </a:lnTo>
                <a:lnTo>
                  <a:pt x="163701" y="15730"/>
                </a:lnTo>
                <a:lnTo>
                  <a:pt x="124531" y="34328"/>
                </a:lnTo>
                <a:lnTo>
                  <a:pt x="89439" y="59134"/>
                </a:lnTo>
                <a:lnTo>
                  <a:pt x="59134" y="89439"/>
                </a:lnTo>
                <a:lnTo>
                  <a:pt x="34328" y="124531"/>
                </a:lnTo>
                <a:lnTo>
                  <a:pt x="15730" y="163701"/>
                </a:lnTo>
                <a:lnTo>
                  <a:pt x="4051" y="206239"/>
                </a:lnTo>
                <a:lnTo>
                  <a:pt x="0" y="251434"/>
                </a:lnTo>
                <a:lnTo>
                  <a:pt x="4051" y="296626"/>
                </a:lnTo>
                <a:lnTo>
                  <a:pt x="15730" y="339160"/>
                </a:lnTo>
                <a:lnTo>
                  <a:pt x="34328" y="378328"/>
                </a:lnTo>
                <a:lnTo>
                  <a:pt x="59134" y="413419"/>
                </a:lnTo>
                <a:lnTo>
                  <a:pt x="89439" y="443722"/>
                </a:lnTo>
                <a:lnTo>
                  <a:pt x="124531" y="468528"/>
                </a:lnTo>
                <a:lnTo>
                  <a:pt x="163701" y="487126"/>
                </a:lnTo>
                <a:lnTo>
                  <a:pt x="206239" y="498805"/>
                </a:lnTo>
                <a:lnTo>
                  <a:pt x="251434" y="502856"/>
                </a:lnTo>
                <a:lnTo>
                  <a:pt x="296629" y="498805"/>
                </a:lnTo>
                <a:lnTo>
                  <a:pt x="339165" y="487126"/>
                </a:lnTo>
                <a:lnTo>
                  <a:pt x="378334" y="468528"/>
                </a:lnTo>
                <a:lnTo>
                  <a:pt x="413424" y="443722"/>
                </a:lnTo>
                <a:lnTo>
                  <a:pt x="443726" y="413419"/>
                </a:lnTo>
                <a:lnTo>
                  <a:pt x="468531" y="378328"/>
                </a:lnTo>
                <a:lnTo>
                  <a:pt x="487127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7" y="163701"/>
                </a:lnTo>
                <a:lnTo>
                  <a:pt x="468531" y="124531"/>
                </a:lnTo>
                <a:lnTo>
                  <a:pt x="443726" y="89439"/>
                </a:lnTo>
                <a:lnTo>
                  <a:pt x="413424" y="59134"/>
                </a:lnTo>
                <a:lnTo>
                  <a:pt x="378334" y="34328"/>
                </a:lnTo>
                <a:lnTo>
                  <a:pt x="339165" y="15730"/>
                </a:lnTo>
                <a:lnTo>
                  <a:pt x="296629" y="4051"/>
                </a:lnTo>
                <a:lnTo>
                  <a:pt x="251434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8">
            <a:extLst>
              <a:ext uri="{FF2B5EF4-FFF2-40B4-BE49-F238E27FC236}">
                <a16:creationId xmlns:a16="http://schemas.microsoft.com/office/drawing/2014/main" id="{745FCC51-35A5-6552-1BCA-809EA904C4EA}"/>
              </a:ext>
            </a:extLst>
          </p:cNvPr>
          <p:cNvSpPr/>
          <p:nvPr/>
        </p:nvSpPr>
        <p:spPr>
          <a:xfrm>
            <a:off x="2057190" y="5942400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19" h="502920">
                <a:moveTo>
                  <a:pt x="251421" y="0"/>
                </a:moveTo>
                <a:lnTo>
                  <a:pt x="206227" y="4050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3"/>
                </a:lnTo>
                <a:lnTo>
                  <a:pt x="59129" y="89437"/>
                </a:lnTo>
                <a:lnTo>
                  <a:pt x="34325" y="124527"/>
                </a:lnTo>
                <a:lnTo>
                  <a:pt x="15728" y="163695"/>
                </a:lnTo>
                <a:lnTo>
                  <a:pt x="4050" y="206230"/>
                </a:lnTo>
                <a:lnTo>
                  <a:pt x="0" y="251421"/>
                </a:lnTo>
                <a:lnTo>
                  <a:pt x="4050" y="296617"/>
                </a:lnTo>
                <a:lnTo>
                  <a:pt x="15728" y="339154"/>
                </a:lnTo>
                <a:lnTo>
                  <a:pt x="34325" y="378325"/>
                </a:lnTo>
                <a:lnTo>
                  <a:pt x="59129" y="413417"/>
                </a:lnTo>
                <a:lnTo>
                  <a:pt x="89431" y="443721"/>
                </a:lnTo>
                <a:lnTo>
                  <a:pt x="124522" y="468527"/>
                </a:lnTo>
                <a:lnTo>
                  <a:pt x="163690" y="487125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5"/>
                </a:lnTo>
                <a:lnTo>
                  <a:pt x="378325" y="468527"/>
                </a:lnTo>
                <a:lnTo>
                  <a:pt x="413417" y="443721"/>
                </a:lnTo>
                <a:lnTo>
                  <a:pt x="443721" y="413417"/>
                </a:lnTo>
                <a:lnTo>
                  <a:pt x="468527" y="378325"/>
                </a:lnTo>
                <a:lnTo>
                  <a:pt x="487125" y="339154"/>
                </a:lnTo>
                <a:lnTo>
                  <a:pt x="498805" y="296617"/>
                </a:lnTo>
                <a:lnTo>
                  <a:pt x="502856" y="251421"/>
                </a:lnTo>
                <a:lnTo>
                  <a:pt x="498805" y="206230"/>
                </a:lnTo>
                <a:lnTo>
                  <a:pt x="487125" y="163695"/>
                </a:lnTo>
                <a:lnTo>
                  <a:pt x="468527" y="124527"/>
                </a:lnTo>
                <a:lnTo>
                  <a:pt x="443721" y="89437"/>
                </a:lnTo>
                <a:lnTo>
                  <a:pt x="413417" y="59133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0"/>
                </a:lnTo>
                <a:lnTo>
                  <a:pt x="251421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9">
            <a:extLst>
              <a:ext uri="{FF2B5EF4-FFF2-40B4-BE49-F238E27FC236}">
                <a16:creationId xmlns:a16="http://schemas.microsoft.com/office/drawing/2014/main" id="{C5EB0FD8-7C29-F50A-8BC6-F6015FCF50C1}"/>
              </a:ext>
            </a:extLst>
          </p:cNvPr>
          <p:cNvSpPr/>
          <p:nvPr/>
        </p:nvSpPr>
        <p:spPr>
          <a:xfrm>
            <a:off x="8267563" y="4977217"/>
            <a:ext cx="2079857" cy="1878320"/>
          </a:xfrm>
          <a:custGeom>
            <a:avLst/>
            <a:gdLst/>
            <a:ahLst/>
            <a:cxnLst/>
            <a:rect l="l" t="t" r="r" b="b"/>
            <a:pathLst>
              <a:path w="2293620" h="2071370">
                <a:moveTo>
                  <a:pt x="1146619" y="0"/>
                </a:moveTo>
                <a:lnTo>
                  <a:pt x="1098150" y="1005"/>
                </a:lnTo>
                <a:lnTo>
                  <a:pt x="1050193" y="3997"/>
                </a:lnTo>
                <a:lnTo>
                  <a:pt x="1002790" y="8933"/>
                </a:lnTo>
                <a:lnTo>
                  <a:pt x="955978" y="15776"/>
                </a:lnTo>
                <a:lnTo>
                  <a:pt x="909799" y="24484"/>
                </a:lnTo>
                <a:lnTo>
                  <a:pt x="864291" y="35018"/>
                </a:lnTo>
                <a:lnTo>
                  <a:pt x="819496" y="47339"/>
                </a:lnTo>
                <a:lnTo>
                  <a:pt x="775452" y="61406"/>
                </a:lnTo>
                <a:lnTo>
                  <a:pt x="732199" y="77180"/>
                </a:lnTo>
                <a:lnTo>
                  <a:pt x="689778" y="94621"/>
                </a:lnTo>
                <a:lnTo>
                  <a:pt x="648227" y="113689"/>
                </a:lnTo>
                <a:lnTo>
                  <a:pt x="607588" y="134344"/>
                </a:lnTo>
                <a:lnTo>
                  <a:pt x="567898" y="156547"/>
                </a:lnTo>
                <a:lnTo>
                  <a:pt x="529199" y="180257"/>
                </a:lnTo>
                <a:lnTo>
                  <a:pt x="491531" y="205436"/>
                </a:lnTo>
                <a:lnTo>
                  <a:pt x="454932" y="232042"/>
                </a:lnTo>
                <a:lnTo>
                  <a:pt x="419443" y="260037"/>
                </a:lnTo>
                <a:lnTo>
                  <a:pt x="385103" y="289380"/>
                </a:lnTo>
                <a:lnTo>
                  <a:pt x="351953" y="320032"/>
                </a:lnTo>
                <a:lnTo>
                  <a:pt x="320032" y="351953"/>
                </a:lnTo>
                <a:lnTo>
                  <a:pt x="289380" y="385103"/>
                </a:lnTo>
                <a:lnTo>
                  <a:pt x="260037" y="419443"/>
                </a:lnTo>
                <a:lnTo>
                  <a:pt x="232042" y="454932"/>
                </a:lnTo>
                <a:lnTo>
                  <a:pt x="205436" y="491531"/>
                </a:lnTo>
                <a:lnTo>
                  <a:pt x="180257" y="529199"/>
                </a:lnTo>
                <a:lnTo>
                  <a:pt x="156547" y="567898"/>
                </a:lnTo>
                <a:lnTo>
                  <a:pt x="134344" y="607588"/>
                </a:lnTo>
                <a:lnTo>
                  <a:pt x="113689" y="648227"/>
                </a:lnTo>
                <a:lnTo>
                  <a:pt x="94621" y="689778"/>
                </a:lnTo>
                <a:lnTo>
                  <a:pt x="77180" y="732199"/>
                </a:lnTo>
                <a:lnTo>
                  <a:pt x="61406" y="775452"/>
                </a:lnTo>
                <a:lnTo>
                  <a:pt x="47339" y="819496"/>
                </a:lnTo>
                <a:lnTo>
                  <a:pt x="35018" y="864291"/>
                </a:lnTo>
                <a:lnTo>
                  <a:pt x="24484" y="909799"/>
                </a:lnTo>
                <a:lnTo>
                  <a:pt x="15776" y="955978"/>
                </a:lnTo>
                <a:lnTo>
                  <a:pt x="8933" y="1002790"/>
                </a:lnTo>
                <a:lnTo>
                  <a:pt x="3997" y="1050193"/>
                </a:lnTo>
                <a:lnTo>
                  <a:pt x="1005" y="1098150"/>
                </a:lnTo>
                <a:lnTo>
                  <a:pt x="0" y="1146619"/>
                </a:lnTo>
                <a:lnTo>
                  <a:pt x="1005" y="1195088"/>
                </a:lnTo>
                <a:lnTo>
                  <a:pt x="3997" y="1243045"/>
                </a:lnTo>
                <a:lnTo>
                  <a:pt x="8933" y="1290448"/>
                </a:lnTo>
                <a:lnTo>
                  <a:pt x="15776" y="1337260"/>
                </a:lnTo>
                <a:lnTo>
                  <a:pt x="24484" y="1383439"/>
                </a:lnTo>
                <a:lnTo>
                  <a:pt x="35018" y="1428947"/>
                </a:lnTo>
                <a:lnTo>
                  <a:pt x="47339" y="1473742"/>
                </a:lnTo>
                <a:lnTo>
                  <a:pt x="61406" y="1517786"/>
                </a:lnTo>
                <a:lnTo>
                  <a:pt x="77180" y="1561039"/>
                </a:lnTo>
                <a:lnTo>
                  <a:pt x="94621" y="1603460"/>
                </a:lnTo>
                <a:lnTo>
                  <a:pt x="113689" y="1645011"/>
                </a:lnTo>
                <a:lnTo>
                  <a:pt x="134344" y="1685650"/>
                </a:lnTo>
                <a:lnTo>
                  <a:pt x="156547" y="1725340"/>
                </a:lnTo>
                <a:lnTo>
                  <a:pt x="180257" y="1764039"/>
                </a:lnTo>
                <a:lnTo>
                  <a:pt x="205436" y="1801707"/>
                </a:lnTo>
                <a:lnTo>
                  <a:pt x="232042" y="1838306"/>
                </a:lnTo>
                <a:lnTo>
                  <a:pt x="260037" y="1873795"/>
                </a:lnTo>
                <a:lnTo>
                  <a:pt x="289380" y="1908135"/>
                </a:lnTo>
                <a:lnTo>
                  <a:pt x="320032" y="1941285"/>
                </a:lnTo>
                <a:lnTo>
                  <a:pt x="351953" y="1973206"/>
                </a:lnTo>
                <a:lnTo>
                  <a:pt x="385103" y="2003858"/>
                </a:lnTo>
                <a:lnTo>
                  <a:pt x="419443" y="2033201"/>
                </a:lnTo>
                <a:lnTo>
                  <a:pt x="454932" y="2061196"/>
                </a:lnTo>
                <a:lnTo>
                  <a:pt x="468748" y="2071240"/>
                </a:lnTo>
                <a:lnTo>
                  <a:pt x="1824490" y="2071240"/>
                </a:lnTo>
                <a:lnTo>
                  <a:pt x="1873795" y="2033201"/>
                </a:lnTo>
                <a:lnTo>
                  <a:pt x="1908135" y="2003858"/>
                </a:lnTo>
                <a:lnTo>
                  <a:pt x="1941285" y="1973206"/>
                </a:lnTo>
                <a:lnTo>
                  <a:pt x="1973206" y="1941285"/>
                </a:lnTo>
                <a:lnTo>
                  <a:pt x="2003858" y="1908135"/>
                </a:lnTo>
                <a:lnTo>
                  <a:pt x="2033201" y="1873795"/>
                </a:lnTo>
                <a:lnTo>
                  <a:pt x="2061196" y="1838306"/>
                </a:lnTo>
                <a:lnTo>
                  <a:pt x="2087802" y="1801707"/>
                </a:lnTo>
                <a:lnTo>
                  <a:pt x="2112981" y="1764039"/>
                </a:lnTo>
                <a:lnTo>
                  <a:pt x="2136691" y="1725340"/>
                </a:lnTo>
                <a:lnTo>
                  <a:pt x="2158894" y="1685650"/>
                </a:lnTo>
                <a:lnTo>
                  <a:pt x="2179549" y="1645011"/>
                </a:lnTo>
                <a:lnTo>
                  <a:pt x="2198617" y="1603460"/>
                </a:lnTo>
                <a:lnTo>
                  <a:pt x="2216058" y="1561039"/>
                </a:lnTo>
                <a:lnTo>
                  <a:pt x="2231832" y="1517786"/>
                </a:lnTo>
                <a:lnTo>
                  <a:pt x="2245899" y="1473742"/>
                </a:lnTo>
                <a:lnTo>
                  <a:pt x="2258220" y="1428947"/>
                </a:lnTo>
                <a:lnTo>
                  <a:pt x="2268754" y="1383439"/>
                </a:lnTo>
                <a:lnTo>
                  <a:pt x="2277462" y="1337260"/>
                </a:lnTo>
                <a:lnTo>
                  <a:pt x="2284305" y="1290448"/>
                </a:lnTo>
                <a:lnTo>
                  <a:pt x="2289241" y="1243045"/>
                </a:lnTo>
                <a:lnTo>
                  <a:pt x="2292233" y="1195088"/>
                </a:lnTo>
                <a:lnTo>
                  <a:pt x="2293238" y="1146619"/>
                </a:lnTo>
                <a:lnTo>
                  <a:pt x="2292233" y="1098150"/>
                </a:lnTo>
                <a:lnTo>
                  <a:pt x="2289241" y="1050193"/>
                </a:lnTo>
                <a:lnTo>
                  <a:pt x="2284305" y="1002790"/>
                </a:lnTo>
                <a:lnTo>
                  <a:pt x="2277462" y="955978"/>
                </a:lnTo>
                <a:lnTo>
                  <a:pt x="2268754" y="909799"/>
                </a:lnTo>
                <a:lnTo>
                  <a:pt x="2258220" y="864291"/>
                </a:lnTo>
                <a:lnTo>
                  <a:pt x="2245899" y="819496"/>
                </a:lnTo>
                <a:lnTo>
                  <a:pt x="2231832" y="775452"/>
                </a:lnTo>
                <a:lnTo>
                  <a:pt x="2216058" y="732199"/>
                </a:lnTo>
                <a:lnTo>
                  <a:pt x="2198617" y="689778"/>
                </a:lnTo>
                <a:lnTo>
                  <a:pt x="2179549" y="648227"/>
                </a:lnTo>
                <a:lnTo>
                  <a:pt x="2158894" y="607588"/>
                </a:lnTo>
                <a:lnTo>
                  <a:pt x="2136691" y="567898"/>
                </a:lnTo>
                <a:lnTo>
                  <a:pt x="2112981" y="529199"/>
                </a:lnTo>
                <a:lnTo>
                  <a:pt x="2087802" y="491531"/>
                </a:lnTo>
                <a:lnTo>
                  <a:pt x="2061196" y="454932"/>
                </a:lnTo>
                <a:lnTo>
                  <a:pt x="2033201" y="419443"/>
                </a:lnTo>
                <a:lnTo>
                  <a:pt x="2003858" y="385103"/>
                </a:lnTo>
                <a:lnTo>
                  <a:pt x="1973206" y="351953"/>
                </a:lnTo>
                <a:lnTo>
                  <a:pt x="1941285" y="320032"/>
                </a:lnTo>
                <a:lnTo>
                  <a:pt x="1908135" y="289380"/>
                </a:lnTo>
                <a:lnTo>
                  <a:pt x="1873795" y="260037"/>
                </a:lnTo>
                <a:lnTo>
                  <a:pt x="1838306" y="232042"/>
                </a:lnTo>
                <a:lnTo>
                  <a:pt x="1801707" y="205436"/>
                </a:lnTo>
                <a:lnTo>
                  <a:pt x="1764039" y="180257"/>
                </a:lnTo>
                <a:lnTo>
                  <a:pt x="1725340" y="156547"/>
                </a:lnTo>
                <a:lnTo>
                  <a:pt x="1685650" y="134344"/>
                </a:lnTo>
                <a:lnTo>
                  <a:pt x="1645011" y="113689"/>
                </a:lnTo>
                <a:lnTo>
                  <a:pt x="1603460" y="94621"/>
                </a:lnTo>
                <a:lnTo>
                  <a:pt x="1561039" y="77180"/>
                </a:lnTo>
                <a:lnTo>
                  <a:pt x="1517786" y="61406"/>
                </a:lnTo>
                <a:lnTo>
                  <a:pt x="1473742" y="47339"/>
                </a:lnTo>
                <a:lnTo>
                  <a:pt x="1428947" y="35018"/>
                </a:lnTo>
                <a:lnTo>
                  <a:pt x="1383439" y="24484"/>
                </a:lnTo>
                <a:lnTo>
                  <a:pt x="1337260" y="15776"/>
                </a:lnTo>
                <a:lnTo>
                  <a:pt x="1290448" y="8933"/>
                </a:lnTo>
                <a:lnTo>
                  <a:pt x="1243045" y="3997"/>
                </a:lnTo>
                <a:lnTo>
                  <a:pt x="1195088" y="1005"/>
                </a:lnTo>
                <a:lnTo>
                  <a:pt x="1146619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A89A634F-3FAC-49AD-A2DA-F89F069C69B6}"/>
              </a:ext>
            </a:extLst>
          </p:cNvPr>
          <p:cNvSpPr/>
          <p:nvPr/>
        </p:nvSpPr>
        <p:spPr>
          <a:xfrm>
            <a:off x="10400414" y="1"/>
            <a:ext cx="1786189" cy="1731487"/>
          </a:xfrm>
          <a:custGeom>
            <a:avLst/>
            <a:gdLst/>
            <a:ahLst/>
            <a:cxnLst/>
            <a:rect l="l" t="t" r="r" b="b"/>
            <a:pathLst>
              <a:path w="1969769" h="1909445">
                <a:moveTo>
                  <a:pt x="1969200" y="0"/>
                </a:moveTo>
                <a:lnTo>
                  <a:pt x="290407" y="0"/>
                </a:lnTo>
                <a:lnTo>
                  <a:pt x="289380" y="1110"/>
                </a:lnTo>
                <a:lnTo>
                  <a:pt x="260037" y="35449"/>
                </a:lnTo>
                <a:lnTo>
                  <a:pt x="232042" y="70938"/>
                </a:lnTo>
                <a:lnTo>
                  <a:pt x="205436" y="107537"/>
                </a:lnTo>
                <a:lnTo>
                  <a:pt x="180257" y="145206"/>
                </a:lnTo>
                <a:lnTo>
                  <a:pt x="156547" y="183905"/>
                </a:lnTo>
                <a:lnTo>
                  <a:pt x="134344" y="223594"/>
                </a:lnTo>
                <a:lnTo>
                  <a:pt x="113689" y="264234"/>
                </a:lnTo>
                <a:lnTo>
                  <a:pt x="94621" y="305784"/>
                </a:lnTo>
                <a:lnTo>
                  <a:pt x="77180" y="348206"/>
                </a:lnTo>
                <a:lnTo>
                  <a:pt x="61406" y="391458"/>
                </a:lnTo>
                <a:lnTo>
                  <a:pt x="47339" y="435502"/>
                </a:lnTo>
                <a:lnTo>
                  <a:pt x="35018" y="480298"/>
                </a:lnTo>
                <a:lnTo>
                  <a:pt x="24484" y="525805"/>
                </a:lnTo>
                <a:lnTo>
                  <a:pt x="15776" y="571984"/>
                </a:lnTo>
                <a:lnTo>
                  <a:pt x="8933" y="618796"/>
                </a:lnTo>
                <a:lnTo>
                  <a:pt x="3997" y="666200"/>
                </a:lnTo>
                <a:lnTo>
                  <a:pt x="1005" y="714156"/>
                </a:lnTo>
                <a:lnTo>
                  <a:pt x="0" y="762625"/>
                </a:lnTo>
                <a:lnTo>
                  <a:pt x="1005" y="811095"/>
                </a:lnTo>
                <a:lnTo>
                  <a:pt x="3997" y="859051"/>
                </a:lnTo>
                <a:lnTo>
                  <a:pt x="8933" y="906455"/>
                </a:lnTo>
                <a:lnTo>
                  <a:pt x="15776" y="953266"/>
                </a:lnTo>
                <a:lnTo>
                  <a:pt x="24484" y="999446"/>
                </a:lnTo>
                <a:lnTo>
                  <a:pt x="35018" y="1044953"/>
                </a:lnTo>
                <a:lnTo>
                  <a:pt x="47339" y="1089748"/>
                </a:lnTo>
                <a:lnTo>
                  <a:pt x="61406" y="1133792"/>
                </a:lnTo>
                <a:lnTo>
                  <a:pt x="77180" y="1177045"/>
                </a:lnTo>
                <a:lnTo>
                  <a:pt x="94621" y="1219467"/>
                </a:lnTo>
                <a:lnTo>
                  <a:pt x="113689" y="1261017"/>
                </a:lnTo>
                <a:lnTo>
                  <a:pt x="134344" y="1301657"/>
                </a:lnTo>
                <a:lnTo>
                  <a:pt x="156547" y="1341346"/>
                </a:lnTo>
                <a:lnTo>
                  <a:pt x="180257" y="1380045"/>
                </a:lnTo>
                <a:lnTo>
                  <a:pt x="205436" y="1417714"/>
                </a:lnTo>
                <a:lnTo>
                  <a:pt x="232042" y="1454312"/>
                </a:lnTo>
                <a:lnTo>
                  <a:pt x="260037" y="1489801"/>
                </a:lnTo>
                <a:lnTo>
                  <a:pt x="289380" y="1524141"/>
                </a:lnTo>
                <a:lnTo>
                  <a:pt x="320032" y="1557291"/>
                </a:lnTo>
                <a:lnTo>
                  <a:pt x="351953" y="1589212"/>
                </a:lnTo>
                <a:lnTo>
                  <a:pt x="385103" y="1619864"/>
                </a:lnTo>
                <a:lnTo>
                  <a:pt x="419443" y="1649207"/>
                </a:lnTo>
                <a:lnTo>
                  <a:pt x="454932" y="1677202"/>
                </a:lnTo>
                <a:lnTo>
                  <a:pt x="491531" y="1703809"/>
                </a:lnTo>
                <a:lnTo>
                  <a:pt x="529199" y="1728987"/>
                </a:lnTo>
                <a:lnTo>
                  <a:pt x="567898" y="1752698"/>
                </a:lnTo>
                <a:lnTo>
                  <a:pt x="607588" y="1774900"/>
                </a:lnTo>
                <a:lnTo>
                  <a:pt x="648227" y="1795556"/>
                </a:lnTo>
                <a:lnTo>
                  <a:pt x="689778" y="1814623"/>
                </a:lnTo>
                <a:lnTo>
                  <a:pt x="732199" y="1832064"/>
                </a:lnTo>
                <a:lnTo>
                  <a:pt x="775452" y="1847838"/>
                </a:lnTo>
                <a:lnTo>
                  <a:pt x="819496" y="1861905"/>
                </a:lnTo>
                <a:lnTo>
                  <a:pt x="864291" y="1874226"/>
                </a:lnTo>
                <a:lnTo>
                  <a:pt x="909799" y="1884760"/>
                </a:lnTo>
                <a:lnTo>
                  <a:pt x="955978" y="1893469"/>
                </a:lnTo>
                <a:lnTo>
                  <a:pt x="1002790" y="1900311"/>
                </a:lnTo>
                <a:lnTo>
                  <a:pt x="1050193" y="1905248"/>
                </a:lnTo>
                <a:lnTo>
                  <a:pt x="1098150" y="1908239"/>
                </a:lnTo>
                <a:lnTo>
                  <a:pt x="1146619" y="1909245"/>
                </a:lnTo>
                <a:lnTo>
                  <a:pt x="1195088" y="1908239"/>
                </a:lnTo>
                <a:lnTo>
                  <a:pt x="1243045" y="1905248"/>
                </a:lnTo>
                <a:lnTo>
                  <a:pt x="1290448" y="1900311"/>
                </a:lnTo>
                <a:lnTo>
                  <a:pt x="1337260" y="1893469"/>
                </a:lnTo>
                <a:lnTo>
                  <a:pt x="1383439" y="1884760"/>
                </a:lnTo>
                <a:lnTo>
                  <a:pt x="1428947" y="1874226"/>
                </a:lnTo>
                <a:lnTo>
                  <a:pt x="1473742" y="1861905"/>
                </a:lnTo>
                <a:lnTo>
                  <a:pt x="1517786" y="1847838"/>
                </a:lnTo>
                <a:lnTo>
                  <a:pt x="1561039" y="1832064"/>
                </a:lnTo>
                <a:lnTo>
                  <a:pt x="1603460" y="1814623"/>
                </a:lnTo>
                <a:lnTo>
                  <a:pt x="1645011" y="1795556"/>
                </a:lnTo>
                <a:lnTo>
                  <a:pt x="1685650" y="1774900"/>
                </a:lnTo>
                <a:lnTo>
                  <a:pt x="1725340" y="1752698"/>
                </a:lnTo>
                <a:lnTo>
                  <a:pt x="1764039" y="1728987"/>
                </a:lnTo>
                <a:lnTo>
                  <a:pt x="1801707" y="1703809"/>
                </a:lnTo>
                <a:lnTo>
                  <a:pt x="1838306" y="1677202"/>
                </a:lnTo>
                <a:lnTo>
                  <a:pt x="1873795" y="1649207"/>
                </a:lnTo>
                <a:lnTo>
                  <a:pt x="1908135" y="1619864"/>
                </a:lnTo>
                <a:lnTo>
                  <a:pt x="1941285" y="1589212"/>
                </a:lnTo>
                <a:lnTo>
                  <a:pt x="1969200" y="1561297"/>
                </a:lnTo>
                <a:lnTo>
                  <a:pt x="1969200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11">
            <a:extLst>
              <a:ext uri="{FF2B5EF4-FFF2-40B4-BE49-F238E27FC236}">
                <a16:creationId xmlns:a16="http://schemas.microsoft.com/office/drawing/2014/main" id="{070B18B0-0A28-9977-5483-AE34A87FCE5C}"/>
              </a:ext>
            </a:extLst>
          </p:cNvPr>
          <p:cNvSpPr/>
          <p:nvPr/>
        </p:nvSpPr>
        <p:spPr>
          <a:xfrm>
            <a:off x="4070293" y="0"/>
            <a:ext cx="2079857" cy="1720546"/>
          </a:xfrm>
          <a:custGeom>
            <a:avLst/>
            <a:gdLst/>
            <a:ahLst/>
            <a:cxnLst/>
            <a:rect l="l" t="t" r="r" b="b"/>
            <a:pathLst>
              <a:path w="2293620" h="1897380">
                <a:moveTo>
                  <a:pt x="2013162" y="0"/>
                </a:moveTo>
                <a:lnTo>
                  <a:pt x="280076" y="0"/>
                </a:lnTo>
                <a:lnTo>
                  <a:pt x="260037" y="23451"/>
                </a:lnTo>
                <a:lnTo>
                  <a:pt x="232042" y="58940"/>
                </a:lnTo>
                <a:lnTo>
                  <a:pt x="205436" y="95539"/>
                </a:lnTo>
                <a:lnTo>
                  <a:pt x="180257" y="133207"/>
                </a:lnTo>
                <a:lnTo>
                  <a:pt x="156547" y="171906"/>
                </a:lnTo>
                <a:lnTo>
                  <a:pt x="134344" y="211595"/>
                </a:lnTo>
                <a:lnTo>
                  <a:pt x="113689" y="252235"/>
                </a:lnTo>
                <a:lnTo>
                  <a:pt x="94621" y="293786"/>
                </a:lnTo>
                <a:lnTo>
                  <a:pt x="77180" y="336207"/>
                </a:lnTo>
                <a:lnTo>
                  <a:pt x="61406" y="379460"/>
                </a:lnTo>
                <a:lnTo>
                  <a:pt x="47339" y="423504"/>
                </a:lnTo>
                <a:lnTo>
                  <a:pt x="35018" y="468299"/>
                </a:lnTo>
                <a:lnTo>
                  <a:pt x="24484" y="513807"/>
                </a:lnTo>
                <a:lnTo>
                  <a:pt x="15776" y="559986"/>
                </a:lnTo>
                <a:lnTo>
                  <a:pt x="8933" y="606797"/>
                </a:lnTo>
                <a:lnTo>
                  <a:pt x="3997" y="654201"/>
                </a:lnTo>
                <a:lnTo>
                  <a:pt x="1005" y="702158"/>
                </a:lnTo>
                <a:lnTo>
                  <a:pt x="0" y="750627"/>
                </a:lnTo>
                <a:lnTo>
                  <a:pt x="1005" y="799096"/>
                </a:lnTo>
                <a:lnTo>
                  <a:pt x="3997" y="847052"/>
                </a:lnTo>
                <a:lnTo>
                  <a:pt x="8933" y="894456"/>
                </a:lnTo>
                <a:lnTo>
                  <a:pt x="15776" y="941268"/>
                </a:lnTo>
                <a:lnTo>
                  <a:pt x="24484" y="987447"/>
                </a:lnTo>
                <a:lnTo>
                  <a:pt x="35018" y="1032954"/>
                </a:lnTo>
                <a:lnTo>
                  <a:pt x="47339" y="1077750"/>
                </a:lnTo>
                <a:lnTo>
                  <a:pt x="61406" y="1121794"/>
                </a:lnTo>
                <a:lnTo>
                  <a:pt x="77180" y="1165047"/>
                </a:lnTo>
                <a:lnTo>
                  <a:pt x="94621" y="1207468"/>
                </a:lnTo>
                <a:lnTo>
                  <a:pt x="113689" y="1249019"/>
                </a:lnTo>
                <a:lnTo>
                  <a:pt x="134344" y="1289658"/>
                </a:lnTo>
                <a:lnTo>
                  <a:pt x="156547" y="1329348"/>
                </a:lnTo>
                <a:lnTo>
                  <a:pt x="180257" y="1368046"/>
                </a:lnTo>
                <a:lnTo>
                  <a:pt x="205436" y="1405715"/>
                </a:lnTo>
                <a:lnTo>
                  <a:pt x="232042" y="1442314"/>
                </a:lnTo>
                <a:lnTo>
                  <a:pt x="260037" y="1477803"/>
                </a:lnTo>
                <a:lnTo>
                  <a:pt x="289380" y="1512142"/>
                </a:lnTo>
                <a:lnTo>
                  <a:pt x="320032" y="1545293"/>
                </a:lnTo>
                <a:lnTo>
                  <a:pt x="351953" y="1577214"/>
                </a:lnTo>
                <a:lnTo>
                  <a:pt x="385103" y="1607866"/>
                </a:lnTo>
                <a:lnTo>
                  <a:pt x="419443" y="1637209"/>
                </a:lnTo>
                <a:lnTo>
                  <a:pt x="454932" y="1665204"/>
                </a:lnTo>
                <a:lnTo>
                  <a:pt x="491531" y="1691810"/>
                </a:lnTo>
                <a:lnTo>
                  <a:pt x="529199" y="1716989"/>
                </a:lnTo>
                <a:lnTo>
                  <a:pt x="567898" y="1740699"/>
                </a:lnTo>
                <a:lnTo>
                  <a:pt x="607588" y="1762902"/>
                </a:lnTo>
                <a:lnTo>
                  <a:pt x="648227" y="1783557"/>
                </a:lnTo>
                <a:lnTo>
                  <a:pt x="689778" y="1802625"/>
                </a:lnTo>
                <a:lnTo>
                  <a:pt x="732199" y="1820066"/>
                </a:lnTo>
                <a:lnTo>
                  <a:pt x="775452" y="1835840"/>
                </a:lnTo>
                <a:lnTo>
                  <a:pt x="819496" y="1849907"/>
                </a:lnTo>
                <a:lnTo>
                  <a:pt x="864291" y="1862228"/>
                </a:lnTo>
                <a:lnTo>
                  <a:pt x="909799" y="1872762"/>
                </a:lnTo>
                <a:lnTo>
                  <a:pt x="955978" y="1881470"/>
                </a:lnTo>
                <a:lnTo>
                  <a:pt x="1002790" y="1888313"/>
                </a:lnTo>
                <a:lnTo>
                  <a:pt x="1050193" y="1893249"/>
                </a:lnTo>
                <a:lnTo>
                  <a:pt x="1098150" y="1896240"/>
                </a:lnTo>
                <a:lnTo>
                  <a:pt x="1146619" y="1897246"/>
                </a:lnTo>
                <a:lnTo>
                  <a:pt x="1195088" y="1896240"/>
                </a:lnTo>
                <a:lnTo>
                  <a:pt x="1243045" y="1893249"/>
                </a:lnTo>
                <a:lnTo>
                  <a:pt x="1290448" y="1888313"/>
                </a:lnTo>
                <a:lnTo>
                  <a:pt x="1337260" y="1881470"/>
                </a:lnTo>
                <a:lnTo>
                  <a:pt x="1383439" y="1872762"/>
                </a:lnTo>
                <a:lnTo>
                  <a:pt x="1428947" y="1862228"/>
                </a:lnTo>
                <a:lnTo>
                  <a:pt x="1473742" y="1849907"/>
                </a:lnTo>
                <a:lnTo>
                  <a:pt x="1517786" y="1835840"/>
                </a:lnTo>
                <a:lnTo>
                  <a:pt x="1561039" y="1820066"/>
                </a:lnTo>
                <a:lnTo>
                  <a:pt x="1603460" y="1802625"/>
                </a:lnTo>
                <a:lnTo>
                  <a:pt x="1645011" y="1783557"/>
                </a:lnTo>
                <a:lnTo>
                  <a:pt x="1685650" y="1762902"/>
                </a:lnTo>
                <a:lnTo>
                  <a:pt x="1725340" y="1740699"/>
                </a:lnTo>
                <a:lnTo>
                  <a:pt x="1764039" y="1716989"/>
                </a:lnTo>
                <a:lnTo>
                  <a:pt x="1801707" y="1691810"/>
                </a:lnTo>
                <a:lnTo>
                  <a:pt x="1838306" y="1665204"/>
                </a:lnTo>
                <a:lnTo>
                  <a:pt x="1873795" y="1637209"/>
                </a:lnTo>
                <a:lnTo>
                  <a:pt x="1908135" y="1607866"/>
                </a:lnTo>
                <a:lnTo>
                  <a:pt x="1941285" y="1577214"/>
                </a:lnTo>
                <a:lnTo>
                  <a:pt x="1973206" y="1545293"/>
                </a:lnTo>
                <a:lnTo>
                  <a:pt x="2003858" y="1512142"/>
                </a:lnTo>
                <a:lnTo>
                  <a:pt x="2033201" y="1477803"/>
                </a:lnTo>
                <a:lnTo>
                  <a:pt x="2061196" y="1442314"/>
                </a:lnTo>
                <a:lnTo>
                  <a:pt x="2087802" y="1405715"/>
                </a:lnTo>
                <a:lnTo>
                  <a:pt x="2112981" y="1368046"/>
                </a:lnTo>
                <a:lnTo>
                  <a:pt x="2136691" y="1329348"/>
                </a:lnTo>
                <a:lnTo>
                  <a:pt x="2158894" y="1289658"/>
                </a:lnTo>
                <a:lnTo>
                  <a:pt x="2179549" y="1249019"/>
                </a:lnTo>
                <a:lnTo>
                  <a:pt x="2198617" y="1207468"/>
                </a:lnTo>
                <a:lnTo>
                  <a:pt x="2216058" y="1165047"/>
                </a:lnTo>
                <a:lnTo>
                  <a:pt x="2231832" y="1121794"/>
                </a:lnTo>
                <a:lnTo>
                  <a:pt x="2245899" y="1077750"/>
                </a:lnTo>
                <a:lnTo>
                  <a:pt x="2258220" y="1032954"/>
                </a:lnTo>
                <a:lnTo>
                  <a:pt x="2268754" y="987447"/>
                </a:lnTo>
                <a:lnTo>
                  <a:pt x="2277462" y="941268"/>
                </a:lnTo>
                <a:lnTo>
                  <a:pt x="2284305" y="894456"/>
                </a:lnTo>
                <a:lnTo>
                  <a:pt x="2289241" y="847052"/>
                </a:lnTo>
                <a:lnTo>
                  <a:pt x="2292233" y="799096"/>
                </a:lnTo>
                <a:lnTo>
                  <a:pt x="2293239" y="750627"/>
                </a:lnTo>
                <a:lnTo>
                  <a:pt x="2292233" y="702158"/>
                </a:lnTo>
                <a:lnTo>
                  <a:pt x="2289241" y="654201"/>
                </a:lnTo>
                <a:lnTo>
                  <a:pt x="2284305" y="606797"/>
                </a:lnTo>
                <a:lnTo>
                  <a:pt x="2277462" y="559986"/>
                </a:lnTo>
                <a:lnTo>
                  <a:pt x="2268754" y="513807"/>
                </a:lnTo>
                <a:lnTo>
                  <a:pt x="2258220" y="468299"/>
                </a:lnTo>
                <a:lnTo>
                  <a:pt x="2245899" y="423504"/>
                </a:lnTo>
                <a:lnTo>
                  <a:pt x="2231832" y="379460"/>
                </a:lnTo>
                <a:lnTo>
                  <a:pt x="2216058" y="336207"/>
                </a:lnTo>
                <a:lnTo>
                  <a:pt x="2198617" y="293786"/>
                </a:lnTo>
                <a:lnTo>
                  <a:pt x="2179549" y="252235"/>
                </a:lnTo>
                <a:lnTo>
                  <a:pt x="2158894" y="211595"/>
                </a:lnTo>
                <a:lnTo>
                  <a:pt x="2136691" y="171906"/>
                </a:lnTo>
                <a:lnTo>
                  <a:pt x="2112981" y="133207"/>
                </a:lnTo>
                <a:lnTo>
                  <a:pt x="2087802" y="95539"/>
                </a:lnTo>
                <a:lnTo>
                  <a:pt x="2061196" y="58940"/>
                </a:lnTo>
                <a:lnTo>
                  <a:pt x="2033201" y="23451"/>
                </a:lnTo>
                <a:lnTo>
                  <a:pt x="201316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12">
            <a:extLst>
              <a:ext uri="{FF2B5EF4-FFF2-40B4-BE49-F238E27FC236}">
                <a16:creationId xmlns:a16="http://schemas.microsoft.com/office/drawing/2014/main" id="{FEF9B5F4-F996-526E-724D-8B9EB62F9A2B}"/>
              </a:ext>
            </a:extLst>
          </p:cNvPr>
          <p:cNvSpPr/>
          <p:nvPr/>
        </p:nvSpPr>
        <p:spPr>
          <a:xfrm>
            <a:off x="10321566" y="3966353"/>
            <a:ext cx="1580045" cy="1580045"/>
          </a:xfrm>
          <a:custGeom>
            <a:avLst/>
            <a:gdLst/>
            <a:ahLst/>
            <a:cxnLst/>
            <a:rect l="l" t="t" r="r" b="b"/>
            <a:pathLst>
              <a:path w="1742440" h="1742439">
                <a:moveTo>
                  <a:pt x="871016" y="0"/>
                </a:moveTo>
                <a:lnTo>
                  <a:pt x="823226" y="1288"/>
                </a:lnTo>
                <a:lnTo>
                  <a:pt x="776109" y="5110"/>
                </a:lnTo>
                <a:lnTo>
                  <a:pt x="729733" y="11400"/>
                </a:lnTo>
                <a:lnTo>
                  <a:pt x="684162" y="20089"/>
                </a:lnTo>
                <a:lnTo>
                  <a:pt x="639465" y="31113"/>
                </a:lnTo>
                <a:lnTo>
                  <a:pt x="595707" y="44404"/>
                </a:lnTo>
                <a:lnTo>
                  <a:pt x="552955" y="59897"/>
                </a:lnTo>
                <a:lnTo>
                  <a:pt x="511275" y="77525"/>
                </a:lnTo>
                <a:lnTo>
                  <a:pt x="470733" y="97221"/>
                </a:lnTo>
                <a:lnTo>
                  <a:pt x="431397" y="118919"/>
                </a:lnTo>
                <a:lnTo>
                  <a:pt x="393332" y="142552"/>
                </a:lnTo>
                <a:lnTo>
                  <a:pt x="356605" y="168055"/>
                </a:lnTo>
                <a:lnTo>
                  <a:pt x="321282" y="195360"/>
                </a:lnTo>
                <a:lnTo>
                  <a:pt x="287429" y="224402"/>
                </a:lnTo>
                <a:lnTo>
                  <a:pt x="255114" y="255114"/>
                </a:lnTo>
                <a:lnTo>
                  <a:pt x="224402" y="287429"/>
                </a:lnTo>
                <a:lnTo>
                  <a:pt x="195360" y="321282"/>
                </a:lnTo>
                <a:lnTo>
                  <a:pt x="168055" y="356605"/>
                </a:lnTo>
                <a:lnTo>
                  <a:pt x="142552" y="393332"/>
                </a:lnTo>
                <a:lnTo>
                  <a:pt x="118919" y="431397"/>
                </a:lnTo>
                <a:lnTo>
                  <a:pt x="97221" y="470733"/>
                </a:lnTo>
                <a:lnTo>
                  <a:pt x="77525" y="511275"/>
                </a:lnTo>
                <a:lnTo>
                  <a:pt x="59897" y="552955"/>
                </a:lnTo>
                <a:lnTo>
                  <a:pt x="44404" y="595707"/>
                </a:lnTo>
                <a:lnTo>
                  <a:pt x="31113" y="639465"/>
                </a:lnTo>
                <a:lnTo>
                  <a:pt x="20089" y="684162"/>
                </a:lnTo>
                <a:lnTo>
                  <a:pt x="11400" y="729733"/>
                </a:lnTo>
                <a:lnTo>
                  <a:pt x="5110" y="776109"/>
                </a:lnTo>
                <a:lnTo>
                  <a:pt x="1288" y="823226"/>
                </a:lnTo>
                <a:lnTo>
                  <a:pt x="0" y="871016"/>
                </a:lnTo>
                <a:lnTo>
                  <a:pt x="1288" y="918807"/>
                </a:lnTo>
                <a:lnTo>
                  <a:pt x="5110" y="965923"/>
                </a:lnTo>
                <a:lnTo>
                  <a:pt x="11400" y="1012300"/>
                </a:lnTo>
                <a:lnTo>
                  <a:pt x="20089" y="1057870"/>
                </a:lnTo>
                <a:lnTo>
                  <a:pt x="31113" y="1102568"/>
                </a:lnTo>
                <a:lnTo>
                  <a:pt x="44404" y="1146325"/>
                </a:lnTo>
                <a:lnTo>
                  <a:pt x="59897" y="1189078"/>
                </a:lnTo>
                <a:lnTo>
                  <a:pt x="77525" y="1230758"/>
                </a:lnTo>
                <a:lnTo>
                  <a:pt x="97221" y="1271299"/>
                </a:lnTo>
                <a:lnTo>
                  <a:pt x="118919" y="1310636"/>
                </a:lnTo>
                <a:lnTo>
                  <a:pt x="142552" y="1348701"/>
                </a:lnTo>
                <a:lnTo>
                  <a:pt x="168055" y="1385428"/>
                </a:lnTo>
                <a:lnTo>
                  <a:pt x="195360" y="1420751"/>
                </a:lnTo>
                <a:lnTo>
                  <a:pt x="224402" y="1454603"/>
                </a:lnTo>
                <a:lnTo>
                  <a:pt x="255114" y="1486919"/>
                </a:lnTo>
                <a:lnTo>
                  <a:pt x="287429" y="1517630"/>
                </a:lnTo>
                <a:lnTo>
                  <a:pt x="321282" y="1546672"/>
                </a:lnTo>
                <a:lnTo>
                  <a:pt x="356605" y="1573978"/>
                </a:lnTo>
                <a:lnTo>
                  <a:pt x="393332" y="1599480"/>
                </a:lnTo>
                <a:lnTo>
                  <a:pt x="431397" y="1623114"/>
                </a:lnTo>
                <a:lnTo>
                  <a:pt x="470733" y="1644812"/>
                </a:lnTo>
                <a:lnTo>
                  <a:pt x="511275" y="1664508"/>
                </a:lnTo>
                <a:lnTo>
                  <a:pt x="552955" y="1682136"/>
                </a:lnTo>
                <a:lnTo>
                  <a:pt x="595707" y="1697628"/>
                </a:lnTo>
                <a:lnTo>
                  <a:pt x="639465" y="1710920"/>
                </a:lnTo>
                <a:lnTo>
                  <a:pt x="684162" y="1721943"/>
                </a:lnTo>
                <a:lnTo>
                  <a:pt x="729733" y="1730633"/>
                </a:lnTo>
                <a:lnTo>
                  <a:pt x="776109" y="1736922"/>
                </a:lnTo>
                <a:lnTo>
                  <a:pt x="823226" y="1740744"/>
                </a:lnTo>
                <a:lnTo>
                  <a:pt x="871016" y="1742033"/>
                </a:lnTo>
                <a:lnTo>
                  <a:pt x="918807" y="1740744"/>
                </a:lnTo>
                <a:lnTo>
                  <a:pt x="965923" y="1736922"/>
                </a:lnTo>
                <a:lnTo>
                  <a:pt x="1012300" y="1730633"/>
                </a:lnTo>
                <a:lnTo>
                  <a:pt x="1057870" y="1721943"/>
                </a:lnTo>
                <a:lnTo>
                  <a:pt x="1102568" y="1710920"/>
                </a:lnTo>
                <a:lnTo>
                  <a:pt x="1146325" y="1697628"/>
                </a:lnTo>
                <a:lnTo>
                  <a:pt x="1189078" y="1682136"/>
                </a:lnTo>
                <a:lnTo>
                  <a:pt x="1230758" y="1664508"/>
                </a:lnTo>
                <a:lnTo>
                  <a:pt x="1271299" y="1644812"/>
                </a:lnTo>
                <a:lnTo>
                  <a:pt x="1310636" y="1623114"/>
                </a:lnTo>
                <a:lnTo>
                  <a:pt x="1348701" y="1599480"/>
                </a:lnTo>
                <a:lnTo>
                  <a:pt x="1385428" y="1573978"/>
                </a:lnTo>
                <a:lnTo>
                  <a:pt x="1420751" y="1546672"/>
                </a:lnTo>
                <a:lnTo>
                  <a:pt x="1454603" y="1517630"/>
                </a:lnTo>
                <a:lnTo>
                  <a:pt x="1486919" y="1486919"/>
                </a:lnTo>
                <a:lnTo>
                  <a:pt x="1517630" y="1454603"/>
                </a:lnTo>
                <a:lnTo>
                  <a:pt x="1546672" y="1420751"/>
                </a:lnTo>
                <a:lnTo>
                  <a:pt x="1573978" y="1385428"/>
                </a:lnTo>
                <a:lnTo>
                  <a:pt x="1599480" y="1348701"/>
                </a:lnTo>
                <a:lnTo>
                  <a:pt x="1623114" y="1310636"/>
                </a:lnTo>
                <a:lnTo>
                  <a:pt x="1644812" y="1271299"/>
                </a:lnTo>
                <a:lnTo>
                  <a:pt x="1664508" y="1230758"/>
                </a:lnTo>
                <a:lnTo>
                  <a:pt x="1682136" y="1189078"/>
                </a:lnTo>
                <a:lnTo>
                  <a:pt x="1697628" y="1146325"/>
                </a:lnTo>
                <a:lnTo>
                  <a:pt x="1710920" y="1102568"/>
                </a:lnTo>
                <a:lnTo>
                  <a:pt x="1721943" y="1057870"/>
                </a:lnTo>
                <a:lnTo>
                  <a:pt x="1730633" y="1012300"/>
                </a:lnTo>
                <a:lnTo>
                  <a:pt x="1736922" y="965923"/>
                </a:lnTo>
                <a:lnTo>
                  <a:pt x="1740744" y="918807"/>
                </a:lnTo>
                <a:lnTo>
                  <a:pt x="1742033" y="871016"/>
                </a:lnTo>
                <a:lnTo>
                  <a:pt x="1740744" y="823226"/>
                </a:lnTo>
                <a:lnTo>
                  <a:pt x="1736922" y="776109"/>
                </a:lnTo>
                <a:lnTo>
                  <a:pt x="1730633" y="729733"/>
                </a:lnTo>
                <a:lnTo>
                  <a:pt x="1721943" y="684162"/>
                </a:lnTo>
                <a:lnTo>
                  <a:pt x="1710920" y="639465"/>
                </a:lnTo>
                <a:lnTo>
                  <a:pt x="1697628" y="595707"/>
                </a:lnTo>
                <a:lnTo>
                  <a:pt x="1682136" y="552955"/>
                </a:lnTo>
                <a:lnTo>
                  <a:pt x="1664508" y="511275"/>
                </a:lnTo>
                <a:lnTo>
                  <a:pt x="1644812" y="470733"/>
                </a:lnTo>
                <a:lnTo>
                  <a:pt x="1623114" y="431397"/>
                </a:lnTo>
                <a:lnTo>
                  <a:pt x="1599480" y="393332"/>
                </a:lnTo>
                <a:lnTo>
                  <a:pt x="1573978" y="356605"/>
                </a:lnTo>
                <a:lnTo>
                  <a:pt x="1546672" y="321282"/>
                </a:lnTo>
                <a:lnTo>
                  <a:pt x="1517630" y="287429"/>
                </a:lnTo>
                <a:lnTo>
                  <a:pt x="1486919" y="255114"/>
                </a:lnTo>
                <a:lnTo>
                  <a:pt x="1454603" y="224402"/>
                </a:lnTo>
                <a:lnTo>
                  <a:pt x="1420751" y="195360"/>
                </a:lnTo>
                <a:lnTo>
                  <a:pt x="1385428" y="168055"/>
                </a:lnTo>
                <a:lnTo>
                  <a:pt x="1348701" y="142552"/>
                </a:lnTo>
                <a:lnTo>
                  <a:pt x="1310636" y="118919"/>
                </a:lnTo>
                <a:lnTo>
                  <a:pt x="1271299" y="97221"/>
                </a:lnTo>
                <a:lnTo>
                  <a:pt x="1230758" y="77525"/>
                </a:lnTo>
                <a:lnTo>
                  <a:pt x="1189078" y="59897"/>
                </a:lnTo>
                <a:lnTo>
                  <a:pt x="1146325" y="44404"/>
                </a:lnTo>
                <a:lnTo>
                  <a:pt x="1102568" y="31113"/>
                </a:lnTo>
                <a:lnTo>
                  <a:pt x="1057870" y="20089"/>
                </a:lnTo>
                <a:lnTo>
                  <a:pt x="1012300" y="11400"/>
                </a:lnTo>
                <a:lnTo>
                  <a:pt x="965923" y="5110"/>
                </a:lnTo>
                <a:lnTo>
                  <a:pt x="918807" y="1288"/>
                </a:lnTo>
                <a:lnTo>
                  <a:pt x="871016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13">
            <a:extLst>
              <a:ext uri="{FF2B5EF4-FFF2-40B4-BE49-F238E27FC236}">
                <a16:creationId xmlns:a16="http://schemas.microsoft.com/office/drawing/2014/main" id="{2E23C361-F404-8DEA-3669-F09536585986}"/>
              </a:ext>
            </a:extLst>
          </p:cNvPr>
          <p:cNvSpPr/>
          <p:nvPr/>
        </p:nvSpPr>
        <p:spPr>
          <a:xfrm>
            <a:off x="7835316" y="4563116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70" h="801370">
                <a:moveTo>
                  <a:pt x="400672" y="0"/>
                </a:moveTo>
                <a:lnTo>
                  <a:pt x="353945" y="2695"/>
                </a:lnTo>
                <a:lnTo>
                  <a:pt x="308801" y="10581"/>
                </a:lnTo>
                <a:lnTo>
                  <a:pt x="265542" y="23357"/>
                </a:lnTo>
                <a:lnTo>
                  <a:pt x="224466" y="40722"/>
                </a:lnTo>
                <a:lnTo>
                  <a:pt x="185876" y="62376"/>
                </a:lnTo>
                <a:lnTo>
                  <a:pt x="150072" y="88018"/>
                </a:lnTo>
                <a:lnTo>
                  <a:pt x="117354" y="117348"/>
                </a:lnTo>
                <a:lnTo>
                  <a:pt x="88023" y="150064"/>
                </a:lnTo>
                <a:lnTo>
                  <a:pt x="62379" y="185867"/>
                </a:lnTo>
                <a:lnTo>
                  <a:pt x="40724" y="224456"/>
                </a:lnTo>
                <a:lnTo>
                  <a:pt x="23358" y="265531"/>
                </a:lnTo>
                <a:lnTo>
                  <a:pt x="10582" y="308789"/>
                </a:lnTo>
                <a:lnTo>
                  <a:pt x="2695" y="353933"/>
                </a:lnTo>
                <a:lnTo>
                  <a:pt x="0" y="400659"/>
                </a:lnTo>
                <a:lnTo>
                  <a:pt x="2695" y="447386"/>
                </a:lnTo>
                <a:lnTo>
                  <a:pt x="10582" y="492529"/>
                </a:lnTo>
                <a:lnTo>
                  <a:pt x="23358" y="535789"/>
                </a:lnTo>
                <a:lnTo>
                  <a:pt x="40724" y="576864"/>
                </a:lnTo>
                <a:lnTo>
                  <a:pt x="62379" y="615455"/>
                </a:lnTo>
                <a:lnTo>
                  <a:pt x="88023" y="651259"/>
                </a:lnTo>
                <a:lnTo>
                  <a:pt x="117354" y="683977"/>
                </a:lnTo>
                <a:lnTo>
                  <a:pt x="150072" y="713308"/>
                </a:lnTo>
                <a:lnTo>
                  <a:pt x="185876" y="738951"/>
                </a:lnTo>
                <a:lnTo>
                  <a:pt x="224466" y="760607"/>
                </a:lnTo>
                <a:lnTo>
                  <a:pt x="265542" y="777973"/>
                </a:lnTo>
                <a:lnTo>
                  <a:pt x="308801" y="790749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49"/>
                </a:lnTo>
                <a:lnTo>
                  <a:pt x="535802" y="777973"/>
                </a:lnTo>
                <a:lnTo>
                  <a:pt x="576877" y="760607"/>
                </a:lnTo>
                <a:lnTo>
                  <a:pt x="615467" y="738951"/>
                </a:lnTo>
                <a:lnTo>
                  <a:pt x="651272" y="713308"/>
                </a:lnTo>
                <a:lnTo>
                  <a:pt x="683990" y="683977"/>
                </a:lnTo>
                <a:lnTo>
                  <a:pt x="713321" y="651259"/>
                </a:lnTo>
                <a:lnTo>
                  <a:pt x="738964" y="615455"/>
                </a:lnTo>
                <a:lnTo>
                  <a:pt x="760619" y="576864"/>
                </a:lnTo>
                <a:lnTo>
                  <a:pt x="777985" y="535789"/>
                </a:lnTo>
                <a:lnTo>
                  <a:pt x="790762" y="492529"/>
                </a:lnTo>
                <a:lnTo>
                  <a:pt x="798648" y="447386"/>
                </a:lnTo>
                <a:lnTo>
                  <a:pt x="801344" y="400659"/>
                </a:lnTo>
                <a:lnTo>
                  <a:pt x="798648" y="353933"/>
                </a:lnTo>
                <a:lnTo>
                  <a:pt x="790762" y="308789"/>
                </a:lnTo>
                <a:lnTo>
                  <a:pt x="777985" y="265531"/>
                </a:lnTo>
                <a:lnTo>
                  <a:pt x="760619" y="224456"/>
                </a:lnTo>
                <a:lnTo>
                  <a:pt x="738964" y="185867"/>
                </a:lnTo>
                <a:lnTo>
                  <a:pt x="713321" y="150064"/>
                </a:lnTo>
                <a:lnTo>
                  <a:pt x="683990" y="117348"/>
                </a:lnTo>
                <a:lnTo>
                  <a:pt x="651272" y="88018"/>
                </a:lnTo>
                <a:lnTo>
                  <a:pt x="615467" y="62376"/>
                </a:lnTo>
                <a:lnTo>
                  <a:pt x="576877" y="40722"/>
                </a:lnTo>
                <a:lnTo>
                  <a:pt x="535802" y="23357"/>
                </a:lnTo>
                <a:lnTo>
                  <a:pt x="492542" y="10581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14">
            <a:extLst>
              <a:ext uri="{FF2B5EF4-FFF2-40B4-BE49-F238E27FC236}">
                <a16:creationId xmlns:a16="http://schemas.microsoft.com/office/drawing/2014/main" id="{8F872847-C3B1-760C-F4AC-93DE0329412F}"/>
              </a:ext>
            </a:extLst>
          </p:cNvPr>
          <p:cNvSpPr/>
          <p:nvPr/>
        </p:nvSpPr>
        <p:spPr>
          <a:xfrm>
            <a:off x="1216272" y="5587712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15">
            <a:extLst>
              <a:ext uri="{FF2B5EF4-FFF2-40B4-BE49-F238E27FC236}">
                <a16:creationId xmlns:a16="http://schemas.microsoft.com/office/drawing/2014/main" id="{53AA02F4-3E33-4C39-33D6-76AA82402885}"/>
              </a:ext>
            </a:extLst>
          </p:cNvPr>
          <p:cNvSpPr/>
          <p:nvPr/>
        </p:nvSpPr>
        <p:spPr>
          <a:xfrm>
            <a:off x="1412140" y="6469124"/>
            <a:ext cx="726683" cy="386373"/>
          </a:xfrm>
          <a:custGeom>
            <a:avLst/>
            <a:gdLst/>
            <a:ahLst/>
            <a:cxnLst/>
            <a:rect l="l" t="t" r="r" b="b"/>
            <a:pathLst>
              <a:path w="801369" h="426084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1461" y="425998"/>
                </a:lnTo>
                <a:lnTo>
                  <a:pt x="799883" y="4259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6424BFED-D43D-B183-B5D0-83BFB42B63F4}"/>
              </a:ext>
            </a:extLst>
          </p:cNvPr>
          <p:cNvSpPr/>
          <p:nvPr/>
        </p:nvSpPr>
        <p:spPr>
          <a:xfrm>
            <a:off x="6266493" y="1757951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323976F1-F0C5-8B3E-79EC-251D18A92F44}"/>
              </a:ext>
            </a:extLst>
          </p:cNvPr>
          <p:cNvSpPr/>
          <p:nvPr/>
        </p:nvSpPr>
        <p:spPr>
          <a:xfrm>
            <a:off x="5464115" y="1757951"/>
            <a:ext cx="461393" cy="46139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14">
            <a:extLst>
              <a:ext uri="{FF2B5EF4-FFF2-40B4-BE49-F238E27FC236}">
                <a16:creationId xmlns:a16="http://schemas.microsoft.com/office/drawing/2014/main" id="{85B9E685-8F26-653C-637B-4560BD554CAC}"/>
              </a:ext>
            </a:extLst>
          </p:cNvPr>
          <p:cNvSpPr/>
          <p:nvPr/>
        </p:nvSpPr>
        <p:spPr>
          <a:xfrm>
            <a:off x="11179577" y="5951053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DD70F8A-7EFD-5D5B-1E28-80954C36380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-675252" y="3608859"/>
            <a:ext cx="2541584" cy="2507461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A716E89-11E9-0EE9-B918-701C3474FC65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397941" y="157862"/>
            <a:ext cx="3133347" cy="30912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E0D997F-9BA9-D907-D51C-98EE52536447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7165783" y="337721"/>
            <a:ext cx="3133347" cy="30912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06699D40-1F2D-3294-96EC-2A152766E695}"/>
              </a:ext>
            </a:extLst>
          </p:cNvPr>
          <p:cNvSpPr>
            <a:spLocks noGrp="1"/>
          </p:cNvSpPr>
          <p:nvPr>
            <p:ph type="pic" idx="18"/>
          </p:nvPr>
        </p:nvSpPr>
        <p:spPr>
          <a:xfrm>
            <a:off x="2610263" y="2722475"/>
            <a:ext cx="4695781" cy="463273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9402508"/>
      </p:ext>
    </p:extLst>
  </p:cSld>
  <p:clrMapOvr>
    <a:masterClrMapping/>
  </p:clrMapOvr>
  <p:hf sldNum="0"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E88070B-C0E0-2DFA-FBCE-FF205B25449F}"/>
              </a:ext>
            </a:extLst>
          </p:cNvPr>
          <p:cNvSpPr/>
          <p:nvPr/>
        </p:nvSpPr>
        <p:spPr>
          <a:xfrm>
            <a:off x="0" y="0"/>
            <a:ext cx="12192000" cy="5611091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CF4C07C6-A816-4189-5ED3-13CBBC6455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6394" y="378791"/>
            <a:ext cx="721415" cy="783392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6CD29F-DD6E-7A48-CCD6-9C62556861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6079" y="1619251"/>
            <a:ext cx="5201227" cy="3732068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B92D793-C5B9-290F-8A51-998397F1596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11200" y="1606551"/>
            <a:ext cx="5201227" cy="3732068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176213" indent="-176213"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D02AAC-2E9A-297E-5FBA-6A1DB2DEBD44}"/>
              </a:ext>
            </a:extLst>
          </p:cNvPr>
          <p:cNvSpPr/>
          <p:nvPr/>
        </p:nvSpPr>
        <p:spPr>
          <a:xfrm>
            <a:off x="0" y="5611091"/>
            <a:ext cx="12192000" cy="12414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48673B-FAB0-B260-E294-D91F1E5C3C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346" y="593213"/>
            <a:ext cx="8915844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tx2"/>
                </a:solidFill>
                <a:latin typeface="Quicksan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1074282"/>
      </p:ext>
    </p:extLst>
  </p:cSld>
  <p:clrMapOvr>
    <a:masterClrMapping/>
  </p:clrMapOvr>
  <p:hf sldNum="0"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592DBB-3127-B9DA-A8ED-74612E741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1680" y="6311900"/>
            <a:ext cx="890016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5924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- Whit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484883" y="2275184"/>
            <a:ext cx="4847307" cy="32660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38F56F-30C0-B8AE-9A2D-75D458292098}"/>
              </a:ext>
            </a:extLst>
          </p:cNvPr>
          <p:cNvGrpSpPr/>
          <p:nvPr userDrawn="1"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17BFCD84-F3D5-2D67-1EF1-6EA656954F9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DC5B7BD2-C012-045B-C0AE-20165117D00C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46C39FBD-DAAB-94DF-35DC-C352F1542076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5658E3DE-4D80-E3F3-9EBE-7C75B09AA30F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591B4FBF-72FE-5A76-77F5-9B370934F24C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A151A684-DA1D-804F-5426-4B4A7A6B4C86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7467FD7-B03A-A783-6DAD-BFE1F429ED7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249137" y="-881221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012221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8709D87-BA1C-72DE-952F-21C692F1E6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3A9427-C886-3512-4C7D-C43D5222DE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/>
          <a:lstStyle>
            <a:lvl1pPr>
              <a:defRPr>
                <a:latin typeface="Quicksand" pitchFamily="2" charset="0"/>
              </a:defRPr>
            </a:lvl1pPr>
            <a:lvl2pPr marL="182563" indent="-182563">
              <a:buClr>
                <a:schemeClr val="bg2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2pPr>
            <a:lvl3pPr marL="684000" indent="-182563">
              <a:buClr>
                <a:schemeClr val="bg2"/>
              </a:buClr>
              <a:buFont typeface="System Font Regular"/>
              <a:buChar char="-"/>
              <a:defRPr>
                <a:latin typeface="Quicksand" pitchFamily="2" charset="0"/>
              </a:defRPr>
            </a:lvl3pPr>
            <a:lvl4pPr marL="1368000" indent="-182563">
              <a:buClr>
                <a:schemeClr val="bg2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4pPr>
            <a:lvl5pPr marL="2052000" indent="-182563">
              <a:buClr>
                <a:schemeClr val="bg2"/>
              </a:buClr>
              <a:buFont typeface="System Font Regular"/>
              <a:buChar char="-"/>
              <a:defRPr>
                <a:latin typeface="Quicksan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89361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642514" y="651643"/>
            <a:ext cx="4351283" cy="304470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74673720-C835-BE5C-5C80-3FD8DB241F01}"/>
              </a:ext>
            </a:extLst>
          </p:cNvPr>
          <p:cNvSpPr/>
          <p:nvPr userDrawn="1"/>
        </p:nvSpPr>
        <p:spPr>
          <a:xfrm>
            <a:off x="11017319" y="4297582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46D95486-8AE6-9324-FF15-FB06241C299A}"/>
              </a:ext>
            </a:extLst>
          </p:cNvPr>
          <p:cNvSpPr/>
          <p:nvPr userDrawn="1"/>
        </p:nvSpPr>
        <p:spPr>
          <a:xfrm>
            <a:off x="10858176" y="4794163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6EE743A1-10E0-9B86-6AD1-E9B92D62DCE7}"/>
              </a:ext>
            </a:extLst>
          </p:cNvPr>
          <p:cNvSpPr/>
          <p:nvPr userDrawn="1"/>
        </p:nvSpPr>
        <p:spPr>
          <a:xfrm>
            <a:off x="10211952" y="5003948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E8D99936-C791-EC50-A678-76F12A1EC831}"/>
              </a:ext>
            </a:extLst>
          </p:cNvPr>
          <p:cNvSpPr/>
          <p:nvPr userDrawn="1"/>
        </p:nvSpPr>
        <p:spPr>
          <a:xfrm>
            <a:off x="9239151" y="4572895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3A7B13D2-0D85-68C1-7844-658E315F6177}"/>
              </a:ext>
            </a:extLst>
          </p:cNvPr>
          <p:cNvSpPr/>
          <p:nvPr userDrawn="1"/>
        </p:nvSpPr>
        <p:spPr>
          <a:xfrm>
            <a:off x="7173395" y="6277376"/>
            <a:ext cx="814552" cy="814552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01DC0EFC-6C93-BFA0-523B-FE355A921294}"/>
              </a:ext>
            </a:extLst>
          </p:cNvPr>
          <p:cNvSpPr/>
          <p:nvPr userDrawn="1"/>
        </p:nvSpPr>
        <p:spPr>
          <a:xfrm>
            <a:off x="6464955" y="5911803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id="{34D1CC05-DC4E-8B38-D132-6D0E40FCB802}"/>
              </a:ext>
            </a:extLst>
          </p:cNvPr>
          <p:cNvSpPr/>
          <p:nvPr userDrawn="1"/>
        </p:nvSpPr>
        <p:spPr>
          <a:xfrm>
            <a:off x="6826903" y="3913649"/>
            <a:ext cx="2203785" cy="2203785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4">
            <a:extLst>
              <a:ext uri="{FF2B5EF4-FFF2-40B4-BE49-F238E27FC236}">
                <a16:creationId xmlns:a16="http://schemas.microsoft.com/office/drawing/2014/main" id="{3439139F-F645-CA8D-5BF1-27B8526442E2}"/>
              </a:ext>
            </a:extLst>
          </p:cNvPr>
          <p:cNvSpPr/>
          <p:nvPr userDrawn="1"/>
        </p:nvSpPr>
        <p:spPr>
          <a:xfrm>
            <a:off x="8852061" y="5677297"/>
            <a:ext cx="1497988" cy="149798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21" y="0"/>
                </a:moveTo>
                <a:lnTo>
                  <a:pt x="206227" y="4051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4"/>
                </a:lnTo>
                <a:lnTo>
                  <a:pt x="59129" y="89439"/>
                </a:lnTo>
                <a:lnTo>
                  <a:pt x="34325" y="124531"/>
                </a:lnTo>
                <a:lnTo>
                  <a:pt x="15728" y="163701"/>
                </a:lnTo>
                <a:lnTo>
                  <a:pt x="4050" y="206239"/>
                </a:lnTo>
                <a:lnTo>
                  <a:pt x="0" y="251434"/>
                </a:lnTo>
                <a:lnTo>
                  <a:pt x="4050" y="296626"/>
                </a:lnTo>
                <a:lnTo>
                  <a:pt x="15728" y="339160"/>
                </a:lnTo>
                <a:lnTo>
                  <a:pt x="34325" y="378328"/>
                </a:lnTo>
                <a:lnTo>
                  <a:pt x="59129" y="413419"/>
                </a:lnTo>
                <a:lnTo>
                  <a:pt x="89431" y="443722"/>
                </a:lnTo>
                <a:lnTo>
                  <a:pt x="124522" y="468528"/>
                </a:lnTo>
                <a:lnTo>
                  <a:pt x="163690" y="487126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6"/>
                </a:lnTo>
                <a:lnTo>
                  <a:pt x="378325" y="468528"/>
                </a:lnTo>
                <a:lnTo>
                  <a:pt x="413417" y="443722"/>
                </a:lnTo>
                <a:lnTo>
                  <a:pt x="443721" y="413419"/>
                </a:lnTo>
                <a:lnTo>
                  <a:pt x="468527" y="378328"/>
                </a:lnTo>
                <a:lnTo>
                  <a:pt x="487125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5" y="163701"/>
                </a:lnTo>
                <a:lnTo>
                  <a:pt x="468527" y="124531"/>
                </a:lnTo>
                <a:lnTo>
                  <a:pt x="443721" y="89439"/>
                </a:lnTo>
                <a:lnTo>
                  <a:pt x="413417" y="59134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1"/>
                </a:lnTo>
                <a:lnTo>
                  <a:pt x="251421" y="0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Picture 16" descr="A picture containing text&#10;&#10;Description automatically generated">
            <a:extLst>
              <a:ext uri="{FF2B5EF4-FFF2-40B4-BE49-F238E27FC236}">
                <a16:creationId xmlns:a16="http://schemas.microsoft.com/office/drawing/2014/main" id="{1C70859E-DCA5-87BD-ACBD-C84DD8CAD7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965953D-FE9D-4CC7-8DA0-75C83642EEAC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086041" y="43104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842035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sourc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E88070B-C0E0-2DFA-FBCE-FF205B25449F}"/>
              </a:ext>
            </a:extLst>
          </p:cNvPr>
          <p:cNvSpPr/>
          <p:nvPr userDrawn="1"/>
        </p:nvSpPr>
        <p:spPr>
          <a:xfrm>
            <a:off x="0" y="0"/>
            <a:ext cx="12192000" cy="561109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B92D793-C5B9-290F-8A51-998397F1596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11200" y="1606551"/>
            <a:ext cx="5201227" cy="37320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180000" indent="-176213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360000" indent="-176213">
              <a:buClr>
                <a:schemeClr val="bg2"/>
              </a:buClr>
              <a:buFont typeface="System Font Regular"/>
              <a:buChar char="-"/>
              <a:defRPr sz="1600">
                <a:solidFill>
                  <a:schemeClr val="bg1"/>
                </a:solidFill>
              </a:defRPr>
            </a:lvl3pPr>
            <a:lvl4pPr marL="540000" indent="-176213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720000" indent="-176213">
              <a:buClr>
                <a:schemeClr val="bg2"/>
              </a:buClr>
              <a:buFont typeface="System Font Regular"/>
              <a:buChar char="-"/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D02AAC-2E9A-297E-5FBA-6A1DB2DEBD44}"/>
              </a:ext>
            </a:extLst>
          </p:cNvPr>
          <p:cNvSpPr/>
          <p:nvPr userDrawn="1"/>
        </p:nvSpPr>
        <p:spPr>
          <a:xfrm>
            <a:off x="0" y="5611091"/>
            <a:ext cx="12192000" cy="12414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20E7A881-0BBB-45B8-4AF2-117BF87335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6192" y="365125"/>
            <a:ext cx="729786" cy="791002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719D4C6-1C25-B2AF-91D9-FF7F9035E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297" y="430440"/>
            <a:ext cx="10819673" cy="103913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F89E646-3B5B-1D2E-C5EA-A57DCB1769C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39775" y="5845175"/>
            <a:ext cx="10820854" cy="665163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accent5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GB"/>
              <a:t>Please add your logos here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33C8DD06-2D99-DAD9-0309-30004B9AC860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320183" y="1619803"/>
            <a:ext cx="5201227" cy="37320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  <a:lvl2pPr marL="180000" indent="-176213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360000" indent="-176213">
              <a:buClr>
                <a:schemeClr val="accent1"/>
              </a:buClr>
              <a:buFont typeface="System Font Regular"/>
              <a:buChar char="-"/>
              <a:defRPr sz="1600">
                <a:solidFill>
                  <a:schemeClr val="bg1"/>
                </a:solidFill>
              </a:defRPr>
            </a:lvl3pPr>
            <a:lvl4pPr marL="540000" indent="-176213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720000" indent="-176213">
              <a:buClr>
                <a:schemeClr val="accent1"/>
              </a:buClr>
              <a:buFont typeface="System Font Regular"/>
              <a:buChar char="-"/>
              <a:defRPr sz="16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28416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 Systems Connec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79DBD3D-6BAC-3C74-1E30-DC5C3945900E}"/>
              </a:ext>
            </a:extLst>
          </p:cNvPr>
          <p:cNvSpPr/>
          <p:nvPr userDrawn="1"/>
        </p:nvSpPr>
        <p:spPr>
          <a:xfrm>
            <a:off x="10627112" y="5754029"/>
            <a:ext cx="769434" cy="802888"/>
          </a:xfrm>
          <a:prstGeom prst="rect">
            <a:avLst/>
          </a:prstGeom>
          <a:solidFill>
            <a:srgbClr val="01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E05C7B-318D-03CB-9CA1-31054F95E8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66369" y="5029200"/>
            <a:ext cx="4259263" cy="446088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GB" dirty="0">
                <a:solidFill>
                  <a:schemeClr val="tx2"/>
                </a:solidFill>
              </a:rPr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9676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1B0B9-AB91-426F-92D7-F2F806F725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1840" y="1825625"/>
            <a:ext cx="5267959" cy="3619212"/>
          </a:xfrm>
        </p:spPr>
        <p:txBody>
          <a:bodyPr/>
          <a:lstStyle>
            <a:lvl1pPr>
              <a:defRPr>
                <a:latin typeface="Quicksand" pitchFamily="2" charset="0"/>
              </a:defRPr>
            </a:lvl1pPr>
            <a:lvl2pPr>
              <a:defRPr>
                <a:latin typeface="Quicksand" pitchFamily="2" charset="0"/>
              </a:defRPr>
            </a:lvl2pPr>
            <a:lvl3pPr>
              <a:defRPr>
                <a:latin typeface="Quicksand" pitchFamily="2" charset="0"/>
              </a:defRPr>
            </a:lvl3pPr>
            <a:lvl4pPr>
              <a:defRPr>
                <a:latin typeface="Quicksand" pitchFamily="2" charset="0"/>
              </a:defRPr>
            </a:lvl4pPr>
            <a:lvl5pPr>
              <a:defRPr>
                <a:latin typeface="Quicksand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7" name="Chart Placeholder 4">
            <a:extLst>
              <a:ext uri="{FF2B5EF4-FFF2-40B4-BE49-F238E27FC236}">
                <a16:creationId xmlns:a16="http://schemas.microsoft.com/office/drawing/2014/main" id="{EE3E867B-9FE0-71C1-A521-89885EE0C42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172201" y="1825625"/>
            <a:ext cx="5282789" cy="361921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40039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g object 16">
            <a:extLst>
              <a:ext uri="{FF2B5EF4-FFF2-40B4-BE49-F238E27FC236}">
                <a16:creationId xmlns:a16="http://schemas.microsoft.com/office/drawing/2014/main" id="{1C1A809C-5CEA-8589-BF5A-DB5080671874}"/>
              </a:ext>
            </a:extLst>
          </p:cNvPr>
          <p:cNvSpPr/>
          <p:nvPr userDrawn="1"/>
        </p:nvSpPr>
        <p:spPr>
          <a:xfrm>
            <a:off x="0" y="0"/>
            <a:ext cx="12196036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bg object 22">
            <a:extLst>
              <a:ext uri="{FF2B5EF4-FFF2-40B4-BE49-F238E27FC236}">
                <a16:creationId xmlns:a16="http://schemas.microsoft.com/office/drawing/2014/main" id="{C101554C-03ED-353A-FA67-D4D1210D0670}"/>
              </a:ext>
            </a:extLst>
          </p:cNvPr>
          <p:cNvSpPr/>
          <p:nvPr userDrawn="1"/>
        </p:nvSpPr>
        <p:spPr>
          <a:xfrm>
            <a:off x="7798070" y="0"/>
            <a:ext cx="4398117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>
              <a:alpha val="25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E7AA6FE-7EC6-165D-2085-FCFB844B5CC6}"/>
              </a:ext>
            </a:extLst>
          </p:cNvPr>
          <p:cNvGrpSpPr/>
          <p:nvPr userDrawn="1"/>
        </p:nvGrpSpPr>
        <p:grpSpPr>
          <a:xfrm>
            <a:off x="0" y="4184585"/>
            <a:ext cx="2767043" cy="2671139"/>
            <a:chOff x="0" y="4184585"/>
            <a:chExt cx="2767043" cy="2671139"/>
          </a:xfrm>
        </p:grpSpPr>
        <p:sp>
          <p:nvSpPr>
            <p:cNvPr id="16" name="bg object 23">
              <a:extLst>
                <a:ext uri="{FF2B5EF4-FFF2-40B4-BE49-F238E27FC236}">
                  <a16:creationId xmlns:a16="http://schemas.microsoft.com/office/drawing/2014/main" id="{B0BECB1F-ECBC-8769-E3C7-16E2F1025215}"/>
                </a:ext>
              </a:extLst>
            </p:cNvPr>
            <p:cNvSpPr/>
            <p:nvPr/>
          </p:nvSpPr>
          <p:spPr>
            <a:xfrm>
              <a:off x="112905" y="6434855"/>
              <a:ext cx="625748" cy="229752"/>
            </a:xfrm>
            <a:custGeom>
              <a:avLst/>
              <a:gdLst/>
              <a:ahLst/>
              <a:cxnLst/>
              <a:rect l="l" t="t" r="r" b="b"/>
              <a:pathLst>
                <a:path w="688975" h="253365">
                  <a:moveTo>
                    <a:pt x="562178" y="0"/>
                  </a:moveTo>
                  <a:lnTo>
                    <a:pt x="126657" y="0"/>
                  </a:lnTo>
                  <a:lnTo>
                    <a:pt x="77340" y="9955"/>
                  </a:lnTo>
                  <a:lnTo>
                    <a:pt x="37082" y="37104"/>
                  </a:lnTo>
                  <a:lnTo>
                    <a:pt x="9947" y="77372"/>
                  </a:lnTo>
                  <a:lnTo>
                    <a:pt x="0" y="126682"/>
                  </a:lnTo>
                  <a:lnTo>
                    <a:pt x="9947" y="175992"/>
                  </a:lnTo>
                  <a:lnTo>
                    <a:pt x="37082" y="216260"/>
                  </a:lnTo>
                  <a:lnTo>
                    <a:pt x="77340" y="243409"/>
                  </a:lnTo>
                  <a:lnTo>
                    <a:pt x="126657" y="253365"/>
                  </a:lnTo>
                  <a:lnTo>
                    <a:pt x="562178" y="253365"/>
                  </a:lnTo>
                  <a:lnTo>
                    <a:pt x="611495" y="243409"/>
                  </a:lnTo>
                  <a:lnTo>
                    <a:pt x="651752" y="216260"/>
                  </a:lnTo>
                  <a:lnTo>
                    <a:pt x="678887" y="175992"/>
                  </a:lnTo>
                  <a:lnTo>
                    <a:pt x="688835" y="126682"/>
                  </a:lnTo>
                  <a:lnTo>
                    <a:pt x="678887" y="77372"/>
                  </a:lnTo>
                  <a:lnTo>
                    <a:pt x="651752" y="37104"/>
                  </a:lnTo>
                  <a:lnTo>
                    <a:pt x="611495" y="9955"/>
                  </a:lnTo>
                  <a:lnTo>
                    <a:pt x="56217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bg object 24">
              <a:extLst>
                <a:ext uri="{FF2B5EF4-FFF2-40B4-BE49-F238E27FC236}">
                  <a16:creationId xmlns:a16="http://schemas.microsoft.com/office/drawing/2014/main" id="{5A0F166C-5675-4BDF-82C2-1312D3795A30}"/>
                </a:ext>
              </a:extLst>
            </p:cNvPr>
            <p:cNvSpPr/>
            <p:nvPr/>
          </p:nvSpPr>
          <p:spPr>
            <a:xfrm>
              <a:off x="859747" y="5805431"/>
              <a:ext cx="827026" cy="1050293"/>
            </a:xfrm>
            <a:custGeom>
              <a:avLst/>
              <a:gdLst/>
              <a:ahLst/>
              <a:cxnLst/>
              <a:rect l="l" t="t" r="r" b="b"/>
              <a:pathLst>
                <a:path w="910589" h="1158240">
                  <a:moveTo>
                    <a:pt x="291990" y="0"/>
                  </a:moveTo>
                  <a:lnTo>
                    <a:pt x="246330" y="10089"/>
                  </a:lnTo>
                  <a:lnTo>
                    <a:pt x="204131" y="31774"/>
                  </a:lnTo>
                  <a:lnTo>
                    <a:pt x="167817" y="64816"/>
                  </a:lnTo>
                  <a:lnTo>
                    <a:pt x="141493" y="106257"/>
                  </a:lnTo>
                  <a:lnTo>
                    <a:pt x="127449" y="151637"/>
                  </a:lnTo>
                  <a:lnTo>
                    <a:pt x="125461" y="198494"/>
                  </a:lnTo>
                  <a:lnTo>
                    <a:pt x="135309" y="244368"/>
                  </a:lnTo>
                  <a:lnTo>
                    <a:pt x="156770" y="286798"/>
                  </a:lnTo>
                  <a:lnTo>
                    <a:pt x="189623" y="323324"/>
                  </a:lnTo>
                  <a:lnTo>
                    <a:pt x="197954" y="330740"/>
                  </a:lnTo>
                  <a:lnTo>
                    <a:pt x="215065" y="347032"/>
                  </a:lnTo>
                  <a:lnTo>
                    <a:pt x="269445" y="405507"/>
                  </a:lnTo>
                  <a:lnTo>
                    <a:pt x="303623" y="447320"/>
                  </a:lnTo>
                  <a:lnTo>
                    <a:pt x="340399" y="497272"/>
                  </a:lnTo>
                  <a:lnTo>
                    <a:pt x="378225" y="555177"/>
                  </a:lnTo>
                  <a:lnTo>
                    <a:pt x="415557" y="620853"/>
                  </a:lnTo>
                  <a:lnTo>
                    <a:pt x="450850" y="694113"/>
                  </a:lnTo>
                  <a:lnTo>
                    <a:pt x="126657" y="694113"/>
                  </a:lnTo>
                  <a:lnTo>
                    <a:pt x="77340" y="704069"/>
                  </a:lnTo>
                  <a:lnTo>
                    <a:pt x="37082" y="731218"/>
                  </a:lnTo>
                  <a:lnTo>
                    <a:pt x="9947" y="771485"/>
                  </a:lnTo>
                  <a:lnTo>
                    <a:pt x="0" y="820796"/>
                  </a:lnTo>
                  <a:lnTo>
                    <a:pt x="9947" y="870106"/>
                  </a:lnTo>
                  <a:lnTo>
                    <a:pt x="37082" y="910374"/>
                  </a:lnTo>
                  <a:lnTo>
                    <a:pt x="77340" y="937523"/>
                  </a:lnTo>
                  <a:lnTo>
                    <a:pt x="126657" y="947478"/>
                  </a:lnTo>
                  <a:lnTo>
                    <a:pt x="527037" y="947478"/>
                  </a:lnTo>
                  <a:lnTo>
                    <a:pt x="534042" y="994520"/>
                  </a:lnTo>
                  <a:lnTo>
                    <a:pt x="539062" y="1043080"/>
                  </a:lnTo>
                  <a:lnTo>
                    <a:pt x="541939" y="1093149"/>
                  </a:lnTo>
                  <a:lnTo>
                    <a:pt x="542511" y="1144718"/>
                  </a:lnTo>
                  <a:lnTo>
                    <a:pt x="542041" y="1157905"/>
                  </a:lnTo>
                  <a:lnTo>
                    <a:pt x="910242" y="1157905"/>
                  </a:lnTo>
                  <a:lnTo>
                    <a:pt x="909792" y="1082442"/>
                  </a:lnTo>
                  <a:lnTo>
                    <a:pt x="905768" y="1011691"/>
                  </a:lnTo>
                  <a:lnTo>
                    <a:pt x="898533" y="943192"/>
                  </a:lnTo>
                  <a:lnTo>
                    <a:pt x="888342" y="876971"/>
                  </a:lnTo>
                  <a:lnTo>
                    <a:pt x="875454" y="813056"/>
                  </a:lnTo>
                  <a:lnTo>
                    <a:pt x="860125" y="751473"/>
                  </a:lnTo>
                  <a:lnTo>
                    <a:pt x="842612" y="692250"/>
                  </a:lnTo>
                  <a:lnTo>
                    <a:pt x="823173" y="635413"/>
                  </a:lnTo>
                  <a:lnTo>
                    <a:pt x="802063" y="580991"/>
                  </a:lnTo>
                  <a:lnTo>
                    <a:pt x="779541" y="529010"/>
                  </a:lnTo>
                  <a:lnTo>
                    <a:pt x="755862" y="479497"/>
                  </a:lnTo>
                  <a:lnTo>
                    <a:pt x="731285" y="432480"/>
                  </a:lnTo>
                  <a:lnTo>
                    <a:pt x="706066" y="387985"/>
                  </a:lnTo>
                  <a:lnTo>
                    <a:pt x="680461" y="346039"/>
                  </a:lnTo>
                  <a:lnTo>
                    <a:pt x="654729" y="306670"/>
                  </a:lnTo>
                  <a:lnTo>
                    <a:pt x="629126" y="269906"/>
                  </a:lnTo>
                  <a:lnTo>
                    <a:pt x="603908" y="235772"/>
                  </a:lnTo>
                  <a:lnTo>
                    <a:pt x="579334" y="204296"/>
                  </a:lnTo>
                  <a:lnTo>
                    <a:pt x="533142" y="149427"/>
                  </a:lnTo>
                  <a:lnTo>
                    <a:pt x="492605" y="105516"/>
                  </a:lnTo>
                  <a:lnTo>
                    <a:pt x="459780" y="72781"/>
                  </a:lnTo>
                  <a:lnTo>
                    <a:pt x="425488" y="41702"/>
                  </a:lnTo>
                  <a:lnTo>
                    <a:pt x="383993" y="15566"/>
                  </a:lnTo>
                  <a:lnTo>
                    <a:pt x="338686" y="1745"/>
                  </a:lnTo>
                  <a:lnTo>
                    <a:pt x="29199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bg object 25">
              <a:extLst>
                <a:ext uri="{FF2B5EF4-FFF2-40B4-BE49-F238E27FC236}">
                  <a16:creationId xmlns:a16="http://schemas.microsoft.com/office/drawing/2014/main" id="{F0D9B2C6-6D12-CCA5-00B9-5E51269E9765}"/>
                </a:ext>
              </a:extLst>
            </p:cNvPr>
            <p:cNvSpPr/>
            <p:nvPr/>
          </p:nvSpPr>
          <p:spPr>
            <a:xfrm>
              <a:off x="465830" y="5649760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bg object 26">
              <a:extLst>
                <a:ext uri="{FF2B5EF4-FFF2-40B4-BE49-F238E27FC236}">
                  <a16:creationId xmlns:a16="http://schemas.microsoft.com/office/drawing/2014/main" id="{BB04FA2D-05E8-025B-D234-184014DA2606}"/>
                </a:ext>
              </a:extLst>
            </p:cNvPr>
            <p:cNvSpPr/>
            <p:nvPr/>
          </p:nvSpPr>
          <p:spPr>
            <a:xfrm>
              <a:off x="1538145" y="5485645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09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bg object 27">
              <a:extLst>
                <a:ext uri="{FF2B5EF4-FFF2-40B4-BE49-F238E27FC236}">
                  <a16:creationId xmlns:a16="http://schemas.microsoft.com/office/drawing/2014/main" id="{C7C47A63-8503-302D-EEC1-8F321F81D4F4}"/>
                </a:ext>
              </a:extLst>
            </p:cNvPr>
            <p:cNvSpPr/>
            <p:nvPr/>
          </p:nvSpPr>
          <p:spPr>
            <a:xfrm>
              <a:off x="1413231" y="4884901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10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bg object 28">
              <a:extLst>
                <a:ext uri="{FF2B5EF4-FFF2-40B4-BE49-F238E27FC236}">
                  <a16:creationId xmlns:a16="http://schemas.microsoft.com/office/drawing/2014/main" id="{5964C189-B02F-4F4E-319E-E3C3858E0426}"/>
                </a:ext>
              </a:extLst>
            </p:cNvPr>
            <p:cNvSpPr/>
            <p:nvPr/>
          </p:nvSpPr>
          <p:spPr>
            <a:xfrm>
              <a:off x="745586" y="5027755"/>
              <a:ext cx="416397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bg object 29">
              <a:extLst>
                <a:ext uri="{FF2B5EF4-FFF2-40B4-BE49-F238E27FC236}">
                  <a16:creationId xmlns:a16="http://schemas.microsoft.com/office/drawing/2014/main" id="{AEB47A71-CFC8-15A6-BEFC-708022A4AF5E}"/>
                </a:ext>
              </a:extLst>
            </p:cNvPr>
            <p:cNvSpPr/>
            <p:nvPr/>
          </p:nvSpPr>
          <p:spPr>
            <a:xfrm>
              <a:off x="2123992" y="5971316"/>
              <a:ext cx="643051" cy="652403"/>
            </a:xfrm>
            <a:custGeom>
              <a:avLst/>
              <a:gdLst/>
              <a:ahLst/>
              <a:cxnLst/>
              <a:rect l="l" t="t" r="r" b="b"/>
              <a:pathLst>
                <a:path w="708025" h="719454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103654" y="613962"/>
                  </a:lnTo>
                  <a:lnTo>
                    <a:pt x="137641" y="644364"/>
                  </a:lnTo>
                  <a:lnTo>
                    <a:pt x="175278" y="670199"/>
                  </a:lnTo>
                  <a:lnTo>
                    <a:pt x="216144" y="691039"/>
                  </a:lnTo>
                  <a:lnTo>
                    <a:pt x="259817" y="706455"/>
                  </a:lnTo>
                  <a:lnTo>
                    <a:pt x="305876" y="716019"/>
                  </a:lnTo>
                  <a:lnTo>
                    <a:pt x="353898" y="719302"/>
                  </a:lnTo>
                  <a:lnTo>
                    <a:pt x="401920" y="716019"/>
                  </a:lnTo>
                  <a:lnTo>
                    <a:pt x="447978" y="706455"/>
                  </a:lnTo>
                  <a:lnTo>
                    <a:pt x="491651" y="691039"/>
                  </a:lnTo>
                  <a:lnTo>
                    <a:pt x="532517" y="670199"/>
                  </a:lnTo>
                  <a:lnTo>
                    <a:pt x="570155" y="644364"/>
                  </a:lnTo>
                  <a:lnTo>
                    <a:pt x="604142" y="613962"/>
                  </a:lnTo>
                  <a:lnTo>
                    <a:pt x="634057" y="579422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bg object 30">
              <a:extLst>
                <a:ext uri="{FF2B5EF4-FFF2-40B4-BE49-F238E27FC236}">
                  <a16:creationId xmlns:a16="http://schemas.microsoft.com/office/drawing/2014/main" id="{746867FF-9D81-E86C-14D3-BA25BF17E6C5}"/>
                </a:ext>
              </a:extLst>
            </p:cNvPr>
            <p:cNvSpPr/>
            <p:nvPr/>
          </p:nvSpPr>
          <p:spPr>
            <a:xfrm>
              <a:off x="528270" y="4184585"/>
              <a:ext cx="536933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5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5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bg object 31">
              <a:extLst>
                <a:ext uri="{FF2B5EF4-FFF2-40B4-BE49-F238E27FC236}">
                  <a16:creationId xmlns:a16="http://schemas.microsoft.com/office/drawing/2014/main" id="{612BE240-184A-F95D-4205-673C737C18BE}"/>
                </a:ext>
              </a:extLst>
            </p:cNvPr>
            <p:cNvSpPr/>
            <p:nvPr/>
          </p:nvSpPr>
          <p:spPr>
            <a:xfrm>
              <a:off x="0" y="4190048"/>
              <a:ext cx="326428" cy="1775824"/>
            </a:xfrm>
            <a:custGeom>
              <a:avLst/>
              <a:gdLst/>
              <a:ahLst/>
              <a:cxnLst/>
              <a:rect l="l" t="t" r="r" b="b"/>
              <a:pathLst>
                <a:path w="359410" h="1958340">
                  <a:moveTo>
                    <a:pt x="0" y="0"/>
                  </a:moveTo>
                  <a:lnTo>
                    <a:pt x="0" y="1957935"/>
                  </a:lnTo>
                  <a:lnTo>
                    <a:pt x="27343" y="1918542"/>
                  </a:lnTo>
                  <a:lnTo>
                    <a:pt x="53873" y="1878921"/>
                  </a:lnTo>
                  <a:lnTo>
                    <a:pt x="79503" y="1839152"/>
                  </a:lnTo>
                  <a:lnTo>
                    <a:pt x="104202" y="1799230"/>
                  </a:lnTo>
                  <a:lnTo>
                    <a:pt x="127941" y="1759153"/>
                  </a:lnTo>
                  <a:lnTo>
                    <a:pt x="150691" y="1718918"/>
                  </a:lnTo>
                  <a:lnTo>
                    <a:pt x="172420" y="1678522"/>
                  </a:lnTo>
                  <a:lnTo>
                    <a:pt x="193101" y="1637961"/>
                  </a:lnTo>
                  <a:lnTo>
                    <a:pt x="212701" y="1597233"/>
                  </a:lnTo>
                  <a:lnTo>
                    <a:pt x="231193" y="1556334"/>
                  </a:lnTo>
                  <a:lnTo>
                    <a:pt x="248546" y="1515262"/>
                  </a:lnTo>
                  <a:lnTo>
                    <a:pt x="264730" y="1474013"/>
                  </a:lnTo>
                  <a:lnTo>
                    <a:pt x="279716" y="1432583"/>
                  </a:lnTo>
                  <a:lnTo>
                    <a:pt x="293473" y="1390971"/>
                  </a:lnTo>
                  <a:lnTo>
                    <a:pt x="305972" y="1349173"/>
                  </a:lnTo>
                  <a:lnTo>
                    <a:pt x="317182" y="1307186"/>
                  </a:lnTo>
                  <a:lnTo>
                    <a:pt x="327075" y="1265006"/>
                  </a:lnTo>
                  <a:lnTo>
                    <a:pt x="335620" y="1222631"/>
                  </a:lnTo>
                  <a:lnTo>
                    <a:pt x="342788" y="1180057"/>
                  </a:lnTo>
                  <a:lnTo>
                    <a:pt x="348549" y="1137282"/>
                  </a:lnTo>
                  <a:lnTo>
                    <a:pt x="355702" y="1059942"/>
                  </a:lnTo>
                  <a:lnTo>
                    <a:pt x="358873" y="984771"/>
                  </a:lnTo>
                  <a:lnTo>
                    <a:pt x="358318" y="911798"/>
                  </a:lnTo>
                  <a:lnTo>
                    <a:pt x="354295" y="841048"/>
                  </a:lnTo>
                  <a:lnTo>
                    <a:pt x="347060" y="772550"/>
                  </a:lnTo>
                  <a:lnTo>
                    <a:pt x="336870" y="706330"/>
                  </a:lnTo>
                  <a:lnTo>
                    <a:pt x="323983" y="642415"/>
                  </a:lnTo>
                  <a:lnTo>
                    <a:pt x="308655" y="580833"/>
                  </a:lnTo>
                  <a:lnTo>
                    <a:pt x="291143" y="521610"/>
                  </a:lnTo>
                  <a:lnTo>
                    <a:pt x="271705" y="464775"/>
                  </a:lnTo>
                  <a:lnTo>
                    <a:pt x="250596" y="410353"/>
                  </a:lnTo>
                  <a:lnTo>
                    <a:pt x="228075" y="358372"/>
                  </a:lnTo>
                  <a:lnTo>
                    <a:pt x="204398" y="308860"/>
                  </a:lnTo>
                  <a:lnTo>
                    <a:pt x="179822" y="261843"/>
                  </a:lnTo>
                  <a:lnTo>
                    <a:pt x="154604" y="217348"/>
                  </a:lnTo>
                  <a:lnTo>
                    <a:pt x="129001" y="175403"/>
                  </a:lnTo>
                  <a:lnTo>
                    <a:pt x="103270" y="136034"/>
                  </a:lnTo>
                  <a:lnTo>
                    <a:pt x="77668" y="99270"/>
                  </a:lnTo>
                  <a:lnTo>
                    <a:pt x="52451" y="65136"/>
                  </a:lnTo>
                  <a:lnTo>
                    <a:pt x="27878" y="336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650ED17-E3D9-4121-6A80-931E191258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0559" y="1589518"/>
            <a:ext cx="6384840" cy="1655762"/>
          </a:xfrm>
        </p:spPr>
        <p:txBody>
          <a:bodyPr anchor="b">
            <a:normAutofit/>
          </a:bodyPr>
          <a:lstStyle>
            <a:lvl1pPr algn="l">
              <a:defRPr sz="54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450364-A7A7-5137-B495-A7AC34AB67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67888" y="3602038"/>
            <a:ext cx="6384840" cy="112784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Quicksand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D61F235-EDD6-AB74-9C26-D2589D0B0BF5}"/>
              </a:ext>
            </a:extLst>
          </p:cNvPr>
          <p:cNvGrpSpPr/>
          <p:nvPr userDrawn="1"/>
        </p:nvGrpSpPr>
        <p:grpSpPr>
          <a:xfrm>
            <a:off x="9768269" y="5263373"/>
            <a:ext cx="1969708" cy="1135284"/>
            <a:chOff x="9768269" y="5263373"/>
            <a:chExt cx="1969708" cy="1135284"/>
          </a:xfrm>
        </p:grpSpPr>
        <p:sp>
          <p:nvSpPr>
            <p:cNvPr id="9" name="bg object 17">
              <a:extLst>
                <a:ext uri="{FF2B5EF4-FFF2-40B4-BE49-F238E27FC236}">
                  <a16:creationId xmlns:a16="http://schemas.microsoft.com/office/drawing/2014/main" id="{B1A475EC-8DC6-2777-9270-716381F7DA64}"/>
                </a:ext>
              </a:extLst>
            </p:cNvPr>
            <p:cNvSpPr/>
            <p:nvPr/>
          </p:nvSpPr>
          <p:spPr>
            <a:xfrm>
              <a:off x="11351110" y="6342803"/>
              <a:ext cx="232420" cy="55854"/>
            </a:xfrm>
            <a:custGeom>
              <a:avLst/>
              <a:gdLst/>
              <a:ahLst/>
              <a:cxnLst/>
              <a:rect l="l" t="t" r="r" b="b"/>
              <a:pathLst>
                <a:path w="255904" h="61595">
                  <a:moveTo>
                    <a:pt x="45491" y="54190"/>
                  </a:moveTo>
                  <a:lnTo>
                    <a:pt x="43802" y="52768"/>
                  </a:lnTo>
                  <a:lnTo>
                    <a:pt x="9245" y="52768"/>
                  </a:lnTo>
                  <a:lnTo>
                    <a:pt x="9245" y="44780"/>
                  </a:lnTo>
                  <a:lnTo>
                    <a:pt x="14655" y="41402"/>
                  </a:lnTo>
                  <a:lnTo>
                    <a:pt x="26657" y="35267"/>
                  </a:lnTo>
                  <a:lnTo>
                    <a:pt x="34874" y="30670"/>
                  </a:lnTo>
                  <a:lnTo>
                    <a:pt x="40576" y="26225"/>
                  </a:lnTo>
                  <a:lnTo>
                    <a:pt x="43891" y="21399"/>
                  </a:lnTo>
                  <a:lnTo>
                    <a:pt x="44958" y="15633"/>
                  </a:lnTo>
                  <a:lnTo>
                    <a:pt x="43383" y="8851"/>
                  </a:lnTo>
                  <a:lnTo>
                    <a:pt x="38976" y="3962"/>
                  </a:lnTo>
                  <a:lnTo>
                    <a:pt x="32181" y="1003"/>
                  </a:lnTo>
                  <a:lnTo>
                    <a:pt x="23456" y="0"/>
                  </a:lnTo>
                  <a:lnTo>
                    <a:pt x="18389" y="0"/>
                  </a:lnTo>
                  <a:lnTo>
                    <a:pt x="12979" y="711"/>
                  </a:lnTo>
                  <a:lnTo>
                    <a:pt x="3378" y="5245"/>
                  </a:lnTo>
                  <a:lnTo>
                    <a:pt x="1155" y="7023"/>
                  </a:lnTo>
                  <a:lnTo>
                    <a:pt x="1155" y="11455"/>
                  </a:lnTo>
                  <a:lnTo>
                    <a:pt x="2667" y="13144"/>
                  </a:lnTo>
                  <a:lnTo>
                    <a:pt x="5600" y="13144"/>
                  </a:lnTo>
                  <a:lnTo>
                    <a:pt x="6311" y="12877"/>
                  </a:lnTo>
                  <a:lnTo>
                    <a:pt x="12255" y="8978"/>
                  </a:lnTo>
                  <a:lnTo>
                    <a:pt x="16611" y="7467"/>
                  </a:lnTo>
                  <a:lnTo>
                    <a:pt x="31267" y="7467"/>
                  </a:lnTo>
                  <a:lnTo>
                    <a:pt x="36601" y="10210"/>
                  </a:lnTo>
                  <a:lnTo>
                    <a:pt x="36601" y="21678"/>
                  </a:lnTo>
                  <a:lnTo>
                    <a:pt x="30124" y="24879"/>
                  </a:lnTo>
                  <a:lnTo>
                    <a:pt x="19456" y="30378"/>
                  </a:lnTo>
                  <a:lnTo>
                    <a:pt x="11137" y="35166"/>
                  </a:lnTo>
                  <a:lnTo>
                    <a:pt x="5041" y="40436"/>
                  </a:lnTo>
                  <a:lnTo>
                    <a:pt x="1282" y="47193"/>
                  </a:lnTo>
                  <a:lnTo>
                    <a:pt x="0" y="56413"/>
                  </a:lnTo>
                  <a:lnTo>
                    <a:pt x="0" y="58458"/>
                  </a:lnTo>
                  <a:lnTo>
                    <a:pt x="1600" y="60236"/>
                  </a:lnTo>
                  <a:lnTo>
                    <a:pt x="41757" y="60236"/>
                  </a:lnTo>
                  <a:lnTo>
                    <a:pt x="43802" y="60236"/>
                  </a:lnTo>
                  <a:lnTo>
                    <a:pt x="45491" y="58724"/>
                  </a:lnTo>
                  <a:lnTo>
                    <a:pt x="45491" y="54190"/>
                  </a:lnTo>
                  <a:close/>
                </a:path>
                <a:path w="255904" h="61595">
                  <a:moveTo>
                    <a:pt x="118351" y="30645"/>
                  </a:moveTo>
                  <a:lnTo>
                    <a:pt x="116674" y="19113"/>
                  </a:lnTo>
                  <a:lnTo>
                    <a:pt x="111785" y="9334"/>
                  </a:lnTo>
                  <a:lnTo>
                    <a:pt x="109994" y="7810"/>
                  </a:lnTo>
                  <a:lnTo>
                    <a:pt x="109994" y="30645"/>
                  </a:lnTo>
                  <a:lnTo>
                    <a:pt x="108788" y="39789"/>
                  </a:lnTo>
                  <a:lnTo>
                    <a:pt x="105371" y="47142"/>
                  </a:lnTo>
                  <a:lnTo>
                    <a:pt x="100025" y="52057"/>
                  </a:lnTo>
                  <a:lnTo>
                    <a:pt x="93027" y="53835"/>
                  </a:lnTo>
                  <a:lnTo>
                    <a:pt x="86017" y="52057"/>
                  </a:lnTo>
                  <a:lnTo>
                    <a:pt x="80670" y="47142"/>
                  </a:lnTo>
                  <a:lnTo>
                    <a:pt x="77254" y="39789"/>
                  </a:lnTo>
                  <a:lnTo>
                    <a:pt x="76060" y="30645"/>
                  </a:lnTo>
                  <a:lnTo>
                    <a:pt x="77254" y="21526"/>
                  </a:lnTo>
                  <a:lnTo>
                    <a:pt x="80670" y="14160"/>
                  </a:lnTo>
                  <a:lnTo>
                    <a:pt x="86017" y="9258"/>
                  </a:lnTo>
                  <a:lnTo>
                    <a:pt x="93027" y="7467"/>
                  </a:lnTo>
                  <a:lnTo>
                    <a:pt x="100025" y="9258"/>
                  </a:lnTo>
                  <a:lnTo>
                    <a:pt x="105371" y="14160"/>
                  </a:lnTo>
                  <a:lnTo>
                    <a:pt x="108788" y="21526"/>
                  </a:lnTo>
                  <a:lnTo>
                    <a:pt x="109994" y="30645"/>
                  </a:lnTo>
                  <a:lnTo>
                    <a:pt x="109994" y="7810"/>
                  </a:lnTo>
                  <a:lnTo>
                    <a:pt x="109601" y="7467"/>
                  </a:lnTo>
                  <a:lnTo>
                    <a:pt x="103835" y="2540"/>
                  </a:lnTo>
                  <a:lnTo>
                    <a:pt x="93027" y="0"/>
                  </a:lnTo>
                  <a:lnTo>
                    <a:pt x="82207" y="2540"/>
                  </a:lnTo>
                  <a:lnTo>
                    <a:pt x="74269" y="9334"/>
                  </a:lnTo>
                  <a:lnTo>
                    <a:pt x="69367" y="19113"/>
                  </a:lnTo>
                  <a:lnTo>
                    <a:pt x="67703" y="30645"/>
                  </a:lnTo>
                  <a:lnTo>
                    <a:pt x="69367" y="42189"/>
                  </a:lnTo>
                  <a:lnTo>
                    <a:pt x="74269" y="51981"/>
                  </a:lnTo>
                  <a:lnTo>
                    <a:pt x="82207" y="58762"/>
                  </a:lnTo>
                  <a:lnTo>
                    <a:pt x="93027" y="61302"/>
                  </a:lnTo>
                  <a:lnTo>
                    <a:pt x="103835" y="58762"/>
                  </a:lnTo>
                  <a:lnTo>
                    <a:pt x="109601" y="53835"/>
                  </a:lnTo>
                  <a:lnTo>
                    <a:pt x="111785" y="51981"/>
                  </a:lnTo>
                  <a:lnTo>
                    <a:pt x="116674" y="42189"/>
                  </a:lnTo>
                  <a:lnTo>
                    <a:pt x="118351" y="30645"/>
                  </a:lnTo>
                  <a:close/>
                </a:path>
                <a:path w="255904" h="61595">
                  <a:moveTo>
                    <a:pt x="186664" y="54190"/>
                  </a:moveTo>
                  <a:lnTo>
                    <a:pt x="184975" y="52768"/>
                  </a:lnTo>
                  <a:lnTo>
                    <a:pt x="150418" y="52768"/>
                  </a:lnTo>
                  <a:lnTo>
                    <a:pt x="150418" y="44780"/>
                  </a:lnTo>
                  <a:lnTo>
                    <a:pt x="155829" y="41402"/>
                  </a:lnTo>
                  <a:lnTo>
                    <a:pt x="167830" y="35267"/>
                  </a:lnTo>
                  <a:lnTo>
                    <a:pt x="176047" y="30670"/>
                  </a:lnTo>
                  <a:lnTo>
                    <a:pt x="181749" y="26225"/>
                  </a:lnTo>
                  <a:lnTo>
                    <a:pt x="185051" y="21399"/>
                  </a:lnTo>
                  <a:lnTo>
                    <a:pt x="186131" y="15633"/>
                  </a:lnTo>
                  <a:lnTo>
                    <a:pt x="184556" y="8851"/>
                  </a:lnTo>
                  <a:lnTo>
                    <a:pt x="180149" y="3962"/>
                  </a:lnTo>
                  <a:lnTo>
                    <a:pt x="173342" y="1003"/>
                  </a:lnTo>
                  <a:lnTo>
                    <a:pt x="164630" y="0"/>
                  </a:lnTo>
                  <a:lnTo>
                    <a:pt x="159562" y="0"/>
                  </a:lnTo>
                  <a:lnTo>
                    <a:pt x="154139" y="711"/>
                  </a:lnTo>
                  <a:lnTo>
                    <a:pt x="144551" y="5245"/>
                  </a:lnTo>
                  <a:lnTo>
                    <a:pt x="142328" y="7023"/>
                  </a:lnTo>
                  <a:lnTo>
                    <a:pt x="142328" y="11455"/>
                  </a:lnTo>
                  <a:lnTo>
                    <a:pt x="143840" y="13144"/>
                  </a:lnTo>
                  <a:lnTo>
                    <a:pt x="146773" y="13144"/>
                  </a:lnTo>
                  <a:lnTo>
                    <a:pt x="147485" y="12877"/>
                  </a:lnTo>
                  <a:lnTo>
                    <a:pt x="153428" y="8978"/>
                  </a:lnTo>
                  <a:lnTo>
                    <a:pt x="157784" y="7467"/>
                  </a:lnTo>
                  <a:lnTo>
                    <a:pt x="172440" y="7467"/>
                  </a:lnTo>
                  <a:lnTo>
                    <a:pt x="177774" y="10210"/>
                  </a:lnTo>
                  <a:lnTo>
                    <a:pt x="177774" y="21678"/>
                  </a:lnTo>
                  <a:lnTo>
                    <a:pt x="171297" y="24879"/>
                  </a:lnTo>
                  <a:lnTo>
                    <a:pt x="160629" y="30378"/>
                  </a:lnTo>
                  <a:lnTo>
                    <a:pt x="152311" y="35166"/>
                  </a:lnTo>
                  <a:lnTo>
                    <a:pt x="146202" y="40436"/>
                  </a:lnTo>
                  <a:lnTo>
                    <a:pt x="142455" y="47193"/>
                  </a:lnTo>
                  <a:lnTo>
                    <a:pt x="141173" y="56413"/>
                  </a:lnTo>
                  <a:lnTo>
                    <a:pt x="141173" y="58458"/>
                  </a:lnTo>
                  <a:lnTo>
                    <a:pt x="142773" y="60236"/>
                  </a:lnTo>
                  <a:lnTo>
                    <a:pt x="182930" y="60236"/>
                  </a:lnTo>
                  <a:lnTo>
                    <a:pt x="184975" y="60236"/>
                  </a:lnTo>
                  <a:lnTo>
                    <a:pt x="186664" y="58724"/>
                  </a:lnTo>
                  <a:lnTo>
                    <a:pt x="186664" y="54190"/>
                  </a:lnTo>
                  <a:close/>
                </a:path>
                <a:path w="255904" h="61595">
                  <a:moveTo>
                    <a:pt x="255689" y="34734"/>
                  </a:moveTo>
                  <a:lnTo>
                    <a:pt x="250532" y="29845"/>
                  </a:lnTo>
                  <a:lnTo>
                    <a:pt x="242709" y="27724"/>
                  </a:lnTo>
                  <a:lnTo>
                    <a:pt x="249021" y="25057"/>
                  </a:lnTo>
                  <a:lnTo>
                    <a:pt x="251688" y="20078"/>
                  </a:lnTo>
                  <a:lnTo>
                    <a:pt x="251688" y="5511"/>
                  </a:lnTo>
                  <a:lnTo>
                    <a:pt x="244309" y="0"/>
                  </a:lnTo>
                  <a:lnTo>
                    <a:pt x="228765" y="0"/>
                  </a:lnTo>
                  <a:lnTo>
                    <a:pt x="223875" y="622"/>
                  </a:lnTo>
                  <a:lnTo>
                    <a:pt x="217665" y="3200"/>
                  </a:lnTo>
                  <a:lnTo>
                    <a:pt x="214287" y="4800"/>
                  </a:lnTo>
                  <a:lnTo>
                    <a:pt x="214287" y="9410"/>
                  </a:lnTo>
                  <a:lnTo>
                    <a:pt x="215442" y="10934"/>
                  </a:lnTo>
                  <a:lnTo>
                    <a:pt x="219176" y="10934"/>
                  </a:lnTo>
                  <a:lnTo>
                    <a:pt x="224764" y="8001"/>
                  </a:lnTo>
                  <a:lnTo>
                    <a:pt x="228053" y="7112"/>
                  </a:lnTo>
                  <a:lnTo>
                    <a:pt x="238721" y="7112"/>
                  </a:lnTo>
                  <a:lnTo>
                    <a:pt x="243332" y="9410"/>
                  </a:lnTo>
                  <a:lnTo>
                    <a:pt x="243332" y="21056"/>
                  </a:lnTo>
                  <a:lnTo>
                    <a:pt x="238988" y="24968"/>
                  </a:lnTo>
                  <a:lnTo>
                    <a:pt x="224497" y="24968"/>
                  </a:lnTo>
                  <a:lnTo>
                    <a:pt x="222808" y="26479"/>
                  </a:lnTo>
                  <a:lnTo>
                    <a:pt x="222808" y="30746"/>
                  </a:lnTo>
                  <a:lnTo>
                    <a:pt x="224497" y="32334"/>
                  </a:lnTo>
                  <a:lnTo>
                    <a:pt x="240576" y="32334"/>
                  </a:lnTo>
                  <a:lnTo>
                    <a:pt x="247332" y="35356"/>
                  </a:lnTo>
                  <a:lnTo>
                    <a:pt x="247332" y="50114"/>
                  </a:lnTo>
                  <a:lnTo>
                    <a:pt x="241033" y="54190"/>
                  </a:lnTo>
                  <a:lnTo>
                    <a:pt x="224142" y="54190"/>
                  </a:lnTo>
                  <a:lnTo>
                    <a:pt x="219798" y="51536"/>
                  </a:lnTo>
                  <a:lnTo>
                    <a:pt x="214376" y="47358"/>
                  </a:lnTo>
                  <a:lnTo>
                    <a:pt x="213575" y="47002"/>
                  </a:lnTo>
                  <a:lnTo>
                    <a:pt x="210731" y="47002"/>
                  </a:lnTo>
                  <a:lnTo>
                    <a:pt x="208864" y="48336"/>
                  </a:lnTo>
                  <a:lnTo>
                    <a:pt x="208864" y="51879"/>
                  </a:lnTo>
                  <a:lnTo>
                    <a:pt x="209575" y="53035"/>
                  </a:lnTo>
                  <a:lnTo>
                    <a:pt x="216065" y="58635"/>
                  </a:lnTo>
                  <a:lnTo>
                    <a:pt x="223342" y="61302"/>
                  </a:lnTo>
                  <a:lnTo>
                    <a:pt x="232410" y="61302"/>
                  </a:lnTo>
                  <a:lnTo>
                    <a:pt x="241820" y="60007"/>
                  </a:lnTo>
                  <a:lnTo>
                    <a:pt x="249186" y="56324"/>
                  </a:lnTo>
                  <a:lnTo>
                    <a:pt x="253974" y="50622"/>
                  </a:lnTo>
                  <a:lnTo>
                    <a:pt x="255689" y="43268"/>
                  </a:lnTo>
                  <a:lnTo>
                    <a:pt x="255689" y="3473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0" name="bg object 18">
              <a:extLst>
                <a:ext uri="{FF2B5EF4-FFF2-40B4-BE49-F238E27FC236}">
                  <a16:creationId xmlns:a16="http://schemas.microsoft.com/office/drawing/2014/main" id="{CB203E13-91BE-B4AD-9232-6C1CA705097A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768269" y="6133524"/>
              <a:ext cx="114872" cy="115198"/>
            </a:xfrm>
            <a:prstGeom prst="rect">
              <a:avLst/>
            </a:prstGeom>
          </p:spPr>
        </p:pic>
        <p:sp>
          <p:nvSpPr>
            <p:cNvPr id="11" name="bg object 19">
              <a:extLst>
                <a:ext uri="{FF2B5EF4-FFF2-40B4-BE49-F238E27FC236}">
                  <a16:creationId xmlns:a16="http://schemas.microsoft.com/office/drawing/2014/main" id="{496AC52C-7545-151F-E8C3-1E3096522EB4}"/>
                </a:ext>
              </a:extLst>
            </p:cNvPr>
            <p:cNvSpPr/>
            <p:nvPr/>
          </p:nvSpPr>
          <p:spPr>
            <a:xfrm>
              <a:off x="9916387" y="6076176"/>
              <a:ext cx="65747" cy="171594"/>
            </a:xfrm>
            <a:custGeom>
              <a:avLst/>
              <a:gdLst/>
              <a:ahLst/>
              <a:cxnLst/>
              <a:rect l="l" t="t" r="r" b="b"/>
              <a:pathLst>
                <a:path w="72390" h="189229">
                  <a:moveTo>
                    <a:pt x="16637" y="3606"/>
                  </a:moveTo>
                  <a:lnTo>
                    <a:pt x="13030" y="0"/>
                  </a:lnTo>
                  <a:lnTo>
                    <a:pt x="3606" y="0"/>
                  </a:lnTo>
                  <a:lnTo>
                    <a:pt x="0" y="3606"/>
                  </a:lnTo>
                  <a:lnTo>
                    <a:pt x="0" y="185559"/>
                  </a:lnTo>
                  <a:lnTo>
                    <a:pt x="3606" y="189166"/>
                  </a:lnTo>
                  <a:lnTo>
                    <a:pt x="8318" y="189166"/>
                  </a:lnTo>
                  <a:lnTo>
                    <a:pt x="13030" y="189166"/>
                  </a:lnTo>
                  <a:lnTo>
                    <a:pt x="16637" y="185559"/>
                  </a:lnTo>
                  <a:lnTo>
                    <a:pt x="16637" y="3606"/>
                  </a:lnTo>
                  <a:close/>
                </a:path>
                <a:path w="72390" h="189229">
                  <a:moveTo>
                    <a:pt x="72110" y="3606"/>
                  </a:moveTo>
                  <a:lnTo>
                    <a:pt x="68503" y="0"/>
                  </a:lnTo>
                  <a:lnTo>
                    <a:pt x="59080" y="0"/>
                  </a:lnTo>
                  <a:lnTo>
                    <a:pt x="55473" y="3606"/>
                  </a:lnTo>
                  <a:lnTo>
                    <a:pt x="55473" y="185559"/>
                  </a:lnTo>
                  <a:lnTo>
                    <a:pt x="59080" y="189166"/>
                  </a:lnTo>
                  <a:lnTo>
                    <a:pt x="63792" y="189166"/>
                  </a:lnTo>
                  <a:lnTo>
                    <a:pt x="68503" y="189166"/>
                  </a:lnTo>
                  <a:lnTo>
                    <a:pt x="72110" y="185559"/>
                  </a:lnTo>
                  <a:lnTo>
                    <a:pt x="72110" y="360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" name="bg object 20">
              <a:extLst>
                <a:ext uri="{FF2B5EF4-FFF2-40B4-BE49-F238E27FC236}">
                  <a16:creationId xmlns:a16="http://schemas.microsoft.com/office/drawing/2014/main" id="{D7BC008D-5A1B-BE3A-4CBD-34678F8CB2CF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901316" y="6093783"/>
              <a:ext cx="1836661" cy="304614"/>
            </a:xfrm>
            <a:prstGeom prst="rect">
              <a:avLst/>
            </a:prstGeom>
          </p:spPr>
        </p:pic>
        <p:pic>
          <p:nvPicPr>
            <p:cNvPr id="13" name="bg object 21">
              <a:extLst>
                <a:ext uri="{FF2B5EF4-FFF2-40B4-BE49-F238E27FC236}">
                  <a16:creationId xmlns:a16="http://schemas.microsoft.com/office/drawing/2014/main" id="{7A1F9893-575A-F37A-22F6-165D8958B67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0391018" y="5263373"/>
              <a:ext cx="711091" cy="772536"/>
            </a:xfrm>
            <a:prstGeom prst="rect">
              <a:avLst/>
            </a:prstGeom>
          </p:spPr>
        </p:pic>
      </p:grp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2317170-02D0-6F51-2E76-B9C54BEA68A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416204" y="323967"/>
            <a:ext cx="6400801" cy="367409"/>
          </a:xfrm>
        </p:spPr>
        <p:txBody>
          <a:bodyPr anchor="ctr">
            <a:norm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Speaker names and organisations</a:t>
            </a:r>
          </a:p>
        </p:txBody>
      </p:sp>
    </p:spTree>
    <p:extLst>
      <p:ext uri="{BB962C8B-B14F-4D97-AF65-F5344CB8AC3E}">
        <p14:creationId xmlns:p14="http://schemas.microsoft.com/office/powerpoint/2010/main" val="88178002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3ACEF4A-FB42-9808-AD89-22387AFA82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52104-509B-E0AB-E830-5FA822F214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/>
          <a:lstStyle>
            <a:lvl1pPr>
              <a:defRPr>
                <a:latin typeface="Quicksand" pitchFamily="2" charset="0"/>
              </a:defRPr>
            </a:lvl1pPr>
            <a:lvl2pPr marL="182563" indent="-182563">
              <a:buClr>
                <a:schemeClr val="accent3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2pPr>
            <a:lvl3pPr marL="684000" indent="-182563">
              <a:buClr>
                <a:schemeClr val="accent3"/>
              </a:buClr>
              <a:buFont typeface="System Font Regular"/>
              <a:buChar char="-"/>
              <a:defRPr>
                <a:latin typeface="Quicksand" pitchFamily="2" charset="0"/>
              </a:defRPr>
            </a:lvl3pPr>
            <a:lvl4pPr marL="1368000" indent="-182563">
              <a:buClr>
                <a:schemeClr val="accent3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4pPr>
            <a:lvl5pPr marL="2052000" indent="-182563">
              <a:buClr>
                <a:schemeClr val="accent3"/>
              </a:buClr>
              <a:buFont typeface="System Font Regular"/>
              <a:buChar char="-"/>
              <a:defRPr>
                <a:latin typeface="Quicksan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26021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3ACEF4A-FB42-9808-AD89-22387AFA82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720EA9-0DAF-BFE1-F59B-9B2B112183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/>
          <a:lstStyle>
            <a:lvl1pPr>
              <a:defRPr>
                <a:latin typeface="Quicksand" pitchFamily="2" charset="0"/>
              </a:defRPr>
            </a:lvl1pPr>
            <a:lvl2pPr marL="182563" indent="-182563">
              <a:buClr>
                <a:schemeClr val="accent2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2pPr>
            <a:lvl3pPr marL="684000" indent="-182563">
              <a:buClr>
                <a:schemeClr val="accent2"/>
              </a:buClr>
              <a:buFont typeface="System Font Regular"/>
              <a:buChar char="-"/>
              <a:defRPr>
                <a:latin typeface="Quicksand" pitchFamily="2" charset="0"/>
              </a:defRPr>
            </a:lvl3pPr>
            <a:lvl4pPr marL="1368000" indent="-182563">
              <a:buClr>
                <a:schemeClr val="accent2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4pPr>
            <a:lvl5pPr marL="2052000" indent="-182563">
              <a:buClr>
                <a:schemeClr val="accent2"/>
              </a:buClr>
              <a:buFont typeface="System Font Regular"/>
              <a:buChar char="-"/>
              <a:defRPr>
                <a:latin typeface="Quicksan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90203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Ne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3ACEF4A-FB42-9808-AD89-22387AFA82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720EA9-0DAF-BFE1-F59B-9B2B112183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>
                <a:latin typeface="Quicksand" pitchFamily="2" charset="0"/>
              </a:defRPr>
            </a:lvl1pPr>
            <a:lvl2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2pPr>
            <a:lvl3pPr marL="684000" indent="-182563">
              <a:buClr>
                <a:schemeClr val="tx2"/>
              </a:buClr>
              <a:buFont typeface="System Font Regular"/>
              <a:buChar char="-"/>
              <a:defRPr>
                <a:latin typeface="Quicksand" pitchFamily="2" charset="0"/>
              </a:defRPr>
            </a:lvl3pPr>
            <a:lvl4pPr marL="1368000" indent="-182563">
              <a:buClr>
                <a:schemeClr val="tx2"/>
              </a:buClr>
              <a:buFont typeface="Arial" panose="020B0604020202020204" pitchFamily="34" charset="0"/>
              <a:buChar char="•"/>
              <a:defRPr>
                <a:latin typeface="Quicksand" pitchFamily="2" charset="0"/>
              </a:defRPr>
            </a:lvl4pPr>
            <a:lvl5pPr marL="2052000" indent="-182563">
              <a:buClr>
                <a:schemeClr val="tx2"/>
              </a:buClr>
              <a:buFont typeface="System Font Regular"/>
              <a:buChar char="-"/>
              <a:defRPr>
                <a:latin typeface="Quicksand" pitchFamily="2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386450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>
            <a:extLst>
              <a:ext uri="{FF2B5EF4-FFF2-40B4-BE49-F238E27FC236}">
                <a16:creationId xmlns:a16="http://schemas.microsoft.com/office/drawing/2014/main" id="{3EBB3160-CA27-C8B6-D23F-CD3FF6DEF018}"/>
              </a:ext>
            </a:extLst>
          </p:cNvPr>
          <p:cNvSpPr/>
          <p:nvPr userDrawn="1"/>
        </p:nvSpPr>
        <p:spPr>
          <a:xfrm>
            <a:off x="0" y="2304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E5C77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6" name="object 41">
            <a:extLst>
              <a:ext uri="{FF2B5EF4-FFF2-40B4-BE49-F238E27FC236}">
                <a16:creationId xmlns:a16="http://schemas.microsoft.com/office/drawing/2014/main" id="{1F265747-21F4-F8D5-7000-0C7551B15B3B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7" name="object 42">
              <a:extLst>
                <a:ext uri="{FF2B5EF4-FFF2-40B4-BE49-F238E27FC236}">
                  <a16:creationId xmlns:a16="http://schemas.microsoft.com/office/drawing/2014/main" id="{E1D2DE1E-9BDB-B3F5-F4EF-84B8C6E76140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8" name="object 43">
              <a:extLst>
                <a:ext uri="{FF2B5EF4-FFF2-40B4-BE49-F238E27FC236}">
                  <a16:creationId xmlns:a16="http://schemas.microsoft.com/office/drawing/2014/main" id="{5D372F6C-7566-B498-043D-AF7E960D8B59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9" name="object 44">
              <a:extLst>
                <a:ext uri="{FF2B5EF4-FFF2-40B4-BE49-F238E27FC236}">
                  <a16:creationId xmlns:a16="http://schemas.microsoft.com/office/drawing/2014/main" id="{1E0FB701-E23F-08F2-0FF8-429E562EFBA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0" name="bg object 22">
            <a:extLst>
              <a:ext uri="{FF2B5EF4-FFF2-40B4-BE49-F238E27FC236}">
                <a16:creationId xmlns:a16="http://schemas.microsoft.com/office/drawing/2014/main" id="{E49E1922-67A9-AF82-FCD4-D491460A739C}"/>
              </a:ext>
            </a:extLst>
          </p:cNvPr>
          <p:cNvSpPr/>
          <p:nvPr userDrawn="1"/>
        </p:nvSpPr>
        <p:spPr>
          <a:xfrm>
            <a:off x="7798070" y="0"/>
            <a:ext cx="4398117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>
              <a:alpha val="250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1179DA6-2F44-5B6F-989D-DAE932BB98EB}"/>
              </a:ext>
            </a:extLst>
          </p:cNvPr>
          <p:cNvGrpSpPr/>
          <p:nvPr userDrawn="1"/>
        </p:nvGrpSpPr>
        <p:grpSpPr>
          <a:xfrm>
            <a:off x="0" y="4184585"/>
            <a:ext cx="2767043" cy="2671139"/>
            <a:chOff x="0" y="4184585"/>
            <a:chExt cx="2767043" cy="2671139"/>
          </a:xfrm>
        </p:grpSpPr>
        <p:sp>
          <p:nvSpPr>
            <p:cNvPr id="12" name="bg object 23">
              <a:extLst>
                <a:ext uri="{FF2B5EF4-FFF2-40B4-BE49-F238E27FC236}">
                  <a16:creationId xmlns:a16="http://schemas.microsoft.com/office/drawing/2014/main" id="{012FF536-9F0D-1AF8-B975-16A4030FE206}"/>
                </a:ext>
              </a:extLst>
            </p:cNvPr>
            <p:cNvSpPr/>
            <p:nvPr/>
          </p:nvSpPr>
          <p:spPr>
            <a:xfrm>
              <a:off x="112905" y="6434855"/>
              <a:ext cx="625748" cy="229752"/>
            </a:xfrm>
            <a:custGeom>
              <a:avLst/>
              <a:gdLst/>
              <a:ahLst/>
              <a:cxnLst/>
              <a:rect l="l" t="t" r="r" b="b"/>
              <a:pathLst>
                <a:path w="688975" h="253365">
                  <a:moveTo>
                    <a:pt x="562178" y="0"/>
                  </a:moveTo>
                  <a:lnTo>
                    <a:pt x="126657" y="0"/>
                  </a:lnTo>
                  <a:lnTo>
                    <a:pt x="77340" y="9955"/>
                  </a:lnTo>
                  <a:lnTo>
                    <a:pt x="37082" y="37104"/>
                  </a:lnTo>
                  <a:lnTo>
                    <a:pt x="9947" y="77372"/>
                  </a:lnTo>
                  <a:lnTo>
                    <a:pt x="0" y="126682"/>
                  </a:lnTo>
                  <a:lnTo>
                    <a:pt x="9947" y="175992"/>
                  </a:lnTo>
                  <a:lnTo>
                    <a:pt x="37082" y="216260"/>
                  </a:lnTo>
                  <a:lnTo>
                    <a:pt x="77340" y="243409"/>
                  </a:lnTo>
                  <a:lnTo>
                    <a:pt x="126657" y="253365"/>
                  </a:lnTo>
                  <a:lnTo>
                    <a:pt x="562178" y="253365"/>
                  </a:lnTo>
                  <a:lnTo>
                    <a:pt x="611495" y="243409"/>
                  </a:lnTo>
                  <a:lnTo>
                    <a:pt x="651752" y="216260"/>
                  </a:lnTo>
                  <a:lnTo>
                    <a:pt x="678887" y="175992"/>
                  </a:lnTo>
                  <a:lnTo>
                    <a:pt x="688835" y="126682"/>
                  </a:lnTo>
                  <a:lnTo>
                    <a:pt x="678887" y="77372"/>
                  </a:lnTo>
                  <a:lnTo>
                    <a:pt x="651752" y="37104"/>
                  </a:lnTo>
                  <a:lnTo>
                    <a:pt x="611495" y="9955"/>
                  </a:lnTo>
                  <a:lnTo>
                    <a:pt x="56217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bg object 24">
              <a:extLst>
                <a:ext uri="{FF2B5EF4-FFF2-40B4-BE49-F238E27FC236}">
                  <a16:creationId xmlns:a16="http://schemas.microsoft.com/office/drawing/2014/main" id="{DC9193E7-CBF6-B6CC-E025-5DABC39F5ECA}"/>
                </a:ext>
              </a:extLst>
            </p:cNvPr>
            <p:cNvSpPr/>
            <p:nvPr/>
          </p:nvSpPr>
          <p:spPr>
            <a:xfrm>
              <a:off x="859747" y="5805431"/>
              <a:ext cx="827026" cy="1050293"/>
            </a:xfrm>
            <a:custGeom>
              <a:avLst/>
              <a:gdLst/>
              <a:ahLst/>
              <a:cxnLst/>
              <a:rect l="l" t="t" r="r" b="b"/>
              <a:pathLst>
                <a:path w="910589" h="1158240">
                  <a:moveTo>
                    <a:pt x="291990" y="0"/>
                  </a:moveTo>
                  <a:lnTo>
                    <a:pt x="246330" y="10089"/>
                  </a:lnTo>
                  <a:lnTo>
                    <a:pt x="204131" y="31774"/>
                  </a:lnTo>
                  <a:lnTo>
                    <a:pt x="167817" y="64816"/>
                  </a:lnTo>
                  <a:lnTo>
                    <a:pt x="141493" y="106257"/>
                  </a:lnTo>
                  <a:lnTo>
                    <a:pt x="127449" y="151637"/>
                  </a:lnTo>
                  <a:lnTo>
                    <a:pt x="125461" y="198494"/>
                  </a:lnTo>
                  <a:lnTo>
                    <a:pt x="135309" y="244368"/>
                  </a:lnTo>
                  <a:lnTo>
                    <a:pt x="156770" y="286798"/>
                  </a:lnTo>
                  <a:lnTo>
                    <a:pt x="189623" y="323324"/>
                  </a:lnTo>
                  <a:lnTo>
                    <a:pt x="197954" y="330740"/>
                  </a:lnTo>
                  <a:lnTo>
                    <a:pt x="215065" y="347032"/>
                  </a:lnTo>
                  <a:lnTo>
                    <a:pt x="269445" y="405507"/>
                  </a:lnTo>
                  <a:lnTo>
                    <a:pt x="303623" y="447320"/>
                  </a:lnTo>
                  <a:lnTo>
                    <a:pt x="340399" y="497272"/>
                  </a:lnTo>
                  <a:lnTo>
                    <a:pt x="378225" y="555177"/>
                  </a:lnTo>
                  <a:lnTo>
                    <a:pt x="415557" y="620853"/>
                  </a:lnTo>
                  <a:lnTo>
                    <a:pt x="450850" y="694113"/>
                  </a:lnTo>
                  <a:lnTo>
                    <a:pt x="126657" y="694113"/>
                  </a:lnTo>
                  <a:lnTo>
                    <a:pt x="77340" y="704069"/>
                  </a:lnTo>
                  <a:lnTo>
                    <a:pt x="37082" y="731218"/>
                  </a:lnTo>
                  <a:lnTo>
                    <a:pt x="9947" y="771485"/>
                  </a:lnTo>
                  <a:lnTo>
                    <a:pt x="0" y="820796"/>
                  </a:lnTo>
                  <a:lnTo>
                    <a:pt x="9947" y="870106"/>
                  </a:lnTo>
                  <a:lnTo>
                    <a:pt x="37082" y="910374"/>
                  </a:lnTo>
                  <a:lnTo>
                    <a:pt x="77340" y="937523"/>
                  </a:lnTo>
                  <a:lnTo>
                    <a:pt x="126657" y="947478"/>
                  </a:lnTo>
                  <a:lnTo>
                    <a:pt x="527037" y="947478"/>
                  </a:lnTo>
                  <a:lnTo>
                    <a:pt x="534042" y="994520"/>
                  </a:lnTo>
                  <a:lnTo>
                    <a:pt x="539062" y="1043080"/>
                  </a:lnTo>
                  <a:lnTo>
                    <a:pt x="541939" y="1093149"/>
                  </a:lnTo>
                  <a:lnTo>
                    <a:pt x="542511" y="1144718"/>
                  </a:lnTo>
                  <a:lnTo>
                    <a:pt x="542041" y="1157905"/>
                  </a:lnTo>
                  <a:lnTo>
                    <a:pt x="910242" y="1157905"/>
                  </a:lnTo>
                  <a:lnTo>
                    <a:pt x="909792" y="1082442"/>
                  </a:lnTo>
                  <a:lnTo>
                    <a:pt x="905768" y="1011691"/>
                  </a:lnTo>
                  <a:lnTo>
                    <a:pt x="898533" y="943192"/>
                  </a:lnTo>
                  <a:lnTo>
                    <a:pt x="888342" y="876971"/>
                  </a:lnTo>
                  <a:lnTo>
                    <a:pt x="875454" y="813056"/>
                  </a:lnTo>
                  <a:lnTo>
                    <a:pt x="860125" y="751473"/>
                  </a:lnTo>
                  <a:lnTo>
                    <a:pt x="842612" y="692250"/>
                  </a:lnTo>
                  <a:lnTo>
                    <a:pt x="823173" y="635413"/>
                  </a:lnTo>
                  <a:lnTo>
                    <a:pt x="802063" y="580991"/>
                  </a:lnTo>
                  <a:lnTo>
                    <a:pt x="779541" y="529010"/>
                  </a:lnTo>
                  <a:lnTo>
                    <a:pt x="755862" y="479497"/>
                  </a:lnTo>
                  <a:lnTo>
                    <a:pt x="731285" y="432480"/>
                  </a:lnTo>
                  <a:lnTo>
                    <a:pt x="706066" y="387985"/>
                  </a:lnTo>
                  <a:lnTo>
                    <a:pt x="680461" y="346039"/>
                  </a:lnTo>
                  <a:lnTo>
                    <a:pt x="654729" y="306670"/>
                  </a:lnTo>
                  <a:lnTo>
                    <a:pt x="629126" y="269906"/>
                  </a:lnTo>
                  <a:lnTo>
                    <a:pt x="603908" y="235772"/>
                  </a:lnTo>
                  <a:lnTo>
                    <a:pt x="579334" y="204296"/>
                  </a:lnTo>
                  <a:lnTo>
                    <a:pt x="533142" y="149427"/>
                  </a:lnTo>
                  <a:lnTo>
                    <a:pt x="492605" y="105516"/>
                  </a:lnTo>
                  <a:lnTo>
                    <a:pt x="459780" y="72781"/>
                  </a:lnTo>
                  <a:lnTo>
                    <a:pt x="425488" y="41702"/>
                  </a:lnTo>
                  <a:lnTo>
                    <a:pt x="383993" y="15566"/>
                  </a:lnTo>
                  <a:lnTo>
                    <a:pt x="338686" y="1745"/>
                  </a:lnTo>
                  <a:lnTo>
                    <a:pt x="29199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bg object 25">
              <a:extLst>
                <a:ext uri="{FF2B5EF4-FFF2-40B4-BE49-F238E27FC236}">
                  <a16:creationId xmlns:a16="http://schemas.microsoft.com/office/drawing/2014/main" id="{C1499BA4-E8C7-3B13-EB73-D7E5A024F6F1}"/>
                </a:ext>
              </a:extLst>
            </p:cNvPr>
            <p:cNvSpPr/>
            <p:nvPr/>
          </p:nvSpPr>
          <p:spPr>
            <a:xfrm>
              <a:off x="465830" y="5649760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bg object 26">
              <a:extLst>
                <a:ext uri="{FF2B5EF4-FFF2-40B4-BE49-F238E27FC236}">
                  <a16:creationId xmlns:a16="http://schemas.microsoft.com/office/drawing/2014/main" id="{BAF2F270-F520-5256-1A13-88753B966785}"/>
                </a:ext>
              </a:extLst>
            </p:cNvPr>
            <p:cNvSpPr/>
            <p:nvPr/>
          </p:nvSpPr>
          <p:spPr>
            <a:xfrm>
              <a:off x="1538145" y="5485645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09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bg object 27">
              <a:extLst>
                <a:ext uri="{FF2B5EF4-FFF2-40B4-BE49-F238E27FC236}">
                  <a16:creationId xmlns:a16="http://schemas.microsoft.com/office/drawing/2014/main" id="{8680BA9C-5F31-C21D-A980-22CC149FCB08}"/>
                </a:ext>
              </a:extLst>
            </p:cNvPr>
            <p:cNvSpPr/>
            <p:nvPr/>
          </p:nvSpPr>
          <p:spPr>
            <a:xfrm>
              <a:off x="1413231" y="4884901"/>
              <a:ext cx="347766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10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bg object 28">
              <a:extLst>
                <a:ext uri="{FF2B5EF4-FFF2-40B4-BE49-F238E27FC236}">
                  <a16:creationId xmlns:a16="http://schemas.microsoft.com/office/drawing/2014/main" id="{764DA62F-52BC-833A-C4DD-A842EB4C2F92}"/>
                </a:ext>
              </a:extLst>
            </p:cNvPr>
            <p:cNvSpPr/>
            <p:nvPr/>
          </p:nvSpPr>
          <p:spPr>
            <a:xfrm>
              <a:off x="745586" y="5027755"/>
              <a:ext cx="416397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bg object 29">
              <a:extLst>
                <a:ext uri="{FF2B5EF4-FFF2-40B4-BE49-F238E27FC236}">
                  <a16:creationId xmlns:a16="http://schemas.microsoft.com/office/drawing/2014/main" id="{3E3A813A-BC09-90A1-0126-A506AD1F20D3}"/>
                </a:ext>
              </a:extLst>
            </p:cNvPr>
            <p:cNvSpPr/>
            <p:nvPr/>
          </p:nvSpPr>
          <p:spPr>
            <a:xfrm>
              <a:off x="2123992" y="5971316"/>
              <a:ext cx="643051" cy="652403"/>
            </a:xfrm>
            <a:custGeom>
              <a:avLst/>
              <a:gdLst/>
              <a:ahLst/>
              <a:cxnLst/>
              <a:rect l="l" t="t" r="r" b="b"/>
              <a:pathLst>
                <a:path w="708025" h="719454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103654" y="613962"/>
                  </a:lnTo>
                  <a:lnTo>
                    <a:pt x="137641" y="644364"/>
                  </a:lnTo>
                  <a:lnTo>
                    <a:pt x="175278" y="670199"/>
                  </a:lnTo>
                  <a:lnTo>
                    <a:pt x="216144" y="691039"/>
                  </a:lnTo>
                  <a:lnTo>
                    <a:pt x="259817" y="706455"/>
                  </a:lnTo>
                  <a:lnTo>
                    <a:pt x="305876" y="716019"/>
                  </a:lnTo>
                  <a:lnTo>
                    <a:pt x="353898" y="719302"/>
                  </a:lnTo>
                  <a:lnTo>
                    <a:pt x="401920" y="716019"/>
                  </a:lnTo>
                  <a:lnTo>
                    <a:pt x="447978" y="706455"/>
                  </a:lnTo>
                  <a:lnTo>
                    <a:pt x="491651" y="691039"/>
                  </a:lnTo>
                  <a:lnTo>
                    <a:pt x="532517" y="670199"/>
                  </a:lnTo>
                  <a:lnTo>
                    <a:pt x="570155" y="644364"/>
                  </a:lnTo>
                  <a:lnTo>
                    <a:pt x="604142" y="613962"/>
                  </a:lnTo>
                  <a:lnTo>
                    <a:pt x="634057" y="579422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bg object 30">
              <a:extLst>
                <a:ext uri="{FF2B5EF4-FFF2-40B4-BE49-F238E27FC236}">
                  <a16:creationId xmlns:a16="http://schemas.microsoft.com/office/drawing/2014/main" id="{D80260F0-006F-80ED-A187-F278F9CDEA7B}"/>
                </a:ext>
              </a:extLst>
            </p:cNvPr>
            <p:cNvSpPr/>
            <p:nvPr/>
          </p:nvSpPr>
          <p:spPr>
            <a:xfrm>
              <a:off x="528270" y="4184585"/>
              <a:ext cx="536933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5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5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bg object 31">
              <a:extLst>
                <a:ext uri="{FF2B5EF4-FFF2-40B4-BE49-F238E27FC236}">
                  <a16:creationId xmlns:a16="http://schemas.microsoft.com/office/drawing/2014/main" id="{E23A1099-90BC-41AF-13CD-F62E1BE0DB67}"/>
                </a:ext>
              </a:extLst>
            </p:cNvPr>
            <p:cNvSpPr/>
            <p:nvPr/>
          </p:nvSpPr>
          <p:spPr>
            <a:xfrm>
              <a:off x="0" y="4190048"/>
              <a:ext cx="326428" cy="1775824"/>
            </a:xfrm>
            <a:custGeom>
              <a:avLst/>
              <a:gdLst/>
              <a:ahLst/>
              <a:cxnLst/>
              <a:rect l="l" t="t" r="r" b="b"/>
              <a:pathLst>
                <a:path w="359410" h="1958340">
                  <a:moveTo>
                    <a:pt x="0" y="0"/>
                  </a:moveTo>
                  <a:lnTo>
                    <a:pt x="0" y="1957935"/>
                  </a:lnTo>
                  <a:lnTo>
                    <a:pt x="27343" y="1918542"/>
                  </a:lnTo>
                  <a:lnTo>
                    <a:pt x="53873" y="1878921"/>
                  </a:lnTo>
                  <a:lnTo>
                    <a:pt x="79503" y="1839152"/>
                  </a:lnTo>
                  <a:lnTo>
                    <a:pt x="104202" y="1799230"/>
                  </a:lnTo>
                  <a:lnTo>
                    <a:pt x="127941" y="1759153"/>
                  </a:lnTo>
                  <a:lnTo>
                    <a:pt x="150691" y="1718918"/>
                  </a:lnTo>
                  <a:lnTo>
                    <a:pt x="172420" y="1678522"/>
                  </a:lnTo>
                  <a:lnTo>
                    <a:pt x="193101" y="1637961"/>
                  </a:lnTo>
                  <a:lnTo>
                    <a:pt x="212701" y="1597233"/>
                  </a:lnTo>
                  <a:lnTo>
                    <a:pt x="231193" y="1556334"/>
                  </a:lnTo>
                  <a:lnTo>
                    <a:pt x="248546" y="1515262"/>
                  </a:lnTo>
                  <a:lnTo>
                    <a:pt x="264730" y="1474013"/>
                  </a:lnTo>
                  <a:lnTo>
                    <a:pt x="279716" y="1432583"/>
                  </a:lnTo>
                  <a:lnTo>
                    <a:pt x="293473" y="1390971"/>
                  </a:lnTo>
                  <a:lnTo>
                    <a:pt x="305972" y="1349173"/>
                  </a:lnTo>
                  <a:lnTo>
                    <a:pt x="317182" y="1307186"/>
                  </a:lnTo>
                  <a:lnTo>
                    <a:pt x="327075" y="1265006"/>
                  </a:lnTo>
                  <a:lnTo>
                    <a:pt x="335620" y="1222631"/>
                  </a:lnTo>
                  <a:lnTo>
                    <a:pt x="342788" y="1180057"/>
                  </a:lnTo>
                  <a:lnTo>
                    <a:pt x="348549" y="1137282"/>
                  </a:lnTo>
                  <a:lnTo>
                    <a:pt x="355702" y="1059942"/>
                  </a:lnTo>
                  <a:lnTo>
                    <a:pt x="358873" y="984771"/>
                  </a:lnTo>
                  <a:lnTo>
                    <a:pt x="358318" y="911798"/>
                  </a:lnTo>
                  <a:lnTo>
                    <a:pt x="354295" y="841048"/>
                  </a:lnTo>
                  <a:lnTo>
                    <a:pt x="347060" y="772550"/>
                  </a:lnTo>
                  <a:lnTo>
                    <a:pt x="336870" y="706330"/>
                  </a:lnTo>
                  <a:lnTo>
                    <a:pt x="323983" y="642415"/>
                  </a:lnTo>
                  <a:lnTo>
                    <a:pt x="308655" y="580833"/>
                  </a:lnTo>
                  <a:lnTo>
                    <a:pt x="291143" y="521610"/>
                  </a:lnTo>
                  <a:lnTo>
                    <a:pt x="271705" y="464775"/>
                  </a:lnTo>
                  <a:lnTo>
                    <a:pt x="250596" y="410353"/>
                  </a:lnTo>
                  <a:lnTo>
                    <a:pt x="228075" y="358372"/>
                  </a:lnTo>
                  <a:lnTo>
                    <a:pt x="204398" y="308860"/>
                  </a:lnTo>
                  <a:lnTo>
                    <a:pt x="179822" y="261843"/>
                  </a:lnTo>
                  <a:lnTo>
                    <a:pt x="154604" y="217348"/>
                  </a:lnTo>
                  <a:lnTo>
                    <a:pt x="129001" y="175403"/>
                  </a:lnTo>
                  <a:lnTo>
                    <a:pt x="103270" y="136034"/>
                  </a:lnTo>
                  <a:lnTo>
                    <a:pt x="77668" y="99270"/>
                  </a:lnTo>
                  <a:lnTo>
                    <a:pt x="52451" y="65136"/>
                  </a:lnTo>
                  <a:lnTo>
                    <a:pt x="27878" y="336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FFF">
                <a:alpha val="25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70901D-0772-6483-D106-1C6C5F3B0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696" y="6114954"/>
            <a:ext cx="887821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0E5D39-85A3-5569-2D74-ED9FD02ED5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653" y="365125"/>
            <a:ext cx="8547587" cy="1325563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2" name="Picture 21" descr="A picture containing text&#10;&#10;Description automatically generated">
            <a:extLst>
              <a:ext uri="{FF2B5EF4-FFF2-40B4-BE49-F238E27FC236}">
                <a16:creationId xmlns:a16="http://schemas.microsoft.com/office/drawing/2014/main" id="{2FB7BBB5-8E7B-2C74-9A01-95D1F0F194B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8EC3E5FD-9CD6-C249-C704-5CED90A6A4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8536539" cy="3772535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Quicksand" pitchFamily="2" charset="0"/>
              </a:defRPr>
            </a:lvl1pPr>
            <a:lvl2pPr marL="684000" indent="-182563">
              <a:buClr>
                <a:schemeClr val="tx2"/>
              </a:buClr>
              <a:buFont typeface="System Font Regular"/>
              <a:buChar char="-"/>
              <a:defRPr>
                <a:solidFill>
                  <a:schemeClr val="bg1"/>
                </a:solidFill>
                <a:latin typeface="Quicksand" pitchFamily="2" charset="0"/>
              </a:defRPr>
            </a:lvl2pPr>
            <a:lvl3pPr marL="1368000" indent="-182563"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Quicksand" pitchFamily="2" charset="0"/>
              </a:defRPr>
            </a:lvl3pPr>
            <a:lvl4pPr marL="2052000" indent="-182563">
              <a:buClr>
                <a:schemeClr val="tx2"/>
              </a:buClr>
              <a:buFont typeface="System Font Regular"/>
              <a:buChar char="-"/>
              <a:defRPr>
                <a:solidFill>
                  <a:schemeClr val="bg1"/>
                </a:solidFill>
                <a:latin typeface="Quicksand" pitchFamily="2" charset="0"/>
              </a:defRPr>
            </a:lvl4pPr>
            <a:lvl5pPr marL="2736000" indent="-182563"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Quicksan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38098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B044399D-0912-D593-C0A7-709DB4E472C3}"/>
              </a:ext>
            </a:extLst>
          </p:cNvPr>
          <p:cNvSpPr/>
          <p:nvPr userDrawn="1"/>
        </p:nvSpPr>
        <p:spPr>
          <a:xfrm>
            <a:off x="7795390" y="0"/>
            <a:ext cx="4391193" cy="4363554"/>
          </a:xfrm>
          <a:custGeom>
            <a:avLst/>
            <a:gdLst/>
            <a:ahLst/>
            <a:cxnLst/>
            <a:rect l="l" t="t" r="r" b="b"/>
            <a:pathLst>
              <a:path w="4842509" h="4812030">
                <a:moveTo>
                  <a:pt x="747268" y="1291882"/>
                </a:moveTo>
                <a:lnTo>
                  <a:pt x="744347" y="1244257"/>
                </a:lnTo>
                <a:lnTo>
                  <a:pt x="735850" y="1198397"/>
                </a:lnTo>
                <a:lnTo>
                  <a:pt x="722109" y="1154645"/>
                </a:lnTo>
                <a:lnTo>
                  <a:pt x="703478" y="1113383"/>
                </a:lnTo>
                <a:lnTo>
                  <a:pt x="680313" y="1074953"/>
                </a:lnTo>
                <a:lnTo>
                  <a:pt x="652957" y="1039710"/>
                </a:lnTo>
                <a:lnTo>
                  <a:pt x="621766" y="1008011"/>
                </a:lnTo>
                <a:lnTo>
                  <a:pt x="587095" y="980211"/>
                </a:lnTo>
                <a:lnTo>
                  <a:pt x="549275" y="956665"/>
                </a:lnTo>
                <a:lnTo>
                  <a:pt x="508673" y="937742"/>
                </a:lnTo>
                <a:lnTo>
                  <a:pt x="465620" y="923772"/>
                </a:lnTo>
                <a:lnTo>
                  <a:pt x="420497" y="915136"/>
                </a:lnTo>
                <a:lnTo>
                  <a:pt x="373634" y="912177"/>
                </a:lnTo>
                <a:lnTo>
                  <a:pt x="326758" y="915136"/>
                </a:lnTo>
                <a:lnTo>
                  <a:pt x="281635" y="923772"/>
                </a:lnTo>
                <a:lnTo>
                  <a:pt x="238582" y="937742"/>
                </a:lnTo>
                <a:lnTo>
                  <a:pt x="197980" y="956665"/>
                </a:lnTo>
                <a:lnTo>
                  <a:pt x="160159" y="980211"/>
                </a:lnTo>
                <a:lnTo>
                  <a:pt x="125488" y="1008011"/>
                </a:lnTo>
                <a:lnTo>
                  <a:pt x="94297" y="1039710"/>
                </a:lnTo>
                <a:lnTo>
                  <a:pt x="66941" y="1074953"/>
                </a:lnTo>
                <a:lnTo>
                  <a:pt x="43776" y="1113383"/>
                </a:lnTo>
                <a:lnTo>
                  <a:pt x="25146" y="1154645"/>
                </a:lnTo>
                <a:lnTo>
                  <a:pt x="11404" y="1198397"/>
                </a:lnTo>
                <a:lnTo>
                  <a:pt x="2908" y="1244257"/>
                </a:lnTo>
                <a:lnTo>
                  <a:pt x="0" y="1291882"/>
                </a:lnTo>
                <a:lnTo>
                  <a:pt x="2908" y="1339519"/>
                </a:lnTo>
                <a:lnTo>
                  <a:pt x="11404" y="1385379"/>
                </a:lnTo>
                <a:lnTo>
                  <a:pt x="25146" y="1429131"/>
                </a:lnTo>
                <a:lnTo>
                  <a:pt x="43776" y="1470393"/>
                </a:lnTo>
                <a:lnTo>
                  <a:pt x="66941" y="1508823"/>
                </a:lnTo>
                <a:lnTo>
                  <a:pt x="94297" y="1544066"/>
                </a:lnTo>
                <a:lnTo>
                  <a:pt x="125488" y="1575765"/>
                </a:lnTo>
                <a:lnTo>
                  <a:pt x="160159" y="1603565"/>
                </a:lnTo>
                <a:lnTo>
                  <a:pt x="197980" y="1627111"/>
                </a:lnTo>
                <a:lnTo>
                  <a:pt x="238582" y="1646047"/>
                </a:lnTo>
                <a:lnTo>
                  <a:pt x="281635" y="1660004"/>
                </a:lnTo>
                <a:lnTo>
                  <a:pt x="326758" y="1668640"/>
                </a:lnTo>
                <a:lnTo>
                  <a:pt x="373634" y="1671599"/>
                </a:lnTo>
                <a:lnTo>
                  <a:pt x="420497" y="1668640"/>
                </a:lnTo>
                <a:lnTo>
                  <a:pt x="465620" y="1660004"/>
                </a:lnTo>
                <a:lnTo>
                  <a:pt x="508673" y="1646047"/>
                </a:lnTo>
                <a:lnTo>
                  <a:pt x="549275" y="1627111"/>
                </a:lnTo>
                <a:lnTo>
                  <a:pt x="587095" y="1603565"/>
                </a:lnTo>
                <a:lnTo>
                  <a:pt x="621766" y="1575765"/>
                </a:lnTo>
                <a:lnTo>
                  <a:pt x="652957" y="1544066"/>
                </a:lnTo>
                <a:lnTo>
                  <a:pt x="680313" y="1508823"/>
                </a:lnTo>
                <a:lnTo>
                  <a:pt x="703478" y="1470393"/>
                </a:lnTo>
                <a:lnTo>
                  <a:pt x="722109" y="1429131"/>
                </a:lnTo>
                <a:lnTo>
                  <a:pt x="735850" y="1385379"/>
                </a:lnTo>
                <a:lnTo>
                  <a:pt x="744347" y="1339519"/>
                </a:lnTo>
                <a:lnTo>
                  <a:pt x="747268" y="1291882"/>
                </a:lnTo>
                <a:close/>
              </a:path>
              <a:path w="4842509" h="4812030">
                <a:moveTo>
                  <a:pt x="1038237" y="2275001"/>
                </a:moveTo>
                <a:lnTo>
                  <a:pt x="1033195" y="2230450"/>
                </a:lnTo>
                <a:lnTo>
                  <a:pt x="1018806" y="2189556"/>
                </a:lnTo>
                <a:lnTo>
                  <a:pt x="996238" y="2153475"/>
                </a:lnTo>
                <a:lnTo>
                  <a:pt x="966635" y="2123389"/>
                </a:lnTo>
                <a:lnTo>
                  <a:pt x="931125" y="2100453"/>
                </a:lnTo>
                <a:lnTo>
                  <a:pt x="890879" y="2085835"/>
                </a:lnTo>
                <a:lnTo>
                  <a:pt x="847039" y="2080691"/>
                </a:lnTo>
                <a:lnTo>
                  <a:pt x="803198" y="2085835"/>
                </a:lnTo>
                <a:lnTo>
                  <a:pt x="762952" y="2100453"/>
                </a:lnTo>
                <a:lnTo>
                  <a:pt x="727456" y="2123389"/>
                </a:lnTo>
                <a:lnTo>
                  <a:pt x="697852" y="2153475"/>
                </a:lnTo>
                <a:lnTo>
                  <a:pt x="675284" y="2189556"/>
                </a:lnTo>
                <a:lnTo>
                  <a:pt x="660895" y="2230450"/>
                </a:lnTo>
                <a:lnTo>
                  <a:pt x="655840" y="2275001"/>
                </a:lnTo>
                <a:lnTo>
                  <a:pt x="660895" y="2319566"/>
                </a:lnTo>
                <a:lnTo>
                  <a:pt x="675284" y="2360460"/>
                </a:lnTo>
                <a:lnTo>
                  <a:pt x="697852" y="2396540"/>
                </a:lnTo>
                <a:lnTo>
                  <a:pt x="727456" y="2426627"/>
                </a:lnTo>
                <a:lnTo>
                  <a:pt x="762952" y="2449563"/>
                </a:lnTo>
                <a:lnTo>
                  <a:pt x="803198" y="2464181"/>
                </a:lnTo>
                <a:lnTo>
                  <a:pt x="847039" y="2469311"/>
                </a:lnTo>
                <a:lnTo>
                  <a:pt x="890879" y="2464181"/>
                </a:lnTo>
                <a:lnTo>
                  <a:pt x="931125" y="2449563"/>
                </a:lnTo>
                <a:lnTo>
                  <a:pt x="966635" y="2426627"/>
                </a:lnTo>
                <a:lnTo>
                  <a:pt x="996238" y="2396540"/>
                </a:lnTo>
                <a:lnTo>
                  <a:pt x="1018806" y="2360460"/>
                </a:lnTo>
                <a:lnTo>
                  <a:pt x="1033195" y="2319566"/>
                </a:lnTo>
                <a:lnTo>
                  <a:pt x="1038237" y="2275001"/>
                </a:lnTo>
                <a:close/>
              </a:path>
              <a:path w="4842509" h="4812030">
                <a:moveTo>
                  <a:pt x="1353693" y="205016"/>
                </a:moveTo>
                <a:lnTo>
                  <a:pt x="1349044" y="158140"/>
                </a:lnTo>
                <a:lnTo>
                  <a:pt x="1335709" y="114490"/>
                </a:lnTo>
                <a:lnTo>
                  <a:pt x="1314615" y="74993"/>
                </a:lnTo>
                <a:lnTo>
                  <a:pt x="1286675" y="40576"/>
                </a:lnTo>
                <a:lnTo>
                  <a:pt x="1252804" y="12179"/>
                </a:lnTo>
                <a:lnTo>
                  <a:pt x="1230744" y="12"/>
                </a:lnTo>
                <a:lnTo>
                  <a:pt x="1018984" y="12"/>
                </a:lnTo>
                <a:lnTo>
                  <a:pt x="963053" y="40576"/>
                </a:lnTo>
                <a:lnTo>
                  <a:pt x="935113" y="74993"/>
                </a:lnTo>
                <a:lnTo>
                  <a:pt x="914019" y="114490"/>
                </a:lnTo>
                <a:lnTo>
                  <a:pt x="900684" y="158140"/>
                </a:lnTo>
                <a:lnTo>
                  <a:pt x="896035" y="205016"/>
                </a:lnTo>
                <a:lnTo>
                  <a:pt x="900684" y="251879"/>
                </a:lnTo>
                <a:lnTo>
                  <a:pt x="914019" y="295529"/>
                </a:lnTo>
                <a:lnTo>
                  <a:pt x="935113" y="335038"/>
                </a:lnTo>
                <a:lnTo>
                  <a:pt x="963053" y="369443"/>
                </a:lnTo>
                <a:lnTo>
                  <a:pt x="996924" y="397840"/>
                </a:lnTo>
                <a:lnTo>
                  <a:pt x="1035799" y="419290"/>
                </a:lnTo>
                <a:lnTo>
                  <a:pt x="1078750" y="432841"/>
                </a:lnTo>
                <a:lnTo>
                  <a:pt x="1124864" y="437565"/>
                </a:lnTo>
                <a:lnTo>
                  <a:pt x="1170978" y="432841"/>
                </a:lnTo>
                <a:lnTo>
                  <a:pt x="1213929" y="419290"/>
                </a:lnTo>
                <a:lnTo>
                  <a:pt x="1252804" y="397840"/>
                </a:lnTo>
                <a:lnTo>
                  <a:pt x="1286675" y="369443"/>
                </a:lnTo>
                <a:lnTo>
                  <a:pt x="1314615" y="335038"/>
                </a:lnTo>
                <a:lnTo>
                  <a:pt x="1335709" y="295529"/>
                </a:lnTo>
                <a:lnTo>
                  <a:pt x="1349044" y="251879"/>
                </a:lnTo>
                <a:lnTo>
                  <a:pt x="1353693" y="205016"/>
                </a:lnTo>
                <a:close/>
              </a:path>
              <a:path w="4842509" h="4812030">
                <a:moveTo>
                  <a:pt x="2336165" y="3331895"/>
                </a:moveTo>
                <a:lnTo>
                  <a:pt x="2331415" y="3284131"/>
                </a:lnTo>
                <a:lnTo>
                  <a:pt x="2317826" y="3239643"/>
                </a:lnTo>
                <a:lnTo>
                  <a:pt x="2296325" y="3199384"/>
                </a:lnTo>
                <a:lnTo>
                  <a:pt x="2267851" y="3164319"/>
                </a:lnTo>
                <a:lnTo>
                  <a:pt x="2233333" y="3135376"/>
                </a:lnTo>
                <a:lnTo>
                  <a:pt x="2193721" y="3113519"/>
                </a:lnTo>
                <a:lnTo>
                  <a:pt x="2149945" y="3099714"/>
                </a:lnTo>
                <a:lnTo>
                  <a:pt x="2102954" y="3094901"/>
                </a:lnTo>
                <a:lnTo>
                  <a:pt x="2055952" y="3099714"/>
                </a:lnTo>
                <a:lnTo>
                  <a:pt x="2012175" y="3113519"/>
                </a:lnTo>
                <a:lnTo>
                  <a:pt x="1972564" y="3135376"/>
                </a:lnTo>
                <a:lnTo>
                  <a:pt x="1938058" y="3164319"/>
                </a:lnTo>
                <a:lnTo>
                  <a:pt x="1909572" y="3199384"/>
                </a:lnTo>
                <a:lnTo>
                  <a:pt x="1888070" y="3239643"/>
                </a:lnTo>
                <a:lnTo>
                  <a:pt x="1874494" y="3284131"/>
                </a:lnTo>
                <a:lnTo>
                  <a:pt x="1869757" y="3331895"/>
                </a:lnTo>
                <a:lnTo>
                  <a:pt x="1874494" y="3379660"/>
                </a:lnTo>
                <a:lnTo>
                  <a:pt x="1888070" y="3424148"/>
                </a:lnTo>
                <a:lnTo>
                  <a:pt x="1909572" y="3464407"/>
                </a:lnTo>
                <a:lnTo>
                  <a:pt x="1938058" y="3499485"/>
                </a:lnTo>
                <a:lnTo>
                  <a:pt x="1972564" y="3528428"/>
                </a:lnTo>
                <a:lnTo>
                  <a:pt x="2012175" y="3550272"/>
                </a:lnTo>
                <a:lnTo>
                  <a:pt x="2055952" y="3564090"/>
                </a:lnTo>
                <a:lnTo>
                  <a:pt x="2102954" y="3568903"/>
                </a:lnTo>
                <a:lnTo>
                  <a:pt x="2149945" y="3564090"/>
                </a:lnTo>
                <a:lnTo>
                  <a:pt x="2193721" y="3550272"/>
                </a:lnTo>
                <a:lnTo>
                  <a:pt x="2233333" y="3528428"/>
                </a:lnTo>
                <a:lnTo>
                  <a:pt x="2267851" y="3499485"/>
                </a:lnTo>
                <a:lnTo>
                  <a:pt x="2296325" y="3464407"/>
                </a:lnTo>
                <a:lnTo>
                  <a:pt x="2317826" y="3424148"/>
                </a:lnTo>
                <a:lnTo>
                  <a:pt x="2331415" y="3379660"/>
                </a:lnTo>
                <a:lnTo>
                  <a:pt x="2336165" y="3331895"/>
                </a:lnTo>
                <a:close/>
              </a:path>
              <a:path w="4842509" h="4812030">
                <a:moveTo>
                  <a:pt x="2815031" y="1458963"/>
                </a:moveTo>
                <a:lnTo>
                  <a:pt x="2805074" y="1409661"/>
                </a:lnTo>
                <a:lnTo>
                  <a:pt x="2777921" y="1369390"/>
                </a:lnTo>
                <a:lnTo>
                  <a:pt x="2737650" y="1342237"/>
                </a:lnTo>
                <a:lnTo>
                  <a:pt x="2688348" y="1332280"/>
                </a:lnTo>
                <a:lnTo>
                  <a:pt x="1587842" y="1332280"/>
                </a:lnTo>
                <a:lnTo>
                  <a:pt x="1594739" y="1302042"/>
                </a:lnTo>
                <a:lnTo>
                  <a:pt x="1611210" y="1240929"/>
                </a:lnTo>
                <a:lnTo>
                  <a:pt x="1635810" y="1170025"/>
                </a:lnTo>
                <a:lnTo>
                  <a:pt x="1653717" y="1129347"/>
                </a:lnTo>
                <a:lnTo>
                  <a:pt x="1674545" y="1088034"/>
                </a:lnTo>
                <a:lnTo>
                  <a:pt x="1698117" y="1046111"/>
                </a:lnTo>
                <a:lnTo>
                  <a:pt x="1724279" y="1003617"/>
                </a:lnTo>
                <a:lnTo>
                  <a:pt x="1724837" y="1003617"/>
                </a:lnTo>
                <a:lnTo>
                  <a:pt x="1725358" y="1003782"/>
                </a:lnTo>
                <a:lnTo>
                  <a:pt x="2587726" y="1003782"/>
                </a:lnTo>
                <a:lnTo>
                  <a:pt x="2588539" y="1003617"/>
                </a:lnTo>
                <a:lnTo>
                  <a:pt x="2637028" y="993825"/>
                </a:lnTo>
                <a:lnTo>
                  <a:pt x="2677299" y="966673"/>
                </a:lnTo>
                <a:lnTo>
                  <a:pt x="2704452" y="926414"/>
                </a:lnTo>
                <a:lnTo>
                  <a:pt x="2714409" y="877100"/>
                </a:lnTo>
                <a:lnTo>
                  <a:pt x="2704452" y="827798"/>
                </a:lnTo>
                <a:lnTo>
                  <a:pt x="2677299" y="787527"/>
                </a:lnTo>
                <a:lnTo>
                  <a:pt x="2637028" y="760374"/>
                </a:lnTo>
                <a:lnTo>
                  <a:pt x="2587726" y="750417"/>
                </a:lnTo>
                <a:lnTo>
                  <a:pt x="1918449" y="750417"/>
                </a:lnTo>
                <a:lnTo>
                  <a:pt x="1948662" y="716330"/>
                </a:lnTo>
                <a:lnTo>
                  <a:pt x="1979866" y="681990"/>
                </a:lnTo>
                <a:lnTo>
                  <a:pt x="2012010" y="647395"/>
                </a:lnTo>
                <a:lnTo>
                  <a:pt x="2045055" y="612559"/>
                </a:lnTo>
                <a:lnTo>
                  <a:pt x="2078926" y="577494"/>
                </a:lnTo>
                <a:lnTo>
                  <a:pt x="2113610" y="542213"/>
                </a:lnTo>
                <a:lnTo>
                  <a:pt x="2149030" y="506704"/>
                </a:lnTo>
                <a:lnTo>
                  <a:pt x="2185162" y="470992"/>
                </a:lnTo>
                <a:lnTo>
                  <a:pt x="2221954" y="435076"/>
                </a:lnTo>
                <a:lnTo>
                  <a:pt x="2297303" y="362648"/>
                </a:lnTo>
                <a:lnTo>
                  <a:pt x="2414079" y="252666"/>
                </a:lnTo>
                <a:lnTo>
                  <a:pt x="2687383" y="12"/>
                </a:lnTo>
                <a:lnTo>
                  <a:pt x="2146401" y="12"/>
                </a:lnTo>
                <a:lnTo>
                  <a:pt x="2069376" y="72491"/>
                </a:lnTo>
                <a:lnTo>
                  <a:pt x="1987892" y="150406"/>
                </a:lnTo>
                <a:lnTo>
                  <a:pt x="1947964" y="189191"/>
                </a:lnTo>
                <a:lnTo>
                  <a:pt x="1908632" y="227888"/>
                </a:lnTo>
                <a:lnTo>
                  <a:pt x="1869922" y="266471"/>
                </a:lnTo>
                <a:lnTo>
                  <a:pt x="1831911" y="304952"/>
                </a:lnTo>
                <a:lnTo>
                  <a:pt x="1794637" y="343331"/>
                </a:lnTo>
                <a:lnTo>
                  <a:pt x="1758124" y="381622"/>
                </a:lnTo>
                <a:lnTo>
                  <a:pt x="1722450" y="419811"/>
                </a:lnTo>
                <a:lnTo>
                  <a:pt x="1687626" y="457911"/>
                </a:lnTo>
                <a:lnTo>
                  <a:pt x="1653730" y="495922"/>
                </a:lnTo>
                <a:lnTo>
                  <a:pt x="1620786" y="533844"/>
                </a:lnTo>
                <a:lnTo>
                  <a:pt x="1588846" y="571690"/>
                </a:lnTo>
                <a:lnTo>
                  <a:pt x="1557959" y="609447"/>
                </a:lnTo>
                <a:lnTo>
                  <a:pt x="1528152" y="647115"/>
                </a:lnTo>
                <a:lnTo>
                  <a:pt x="1499501" y="684720"/>
                </a:lnTo>
                <a:lnTo>
                  <a:pt x="1472018" y="722249"/>
                </a:lnTo>
                <a:lnTo>
                  <a:pt x="1445780" y="759701"/>
                </a:lnTo>
                <a:lnTo>
                  <a:pt x="1420812" y="797077"/>
                </a:lnTo>
                <a:lnTo>
                  <a:pt x="1397165" y="834390"/>
                </a:lnTo>
                <a:lnTo>
                  <a:pt x="1374889" y="871639"/>
                </a:lnTo>
                <a:lnTo>
                  <a:pt x="1354023" y="908824"/>
                </a:lnTo>
                <a:lnTo>
                  <a:pt x="1334604" y="945946"/>
                </a:lnTo>
                <a:lnTo>
                  <a:pt x="1316697" y="983018"/>
                </a:lnTo>
                <a:lnTo>
                  <a:pt x="1300340" y="1020025"/>
                </a:lnTo>
                <a:lnTo>
                  <a:pt x="1285570" y="1056982"/>
                </a:lnTo>
                <a:lnTo>
                  <a:pt x="1272451" y="1093889"/>
                </a:lnTo>
                <a:lnTo>
                  <a:pt x="1251242" y="1162659"/>
                </a:lnTo>
                <a:lnTo>
                  <a:pt x="1233639" y="1230528"/>
                </a:lnTo>
                <a:lnTo>
                  <a:pt x="1219492" y="1297495"/>
                </a:lnTo>
                <a:lnTo>
                  <a:pt x="1208646" y="1363497"/>
                </a:lnTo>
                <a:lnTo>
                  <a:pt x="1200962" y="1428521"/>
                </a:lnTo>
                <a:lnTo>
                  <a:pt x="1196276" y="1492504"/>
                </a:lnTo>
                <a:lnTo>
                  <a:pt x="1194447" y="1555432"/>
                </a:lnTo>
                <a:lnTo>
                  <a:pt x="1195324" y="1617268"/>
                </a:lnTo>
                <a:lnTo>
                  <a:pt x="1198753" y="1677974"/>
                </a:lnTo>
                <a:lnTo>
                  <a:pt x="1204595" y="1737499"/>
                </a:lnTo>
                <a:lnTo>
                  <a:pt x="1212684" y="1795830"/>
                </a:lnTo>
                <a:lnTo>
                  <a:pt x="1222870" y="1852930"/>
                </a:lnTo>
                <a:lnTo>
                  <a:pt x="1235024" y="1908746"/>
                </a:lnTo>
                <a:lnTo>
                  <a:pt x="1248981" y="1963242"/>
                </a:lnTo>
                <a:lnTo>
                  <a:pt x="1264589" y="2016404"/>
                </a:lnTo>
                <a:lnTo>
                  <a:pt x="1281709" y="2068182"/>
                </a:lnTo>
                <a:lnTo>
                  <a:pt x="1300175" y="2118537"/>
                </a:lnTo>
                <a:lnTo>
                  <a:pt x="1319860" y="2167445"/>
                </a:lnTo>
                <a:lnTo>
                  <a:pt x="1340586" y="2214854"/>
                </a:lnTo>
                <a:lnTo>
                  <a:pt x="1362227" y="2260752"/>
                </a:lnTo>
                <a:lnTo>
                  <a:pt x="1384617" y="2305075"/>
                </a:lnTo>
                <a:lnTo>
                  <a:pt x="1407617" y="2347811"/>
                </a:lnTo>
                <a:lnTo>
                  <a:pt x="1431074" y="2388920"/>
                </a:lnTo>
                <a:lnTo>
                  <a:pt x="1454835" y="2428354"/>
                </a:lnTo>
                <a:lnTo>
                  <a:pt x="1478749" y="2466086"/>
                </a:lnTo>
                <a:lnTo>
                  <a:pt x="1502676" y="2502077"/>
                </a:lnTo>
                <a:lnTo>
                  <a:pt x="1526451" y="2536291"/>
                </a:lnTo>
                <a:lnTo>
                  <a:pt x="1549946" y="2568702"/>
                </a:lnTo>
                <a:lnTo>
                  <a:pt x="1572983" y="2599271"/>
                </a:lnTo>
                <a:lnTo>
                  <a:pt x="1617141" y="2654719"/>
                </a:lnTo>
                <a:lnTo>
                  <a:pt x="1657718" y="2702344"/>
                </a:lnTo>
                <a:lnTo>
                  <a:pt x="1693532" y="2741879"/>
                </a:lnTo>
                <a:lnTo>
                  <a:pt x="1723364" y="2773045"/>
                </a:lnTo>
                <a:lnTo>
                  <a:pt x="1754289" y="2803436"/>
                </a:lnTo>
                <a:lnTo>
                  <a:pt x="1791779" y="2833128"/>
                </a:lnTo>
                <a:lnTo>
                  <a:pt x="1853996" y="2856725"/>
                </a:lnTo>
                <a:lnTo>
                  <a:pt x="1886724" y="2859659"/>
                </a:lnTo>
                <a:lnTo>
                  <a:pt x="1923973" y="2855861"/>
                </a:lnTo>
                <a:lnTo>
                  <a:pt x="1993277" y="2825635"/>
                </a:lnTo>
                <a:lnTo>
                  <a:pt x="2022830" y="2799372"/>
                </a:lnTo>
                <a:lnTo>
                  <a:pt x="2050745" y="2758884"/>
                </a:lnTo>
                <a:lnTo>
                  <a:pt x="2066505" y="2714015"/>
                </a:lnTo>
                <a:lnTo>
                  <a:pt x="2070239" y="2667228"/>
                </a:lnTo>
                <a:lnTo>
                  <a:pt x="2062073" y="2621000"/>
                </a:lnTo>
                <a:lnTo>
                  <a:pt x="2042134" y="2577782"/>
                </a:lnTo>
                <a:lnTo>
                  <a:pt x="2010562" y="2540063"/>
                </a:lnTo>
                <a:lnTo>
                  <a:pt x="2002307" y="2532316"/>
                </a:lnTo>
                <a:lnTo>
                  <a:pt x="1986203" y="2516479"/>
                </a:lnTo>
                <a:lnTo>
                  <a:pt x="1934933" y="2461717"/>
                </a:lnTo>
                <a:lnTo>
                  <a:pt x="1902015" y="2423401"/>
                </a:lnTo>
                <a:lnTo>
                  <a:pt x="1865718" y="2378151"/>
                </a:lnTo>
                <a:lnTo>
                  <a:pt x="1827174" y="2326297"/>
                </a:lnTo>
                <a:lnTo>
                  <a:pt x="1787486" y="2268118"/>
                </a:lnTo>
                <a:lnTo>
                  <a:pt x="1747786" y="2203907"/>
                </a:lnTo>
                <a:lnTo>
                  <a:pt x="1709204" y="2133955"/>
                </a:lnTo>
                <a:lnTo>
                  <a:pt x="2085060" y="2133955"/>
                </a:lnTo>
                <a:lnTo>
                  <a:pt x="2134362" y="2123998"/>
                </a:lnTo>
                <a:lnTo>
                  <a:pt x="2174633" y="2096846"/>
                </a:lnTo>
                <a:lnTo>
                  <a:pt x="2201786" y="2056587"/>
                </a:lnTo>
                <a:lnTo>
                  <a:pt x="2211743" y="2007273"/>
                </a:lnTo>
                <a:lnTo>
                  <a:pt x="2201786" y="1957971"/>
                </a:lnTo>
                <a:lnTo>
                  <a:pt x="2174633" y="1917700"/>
                </a:lnTo>
                <a:lnTo>
                  <a:pt x="2134362" y="1890547"/>
                </a:lnTo>
                <a:lnTo>
                  <a:pt x="2085060" y="1880590"/>
                </a:lnTo>
                <a:lnTo>
                  <a:pt x="1607959" y="1880590"/>
                </a:lnTo>
                <a:lnTo>
                  <a:pt x="1595729" y="1834248"/>
                </a:lnTo>
                <a:lnTo>
                  <a:pt x="1585214" y="1786712"/>
                </a:lnTo>
                <a:lnTo>
                  <a:pt x="1576565" y="1738058"/>
                </a:lnTo>
                <a:lnTo>
                  <a:pt x="1569910" y="1688299"/>
                </a:lnTo>
                <a:lnTo>
                  <a:pt x="1565402" y="1637487"/>
                </a:lnTo>
                <a:lnTo>
                  <a:pt x="1563192" y="1585645"/>
                </a:lnTo>
                <a:lnTo>
                  <a:pt x="2688348" y="1585645"/>
                </a:lnTo>
                <a:lnTo>
                  <a:pt x="2737650" y="1575689"/>
                </a:lnTo>
                <a:lnTo>
                  <a:pt x="2777921" y="1548549"/>
                </a:lnTo>
                <a:lnTo>
                  <a:pt x="2805074" y="1508277"/>
                </a:lnTo>
                <a:lnTo>
                  <a:pt x="2815031" y="1458963"/>
                </a:lnTo>
                <a:close/>
              </a:path>
              <a:path w="4842509" h="4812030">
                <a:moveTo>
                  <a:pt x="3022498" y="2007273"/>
                </a:moveTo>
                <a:lnTo>
                  <a:pt x="3012541" y="1957959"/>
                </a:lnTo>
                <a:lnTo>
                  <a:pt x="2985389" y="1917700"/>
                </a:lnTo>
                <a:lnTo>
                  <a:pt x="2945130" y="1890547"/>
                </a:lnTo>
                <a:lnTo>
                  <a:pt x="2895816" y="1880590"/>
                </a:lnTo>
                <a:lnTo>
                  <a:pt x="2492959" y="1880590"/>
                </a:lnTo>
                <a:lnTo>
                  <a:pt x="2443645" y="1890547"/>
                </a:lnTo>
                <a:lnTo>
                  <a:pt x="2403373" y="1917700"/>
                </a:lnTo>
                <a:lnTo>
                  <a:pt x="2376220" y="1957959"/>
                </a:lnTo>
                <a:lnTo>
                  <a:pt x="2366264" y="2007273"/>
                </a:lnTo>
                <a:lnTo>
                  <a:pt x="2376220" y="2056587"/>
                </a:lnTo>
                <a:lnTo>
                  <a:pt x="2403373" y="2096846"/>
                </a:lnTo>
                <a:lnTo>
                  <a:pt x="2443645" y="2123998"/>
                </a:lnTo>
                <a:lnTo>
                  <a:pt x="2492959" y="2133955"/>
                </a:lnTo>
                <a:lnTo>
                  <a:pt x="2895816" y="2133955"/>
                </a:lnTo>
                <a:lnTo>
                  <a:pt x="2945130" y="2123998"/>
                </a:lnTo>
                <a:lnTo>
                  <a:pt x="2985389" y="2096846"/>
                </a:lnTo>
                <a:lnTo>
                  <a:pt x="3012541" y="2056587"/>
                </a:lnTo>
                <a:lnTo>
                  <a:pt x="3022498" y="2007273"/>
                </a:lnTo>
                <a:close/>
              </a:path>
              <a:path w="4842509" h="4812030">
                <a:moveTo>
                  <a:pt x="3290455" y="869467"/>
                </a:moveTo>
                <a:lnTo>
                  <a:pt x="3285413" y="824915"/>
                </a:lnTo>
                <a:lnTo>
                  <a:pt x="3271024" y="784021"/>
                </a:lnTo>
                <a:lnTo>
                  <a:pt x="3248456" y="747941"/>
                </a:lnTo>
                <a:lnTo>
                  <a:pt x="3218853" y="717854"/>
                </a:lnTo>
                <a:lnTo>
                  <a:pt x="3183344" y="694918"/>
                </a:lnTo>
                <a:lnTo>
                  <a:pt x="3143097" y="680300"/>
                </a:lnTo>
                <a:lnTo>
                  <a:pt x="3099257" y="675170"/>
                </a:lnTo>
                <a:lnTo>
                  <a:pt x="3055429" y="680300"/>
                </a:lnTo>
                <a:lnTo>
                  <a:pt x="3015183" y="694918"/>
                </a:lnTo>
                <a:lnTo>
                  <a:pt x="2979674" y="717854"/>
                </a:lnTo>
                <a:lnTo>
                  <a:pt x="2950070" y="747941"/>
                </a:lnTo>
                <a:lnTo>
                  <a:pt x="2927502" y="784021"/>
                </a:lnTo>
                <a:lnTo>
                  <a:pt x="2913113" y="824915"/>
                </a:lnTo>
                <a:lnTo>
                  <a:pt x="2908058" y="869467"/>
                </a:lnTo>
                <a:lnTo>
                  <a:pt x="2913113" y="914019"/>
                </a:lnTo>
                <a:lnTo>
                  <a:pt x="2927502" y="954925"/>
                </a:lnTo>
                <a:lnTo>
                  <a:pt x="2950070" y="990993"/>
                </a:lnTo>
                <a:lnTo>
                  <a:pt x="2979674" y="1021092"/>
                </a:lnTo>
                <a:lnTo>
                  <a:pt x="3015183" y="1044028"/>
                </a:lnTo>
                <a:lnTo>
                  <a:pt x="3055429" y="1058646"/>
                </a:lnTo>
                <a:lnTo>
                  <a:pt x="3099257" y="1063777"/>
                </a:lnTo>
                <a:lnTo>
                  <a:pt x="3143097" y="1058646"/>
                </a:lnTo>
                <a:lnTo>
                  <a:pt x="3183344" y="1044028"/>
                </a:lnTo>
                <a:lnTo>
                  <a:pt x="3218853" y="1021092"/>
                </a:lnTo>
                <a:lnTo>
                  <a:pt x="3248456" y="990993"/>
                </a:lnTo>
                <a:lnTo>
                  <a:pt x="3271024" y="954925"/>
                </a:lnTo>
                <a:lnTo>
                  <a:pt x="3285413" y="914019"/>
                </a:lnTo>
                <a:lnTo>
                  <a:pt x="3290455" y="869467"/>
                </a:lnTo>
                <a:close/>
              </a:path>
              <a:path w="4842509" h="4812030">
                <a:moveTo>
                  <a:pt x="3455378" y="1445844"/>
                </a:moveTo>
                <a:lnTo>
                  <a:pt x="3449624" y="1402283"/>
                </a:lnTo>
                <a:lnTo>
                  <a:pt x="3433368" y="1363154"/>
                </a:lnTo>
                <a:lnTo>
                  <a:pt x="3408159" y="1329994"/>
                </a:lnTo>
                <a:lnTo>
                  <a:pt x="3375533" y="1304378"/>
                </a:lnTo>
                <a:lnTo>
                  <a:pt x="3337026" y="1287868"/>
                </a:lnTo>
                <a:lnTo>
                  <a:pt x="3294164" y="1282014"/>
                </a:lnTo>
                <a:lnTo>
                  <a:pt x="3251314" y="1287868"/>
                </a:lnTo>
                <a:lnTo>
                  <a:pt x="3212795" y="1304378"/>
                </a:lnTo>
                <a:lnTo>
                  <a:pt x="3180169" y="1329994"/>
                </a:lnTo>
                <a:lnTo>
                  <a:pt x="3154959" y="1363154"/>
                </a:lnTo>
                <a:lnTo>
                  <a:pt x="3138716" y="1402283"/>
                </a:lnTo>
                <a:lnTo>
                  <a:pt x="3132950" y="1445844"/>
                </a:lnTo>
                <a:lnTo>
                  <a:pt x="3138716" y="1489392"/>
                </a:lnTo>
                <a:lnTo>
                  <a:pt x="3154959" y="1528533"/>
                </a:lnTo>
                <a:lnTo>
                  <a:pt x="3180169" y="1561680"/>
                </a:lnTo>
                <a:lnTo>
                  <a:pt x="3212795" y="1587309"/>
                </a:lnTo>
                <a:lnTo>
                  <a:pt x="3251314" y="1603819"/>
                </a:lnTo>
                <a:lnTo>
                  <a:pt x="3294164" y="1609674"/>
                </a:lnTo>
                <a:lnTo>
                  <a:pt x="3337026" y="1603819"/>
                </a:lnTo>
                <a:lnTo>
                  <a:pt x="3375533" y="1587309"/>
                </a:lnTo>
                <a:lnTo>
                  <a:pt x="3408159" y="1561680"/>
                </a:lnTo>
                <a:lnTo>
                  <a:pt x="3433368" y="1528533"/>
                </a:lnTo>
                <a:lnTo>
                  <a:pt x="3449624" y="1489392"/>
                </a:lnTo>
                <a:lnTo>
                  <a:pt x="3455378" y="1445844"/>
                </a:lnTo>
                <a:close/>
              </a:path>
              <a:path w="4842509" h="4812030">
                <a:moveTo>
                  <a:pt x="3677882" y="150622"/>
                </a:moveTo>
                <a:lnTo>
                  <a:pt x="3669868" y="100114"/>
                </a:lnTo>
                <a:lnTo>
                  <a:pt x="3647541" y="56248"/>
                </a:lnTo>
                <a:lnTo>
                  <a:pt x="3613505" y="21653"/>
                </a:lnTo>
                <a:lnTo>
                  <a:pt x="3572306" y="0"/>
                </a:lnTo>
                <a:lnTo>
                  <a:pt x="3468979" y="0"/>
                </a:lnTo>
                <a:lnTo>
                  <a:pt x="3427780" y="21653"/>
                </a:lnTo>
                <a:lnTo>
                  <a:pt x="3393744" y="56248"/>
                </a:lnTo>
                <a:lnTo>
                  <a:pt x="3371418" y="100114"/>
                </a:lnTo>
                <a:lnTo>
                  <a:pt x="3363404" y="150622"/>
                </a:lnTo>
                <a:lnTo>
                  <a:pt x="3371418" y="201129"/>
                </a:lnTo>
                <a:lnTo>
                  <a:pt x="3393744" y="244995"/>
                </a:lnTo>
                <a:lnTo>
                  <a:pt x="3427780" y="279577"/>
                </a:lnTo>
                <a:lnTo>
                  <a:pt x="3470935" y="302260"/>
                </a:lnTo>
                <a:lnTo>
                  <a:pt x="3520643" y="310413"/>
                </a:lnTo>
                <a:lnTo>
                  <a:pt x="3570338" y="302260"/>
                </a:lnTo>
                <a:lnTo>
                  <a:pt x="3613505" y="279577"/>
                </a:lnTo>
                <a:lnTo>
                  <a:pt x="3647541" y="244995"/>
                </a:lnTo>
                <a:lnTo>
                  <a:pt x="3669868" y="201129"/>
                </a:lnTo>
                <a:lnTo>
                  <a:pt x="3677882" y="150622"/>
                </a:lnTo>
                <a:close/>
              </a:path>
              <a:path w="4842509" h="4812030">
                <a:moveTo>
                  <a:pt x="3887127" y="718464"/>
                </a:moveTo>
                <a:lnTo>
                  <a:pt x="3882085" y="673912"/>
                </a:lnTo>
                <a:lnTo>
                  <a:pt x="3867696" y="633006"/>
                </a:lnTo>
                <a:lnTo>
                  <a:pt x="3845128" y="596925"/>
                </a:lnTo>
                <a:lnTo>
                  <a:pt x="3815524" y="566839"/>
                </a:lnTo>
                <a:lnTo>
                  <a:pt x="3780015" y="543902"/>
                </a:lnTo>
                <a:lnTo>
                  <a:pt x="3739769" y="529285"/>
                </a:lnTo>
                <a:lnTo>
                  <a:pt x="3695928" y="524154"/>
                </a:lnTo>
                <a:lnTo>
                  <a:pt x="3652101" y="529285"/>
                </a:lnTo>
                <a:lnTo>
                  <a:pt x="3611854" y="543902"/>
                </a:lnTo>
                <a:lnTo>
                  <a:pt x="3576345" y="566839"/>
                </a:lnTo>
                <a:lnTo>
                  <a:pt x="3546741" y="596925"/>
                </a:lnTo>
                <a:lnTo>
                  <a:pt x="3524173" y="633006"/>
                </a:lnTo>
                <a:lnTo>
                  <a:pt x="3509784" y="673912"/>
                </a:lnTo>
                <a:lnTo>
                  <a:pt x="3504730" y="718464"/>
                </a:lnTo>
                <a:lnTo>
                  <a:pt x="3509784" y="763016"/>
                </a:lnTo>
                <a:lnTo>
                  <a:pt x="3524173" y="803910"/>
                </a:lnTo>
                <a:lnTo>
                  <a:pt x="3546741" y="839990"/>
                </a:lnTo>
                <a:lnTo>
                  <a:pt x="3576345" y="870089"/>
                </a:lnTo>
                <a:lnTo>
                  <a:pt x="3611854" y="893025"/>
                </a:lnTo>
                <a:lnTo>
                  <a:pt x="3652101" y="907643"/>
                </a:lnTo>
                <a:lnTo>
                  <a:pt x="3695928" y="912774"/>
                </a:lnTo>
                <a:lnTo>
                  <a:pt x="3739769" y="907643"/>
                </a:lnTo>
                <a:lnTo>
                  <a:pt x="3780015" y="893025"/>
                </a:lnTo>
                <a:lnTo>
                  <a:pt x="3815524" y="870089"/>
                </a:lnTo>
                <a:lnTo>
                  <a:pt x="3845128" y="839990"/>
                </a:lnTo>
                <a:lnTo>
                  <a:pt x="3867696" y="803910"/>
                </a:lnTo>
                <a:lnTo>
                  <a:pt x="3882085" y="763016"/>
                </a:lnTo>
                <a:lnTo>
                  <a:pt x="3887127" y="718464"/>
                </a:lnTo>
                <a:close/>
              </a:path>
              <a:path w="4842509" h="4812030">
                <a:moveTo>
                  <a:pt x="4802949" y="2826423"/>
                </a:moveTo>
                <a:lnTo>
                  <a:pt x="4797895" y="2781871"/>
                </a:lnTo>
                <a:lnTo>
                  <a:pt x="4783518" y="2740977"/>
                </a:lnTo>
                <a:lnTo>
                  <a:pt x="4760950" y="2704896"/>
                </a:lnTo>
                <a:lnTo>
                  <a:pt x="4731334" y="2674810"/>
                </a:lnTo>
                <a:lnTo>
                  <a:pt x="4695837" y="2651874"/>
                </a:lnTo>
                <a:lnTo>
                  <a:pt x="4655591" y="2637256"/>
                </a:lnTo>
                <a:lnTo>
                  <a:pt x="4611751" y="2632113"/>
                </a:lnTo>
                <a:lnTo>
                  <a:pt x="4567910" y="2637256"/>
                </a:lnTo>
                <a:lnTo>
                  <a:pt x="4527664" y="2651874"/>
                </a:lnTo>
                <a:lnTo>
                  <a:pt x="4492168" y="2674810"/>
                </a:lnTo>
                <a:lnTo>
                  <a:pt x="4462551" y="2704896"/>
                </a:lnTo>
                <a:lnTo>
                  <a:pt x="4439983" y="2740977"/>
                </a:lnTo>
                <a:lnTo>
                  <a:pt x="4425607" y="2781871"/>
                </a:lnTo>
                <a:lnTo>
                  <a:pt x="4420552" y="2826423"/>
                </a:lnTo>
                <a:lnTo>
                  <a:pt x="4425607" y="2870987"/>
                </a:lnTo>
                <a:lnTo>
                  <a:pt x="4439983" y="2911881"/>
                </a:lnTo>
                <a:lnTo>
                  <a:pt x="4462551" y="2947962"/>
                </a:lnTo>
                <a:lnTo>
                  <a:pt x="4492168" y="2978048"/>
                </a:lnTo>
                <a:lnTo>
                  <a:pt x="4527664" y="3000984"/>
                </a:lnTo>
                <a:lnTo>
                  <a:pt x="4567910" y="3015602"/>
                </a:lnTo>
                <a:lnTo>
                  <a:pt x="4611751" y="3020733"/>
                </a:lnTo>
                <a:lnTo>
                  <a:pt x="4655591" y="3015602"/>
                </a:lnTo>
                <a:lnTo>
                  <a:pt x="4695837" y="3000984"/>
                </a:lnTo>
                <a:lnTo>
                  <a:pt x="4731334" y="2978048"/>
                </a:lnTo>
                <a:lnTo>
                  <a:pt x="4760950" y="2947962"/>
                </a:lnTo>
                <a:lnTo>
                  <a:pt x="4783518" y="2911881"/>
                </a:lnTo>
                <a:lnTo>
                  <a:pt x="4797895" y="2870987"/>
                </a:lnTo>
                <a:lnTo>
                  <a:pt x="4802949" y="2826423"/>
                </a:lnTo>
                <a:close/>
              </a:path>
              <a:path w="4842509" h="4812030">
                <a:moveTo>
                  <a:pt x="4841951" y="3211792"/>
                </a:moveTo>
                <a:lnTo>
                  <a:pt x="4773104" y="3214001"/>
                </a:lnTo>
                <a:lnTo>
                  <a:pt x="4732858" y="3228619"/>
                </a:lnTo>
                <a:lnTo>
                  <a:pt x="4697349" y="3251555"/>
                </a:lnTo>
                <a:lnTo>
                  <a:pt x="4667745" y="3281642"/>
                </a:lnTo>
                <a:lnTo>
                  <a:pt x="4645177" y="3317722"/>
                </a:lnTo>
                <a:lnTo>
                  <a:pt x="4630788" y="3358629"/>
                </a:lnTo>
                <a:lnTo>
                  <a:pt x="4625746" y="3403181"/>
                </a:lnTo>
                <a:lnTo>
                  <a:pt x="4630788" y="3447732"/>
                </a:lnTo>
                <a:lnTo>
                  <a:pt x="4645177" y="3488626"/>
                </a:lnTo>
                <a:lnTo>
                  <a:pt x="4667745" y="3524707"/>
                </a:lnTo>
                <a:lnTo>
                  <a:pt x="4697349" y="3554806"/>
                </a:lnTo>
                <a:lnTo>
                  <a:pt x="4732858" y="3577742"/>
                </a:lnTo>
                <a:lnTo>
                  <a:pt x="4773104" y="3592360"/>
                </a:lnTo>
                <a:lnTo>
                  <a:pt x="4816945" y="3597491"/>
                </a:lnTo>
                <a:lnTo>
                  <a:pt x="4841951" y="3594557"/>
                </a:lnTo>
                <a:lnTo>
                  <a:pt x="4841951" y="3211792"/>
                </a:lnTo>
                <a:close/>
              </a:path>
              <a:path w="4842509" h="4812030">
                <a:moveTo>
                  <a:pt x="4841951" y="1851342"/>
                </a:moveTo>
                <a:lnTo>
                  <a:pt x="4807712" y="1884832"/>
                </a:lnTo>
                <a:lnTo>
                  <a:pt x="4783315" y="1919909"/>
                </a:lnTo>
                <a:lnTo>
                  <a:pt x="4765014" y="1959063"/>
                </a:lnTo>
                <a:lnTo>
                  <a:pt x="4753534" y="2001583"/>
                </a:lnTo>
                <a:lnTo>
                  <a:pt x="4749546" y="2046757"/>
                </a:lnTo>
                <a:lnTo>
                  <a:pt x="4753534" y="2091944"/>
                </a:lnTo>
                <a:lnTo>
                  <a:pt x="4765014" y="2134463"/>
                </a:lnTo>
                <a:lnTo>
                  <a:pt x="4783315" y="2173617"/>
                </a:lnTo>
                <a:lnTo>
                  <a:pt x="4807712" y="2208695"/>
                </a:lnTo>
                <a:lnTo>
                  <a:pt x="4837519" y="2238997"/>
                </a:lnTo>
                <a:lnTo>
                  <a:pt x="4841951" y="2242185"/>
                </a:lnTo>
                <a:lnTo>
                  <a:pt x="4841951" y="1851342"/>
                </a:lnTo>
                <a:close/>
              </a:path>
              <a:path w="4842509" h="4812030">
                <a:moveTo>
                  <a:pt x="4841951" y="582485"/>
                </a:moveTo>
                <a:lnTo>
                  <a:pt x="4189387" y="582485"/>
                </a:lnTo>
                <a:lnTo>
                  <a:pt x="4140073" y="592455"/>
                </a:lnTo>
                <a:lnTo>
                  <a:pt x="4099814" y="619594"/>
                </a:lnTo>
                <a:lnTo>
                  <a:pt x="4072674" y="659866"/>
                </a:lnTo>
                <a:lnTo>
                  <a:pt x="4062730" y="709168"/>
                </a:lnTo>
                <a:lnTo>
                  <a:pt x="4072674" y="758482"/>
                </a:lnTo>
                <a:lnTo>
                  <a:pt x="4099814" y="798753"/>
                </a:lnTo>
                <a:lnTo>
                  <a:pt x="4140073" y="825906"/>
                </a:lnTo>
                <a:lnTo>
                  <a:pt x="4189387" y="835850"/>
                </a:lnTo>
                <a:lnTo>
                  <a:pt x="4767542" y="835850"/>
                </a:lnTo>
                <a:lnTo>
                  <a:pt x="4736668" y="873556"/>
                </a:lnTo>
                <a:lnTo>
                  <a:pt x="4705045" y="911199"/>
                </a:lnTo>
                <a:lnTo>
                  <a:pt x="4672723" y="948778"/>
                </a:lnTo>
                <a:lnTo>
                  <a:pt x="4639742" y="986294"/>
                </a:lnTo>
                <a:lnTo>
                  <a:pt x="4606137" y="1023747"/>
                </a:lnTo>
                <a:lnTo>
                  <a:pt x="4571949" y="1061110"/>
                </a:lnTo>
                <a:lnTo>
                  <a:pt x="4537214" y="1098384"/>
                </a:lnTo>
                <a:lnTo>
                  <a:pt x="4501985" y="1135583"/>
                </a:lnTo>
                <a:lnTo>
                  <a:pt x="4466285" y="1172667"/>
                </a:lnTo>
                <a:lnTo>
                  <a:pt x="4430166" y="1209662"/>
                </a:lnTo>
                <a:lnTo>
                  <a:pt x="4393654" y="1246543"/>
                </a:lnTo>
                <a:lnTo>
                  <a:pt x="4356811" y="1283309"/>
                </a:lnTo>
                <a:lnTo>
                  <a:pt x="4319663" y="1319961"/>
                </a:lnTo>
                <a:lnTo>
                  <a:pt x="4282249" y="1356474"/>
                </a:lnTo>
                <a:lnTo>
                  <a:pt x="4206786" y="1429118"/>
                </a:lnTo>
                <a:lnTo>
                  <a:pt x="4092625" y="1536966"/>
                </a:lnTo>
                <a:lnTo>
                  <a:pt x="3735552" y="1867319"/>
                </a:lnTo>
                <a:lnTo>
                  <a:pt x="3567468" y="2024532"/>
                </a:lnTo>
                <a:lnTo>
                  <a:pt x="3485985" y="2102446"/>
                </a:lnTo>
                <a:lnTo>
                  <a:pt x="3446056" y="2141245"/>
                </a:lnTo>
                <a:lnTo>
                  <a:pt x="3406711" y="2179929"/>
                </a:lnTo>
                <a:lnTo>
                  <a:pt x="3368014" y="2218512"/>
                </a:lnTo>
                <a:lnTo>
                  <a:pt x="3330003" y="2256993"/>
                </a:lnTo>
                <a:lnTo>
                  <a:pt x="3292716" y="2295372"/>
                </a:lnTo>
                <a:lnTo>
                  <a:pt x="3256216" y="2333663"/>
                </a:lnTo>
                <a:lnTo>
                  <a:pt x="3220529" y="2371852"/>
                </a:lnTo>
                <a:lnTo>
                  <a:pt x="3185718" y="2409952"/>
                </a:lnTo>
                <a:lnTo>
                  <a:pt x="3151809" y="2447963"/>
                </a:lnTo>
                <a:lnTo>
                  <a:pt x="3118866" y="2485885"/>
                </a:lnTo>
                <a:lnTo>
                  <a:pt x="3086925" y="2523731"/>
                </a:lnTo>
                <a:lnTo>
                  <a:pt x="3056039" y="2561488"/>
                </a:lnTo>
                <a:lnTo>
                  <a:pt x="3026245" y="2599169"/>
                </a:lnTo>
                <a:lnTo>
                  <a:pt x="2997581" y="2636761"/>
                </a:lnTo>
                <a:lnTo>
                  <a:pt x="2970111" y="2674289"/>
                </a:lnTo>
                <a:lnTo>
                  <a:pt x="2943860" y="2711742"/>
                </a:lnTo>
                <a:lnTo>
                  <a:pt x="2918904" y="2749118"/>
                </a:lnTo>
                <a:lnTo>
                  <a:pt x="2895257" y="2786430"/>
                </a:lnTo>
                <a:lnTo>
                  <a:pt x="2872981" y="2823680"/>
                </a:lnTo>
                <a:lnTo>
                  <a:pt x="2852102" y="2860865"/>
                </a:lnTo>
                <a:lnTo>
                  <a:pt x="2832697" y="2898000"/>
                </a:lnTo>
                <a:lnTo>
                  <a:pt x="2814790" y="2935059"/>
                </a:lnTo>
                <a:lnTo>
                  <a:pt x="2798432" y="2972066"/>
                </a:lnTo>
                <a:lnTo>
                  <a:pt x="2783662" y="3009023"/>
                </a:lnTo>
                <a:lnTo>
                  <a:pt x="2770543" y="3045930"/>
                </a:lnTo>
                <a:lnTo>
                  <a:pt x="2749334" y="3114700"/>
                </a:lnTo>
                <a:lnTo>
                  <a:pt x="2731732" y="3182582"/>
                </a:lnTo>
                <a:lnTo>
                  <a:pt x="2717584" y="3249536"/>
                </a:lnTo>
                <a:lnTo>
                  <a:pt x="2706751" y="3315551"/>
                </a:lnTo>
                <a:lnTo>
                  <a:pt x="2699054" y="3380562"/>
                </a:lnTo>
                <a:lnTo>
                  <a:pt x="2694368" y="3444557"/>
                </a:lnTo>
                <a:lnTo>
                  <a:pt x="2692539" y="3507486"/>
                </a:lnTo>
                <a:lnTo>
                  <a:pt x="2693416" y="3569322"/>
                </a:lnTo>
                <a:lnTo>
                  <a:pt x="2696845" y="3630015"/>
                </a:lnTo>
                <a:lnTo>
                  <a:pt x="2702687" y="3689553"/>
                </a:lnTo>
                <a:lnTo>
                  <a:pt x="2710777" y="3747884"/>
                </a:lnTo>
                <a:lnTo>
                  <a:pt x="2720975" y="3804970"/>
                </a:lnTo>
                <a:lnTo>
                  <a:pt x="2733116" y="3860787"/>
                </a:lnTo>
                <a:lnTo>
                  <a:pt x="2747073" y="3915295"/>
                </a:lnTo>
                <a:lnTo>
                  <a:pt x="2762681" y="3968458"/>
                </a:lnTo>
                <a:lnTo>
                  <a:pt x="2779801" y="4020235"/>
                </a:lnTo>
                <a:lnTo>
                  <a:pt x="2798267" y="4070591"/>
                </a:lnTo>
                <a:lnTo>
                  <a:pt x="2817952" y="4119499"/>
                </a:lnTo>
                <a:lnTo>
                  <a:pt x="2838678" y="4166908"/>
                </a:lnTo>
                <a:lnTo>
                  <a:pt x="2860319" y="4212806"/>
                </a:lnTo>
                <a:lnTo>
                  <a:pt x="2882709" y="4257129"/>
                </a:lnTo>
                <a:lnTo>
                  <a:pt x="2905709" y="4299864"/>
                </a:lnTo>
                <a:lnTo>
                  <a:pt x="2929166" y="4340974"/>
                </a:lnTo>
                <a:lnTo>
                  <a:pt x="2952927" y="4380408"/>
                </a:lnTo>
                <a:lnTo>
                  <a:pt x="2976854" y="4418139"/>
                </a:lnTo>
                <a:lnTo>
                  <a:pt x="3000768" y="4454131"/>
                </a:lnTo>
                <a:lnTo>
                  <a:pt x="3024555" y="4488345"/>
                </a:lnTo>
                <a:lnTo>
                  <a:pt x="3048038" y="4520755"/>
                </a:lnTo>
                <a:lnTo>
                  <a:pt x="3071076" y="4551324"/>
                </a:lnTo>
                <a:lnTo>
                  <a:pt x="3115233" y="4606772"/>
                </a:lnTo>
                <a:lnTo>
                  <a:pt x="3155810" y="4654410"/>
                </a:lnTo>
                <a:lnTo>
                  <a:pt x="3191624" y="4693945"/>
                </a:lnTo>
                <a:lnTo>
                  <a:pt x="3221456" y="4725098"/>
                </a:lnTo>
                <a:lnTo>
                  <a:pt x="3252393" y="4755489"/>
                </a:lnTo>
                <a:lnTo>
                  <a:pt x="3289871" y="4785195"/>
                </a:lnTo>
                <a:lnTo>
                  <a:pt x="3352101" y="4808791"/>
                </a:lnTo>
                <a:lnTo>
                  <a:pt x="3384816" y="4811725"/>
                </a:lnTo>
                <a:lnTo>
                  <a:pt x="3422065" y="4807928"/>
                </a:lnTo>
                <a:lnTo>
                  <a:pt x="3491369" y="4777714"/>
                </a:lnTo>
                <a:lnTo>
                  <a:pt x="3520922" y="4751438"/>
                </a:lnTo>
                <a:lnTo>
                  <a:pt x="3548837" y="4710963"/>
                </a:lnTo>
                <a:lnTo>
                  <a:pt x="3564598" y="4666081"/>
                </a:lnTo>
                <a:lnTo>
                  <a:pt x="3568331" y="4619295"/>
                </a:lnTo>
                <a:lnTo>
                  <a:pt x="3560165" y="4573067"/>
                </a:lnTo>
                <a:lnTo>
                  <a:pt x="3540239" y="4529861"/>
                </a:lnTo>
                <a:lnTo>
                  <a:pt x="3508654" y="4492129"/>
                </a:lnTo>
                <a:lnTo>
                  <a:pt x="3500399" y="4484382"/>
                </a:lnTo>
                <a:lnTo>
                  <a:pt x="3484295" y="4468546"/>
                </a:lnTo>
                <a:lnTo>
                  <a:pt x="3433026" y="4413796"/>
                </a:lnTo>
                <a:lnTo>
                  <a:pt x="3400107" y="4375455"/>
                </a:lnTo>
                <a:lnTo>
                  <a:pt x="3363798" y="4330217"/>
                </a:lnTo>
                <a:lnTo>
                  <a:pt x="3325253" y="4278363"/>
                </a:lnTo>
                <a:lnTo>
                  <a:pt x="3285566" y="4220172"/>
                </a:lnTo>
                <a:lnTo>
                  <a:pt x="3245878" y="4155960"/>
                </a:lnTo>
                <a:lnTo>
                  <a:pt x="3207283" y="4085996"/>
                </a:lnTo>
                <a:lnTo>
                  <a:pt x="3803065" y="4085996"/>
                </a:lnTo>
                <a:lnTo>
                  <a:pt x="3852380" y="4076039"/>
                </a:lnTo>
                <a:lnTo>
                  <a:pt x="3892639" y="4048887"/>
                </a:lnTo>
                <a:lnTo>
                  <a:pt x="3919766" y="4008628"/>
                </a:lnTo>
                <a:lnTo>
                  <a:pt x="3929723" y="3959314"/>
                </a:lnTo>
                <a:lnTo>
                  <a:pt x="3919766" y="3910012"/>
                </a:lnTo>
                <a:lnTo>
                  <a:pt x="3892639" y="3869740"/>
                </a:lnTo>
                <a:lnTo>
                  <a:pt x="3852380" y="3842588"/>
                </a:lnTo>
                <a:lnTo>
                  <a:pt x="3803065" y="3832631"/>
                </a:lnTo>
                <a:lnTo>
                  <a:pt x="3106051" y="3832631"/>
                </a:lnTo>
                <a:lnTo>
                  <a:pt x="3093821" y="3786289"/>
                </a:lnTo>
                <a:lnTo>
                  <a:pt x="3083318" y="3738765"/>
                </a:lnTo>
                <a:lnTo>
                  <a:pt x="3074657" y="3690099"/>
                </a:lnTo>
                <a:lnTo>
                  <a:pt x="3068002" y="3640340"/>
                </a:lnTo>
                <a:lnTo>
                  <a:pt x="3063494" y="3589528"/>
                </a:lnTo>
                <a:lnTo>
                  <a:pt x="3061284" y="3537686"/>
                </a:lnTo>
                <a:lnTo>
                  <a:pt x="4186415" y="3537686"/>
                </a:lnTo>
                <a:lnTo>
                  <a:pt x="4235729" y="3527742"/>
                </a:lnTo>
                <a:lnTo>
                  <a:pt x="4275988" y="3500590"/>
                </a:lnTo>
                <a:lnTo>
                  <a:pt x="4303128" y="3460318"/>
                </a:lnTo>
                <a:lnTo>
                  <a:pt x="4313072" y="3411004"/>
                </a:lnTo>
                <a:lnTo>
                  <a:pt x="4303128" y="3361702"/>
                </a:lnTo>
                <a:lnTo>
                  <a:pt x="4275988" y="3321431"/>
                </a:lnTo>
                <a:lnTo>
                  <a:pt x="4235729" y="3294291"/>
                </a:lnTo>
                <a:lnTo>
                  <a:pt x="4186415" y="3284321"/>
                </a:lnTo>
                <a:lnTo>
                  <a:pt x="3085935" y="3284321"/>
                </a:lnTo>
                <a:lnTo>
                  <a:pt x="3092831" y="3254083"/>
                </a:lnTo>
                <a:lnTo>
                  <a:pt x="3109315" y="3192983"/>
                </a:lnTo>
                <a:lnTo>
                  <a:pt x="3133902" y="3122079"/>
                </a:lnTo>
                <a:lnTo>
                  <a:pt x="3151809" y="3081401"/>
                </a:lnTo>
                <a:lnTo>
                  <a:pt x="3172637" y="3040075"/>
                </a:lnTo>
                <a:lnTo>
                  <a:pt x="3196209" y="2998165"/>
                </a:lnTo>
                <a:lnTo>
                  <a:pt x="3222371" y="2955658"/>
                </a:lnTo>
                <a:lnTo>
                  <a:pt x="3222929" y="2955658"/>
                </a:lnTo>
                <a:lnTo>
                  <a:pt x="3223450" y="2955823"/>
                </a:lnTo>
                <a:lnTo>
                  <a:pt x="4085818" y="2955823"/>
                </a:lnTo>
                <a:lnTo>
                  <a:pt x="4086631" y="2955658"/>
                </a:lnTo>
                <a:lnTo>
                  <a:pt x="4135132" y="2945866"/>
                </a:lnTo>
                <a:lnTo>
                  <a:pt x="4175391" y="2918714"/>
                </a:lnTo>
                <a:lnTo>
                  <a:pt x="4202519" y="2878455"/>
                </a:lnTo>
                <a:lnTo>
                  <a:pt x="4212475" y="2829141"/>
                </a:lnTo>
                <a:lnTo>
                  <a:pt x="4202519" y="2779839"/>
                </a:lnTo>
                <a:lnTo>
                  <a:pt x="4175391" y="2739567"/>
                </a:lnTo>
                <a:lnTo>
                  <a:pt x="4135132" y="2712415"/>
                </a:lnTo>
                <a:lnTo>
                  <a:pt x="4085818" y="2702458"/>
                </a:lnTo>
                <a:lnTo>
                  <a:pt x="3416541" y="2702458"/>
                </a:lnTo>
                <a:lnTo>
                  <a:pt x="3446754" y="2668371"/>
                </a:lnTo>
                <a:lnTo>
                  <a:pt x="3477958" y="2634030"/>
                </a:lnTo>
                <a:lnTo>
                  <a:pt x="3510102" y="2599436"/>
                </a:lnTo>
                <a:lnTo>
                  <a:pt x="3543135" y="2564612"/>
                </a:lnTo>
                <a:lnTo>
                  <a:pt x="3577018" y="2529548"/>
                </a:lnTo>
                <a:lnTo>
                  <a:pt x="3611702" y="2494267"/>
                </a:lnTo>
                <a:lnTo>
                  <a:pt x="3647122" y="2458758"/>
                </a:lnTo>
                <a:lnTo>
                  <a:pt x="3683254" y="2423045"/>
                </a:lnTo>
                <a:lnTo>
                  <a:pt x="3720046" y="2387117"/>
                </a:lnTo>
                <a:lnTo>
                  <a:pt x="3795395" y="2314702"/>
                </a:lnTo>
                <a:lnTo>
                  <a:pt x="3912184" y="2204707"/>
                </a:lnTo>
                <a:lnTo>
                  <a:pt x="4351325" y="1798180"/>
                </a:lnTo>
                <a:lnTo>
                  <a:pt x="4468863" y="1687245"/>
                </a:lnTo>
                <a:lnTo>
                  <a:pt x="4546206" y="1612912"/>
                </a:lnTo>
                <a:lnTo>
                  <a:pt x="4584484" y="1575625"/>
                </a:lnTo>
                <a:lnTo>
                  <a:pt x="4622444" y="1538236"/>
                </a:lnTo>
                <a:lnTo>
                  <a:pt x="4660087" y="1500771"/>
                </a:lnTo>
                <a:lnTo>
                  <a:pt x="4697361" y="1463205"/>
                </a:lnTo>
                <a:lnTo>
                  <a:pt x="4734242" y="1425549"/>
                </a:lnTo>
                <a:lnTo>
                  <a:pt x="4770691" y="1387792"/>
                </a:lnTo>
                <a:lnTo>
                  <a:pt x="4806696" y="1349933"/>
                </a:lnTo>
                <a:lnTo>
                  <a:pt x="4841951" y="1312240"/>
                </a:lnTo>
                <a:lnTo>
                  <a:pt x="4841951" y="582485"/>
                </a:lnTo>
                <a:close/>
              </a:path>
              <a:path w="4842509" h="4812030">
                <a:moveTo>
                  <a:pt x="4841951" y="7937"/>
                </a:moveTo>
                <a:lnTo>
                  <a:pt x="4133786" y="7937"/>
                </a:lnTo>
                <a:lnTo>
                  <a:pt x="4084472" y="17907"/>
                </a:lnTo>
                <a:lnTo>
                  <a:pt x="4044213" y="45046"/>
                </a:lnTo>
                <a:lnTo>
                  <a:pt x="4017073" y="85318"/>
                </a:lnTo>
                <a:lnTo>
                  <a:pt x="4007129" y="134620"/>
                </a:lnTo>
                <a:lnTo>
                  <a:pt x="4017073" y="183934"/>
                </a:lnTo>
                <a:lnTo>
                  <a:pt x="4044213" y="224205"/>
                </a:lnTo>
                <a:lnTo>
                  <a:pt x="4084472" y="251358"/>
                </a:lnTo>
                <a:lnTo>
                  <a:pt x="4133786" y="261315"/>
                </a:lnTo>
                <a:lnTo>
                  <a:pt x="4841951" y="261315"/>
                </a:lnTo>
                <a:lnTo>
                  <a:pt x="4841951" y="7937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9489945-D82B-16EA-87F9-4DB1AC09BCAB}"/>
              </a:ext>
            </a:extLst>
          </p:cNvPr>
          <p:cNvGrpSpPr/>
          <p:nvPr userDrawn="1"/>
        </p:nvGrpSpPr>
        <p:grpSpPr>
          <a:xfrm>
            <a:off x="9598" y="4557616"/>
            <a:ext cx="3097294" cy="2298207"/>
            <a:chOff x="9598" y="4557616"/>
            <a:chExt cx="3097294" cy="2298207"/>
          </a:xfrm>
        </p:grpSpPr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863EF05D-4F3C-2EAC-0BD4-17EC180015FD}"/>
                </a:ext>
              </a:extLst>
            </p:cNvPr>
            <p:cNvSpPr/>
            <p:nvPr/>
          </p:nvSpPr>
          <p:spPr>
            <a:xfrm>
              <a:off x="1316370" y="6327748"/>
              <a:ext cx="614398" cy="528026"/>
            </a:xfrm>
            <a:custGeom>
              <a:avLst/>
              <a:gdLst/>
              <a:ahLst/>
              <a:cxnLst/>
              <a:rect l="l" t="t" r="r" b="b"/>
              <a:pathLst>
                <a:path w="677544" h="582295">
                  <a:moveTo>
                    <a:pt x="166528" y="0"/>
                  </a:moveTo>
                  <a:lnTo>
                    <a:pt x="120868" y="10089"/>
                  </a:lnTo>
                  <a:lnTo>
                    <a:pt x="78669" y="31774"/>
                  </a:lnTo>
                  <a:lnTo>
                    <a:pt x="42356" y="64816"/>
                  </a:lnTo>
                  <a:lnTo>
                    <a:pt x="16032" y="106257"/>
                  </a:lnTo>
                  <a:lnTo>
                    <a:pt x="1987" y="151637"/>
                  </a:lnTo>
                  <a:lnTo>
                    <a:pt x="0" y="198494"/>
                  </a:lnTo>
                  <a:lnTo>
                    <a:pt x="9847" y="244368"/>
                  </a:lnTo>
                  <a:lnTo>
                    <a:pt x="31309" y="286798"/>
                  </a:lnTo>
                  <a:lnTo>
                    <a:pt x="64161" y="323324"/>
                  </a:lnTo>
                  <a:lnTo>
                    <a:pt x="72492" y="330740"/>
                  </a:lnTo>
                  <a:lnTo>
                    <a:pt x="89603" y="347032"/>
                  </a:lnTo>
                  <a:lnTo>
                    <a:pt x="143984" y="405507"/>
                  </a:lnTo>
                  <a:lnTo>
                    <a:pt x="178162" y="447320"/>
                  </a:lnTo>
                  <a:lnTo>
                    <a:pt x="214937" y="497272"/>
                  </a:lnTo>
                  <a:lnTo>
                    <a:pt x="252764" y="555177"/>
                  </a:lnTo>
                  <a:lnTo>
                    <a:pt x="267956" y="581905"/>
                  </a:lnTo>
                  <a:lnTo>
                    <a:pt x="676956" y="581905"/>
                  </a:lnTo>
                  <a:lnTo>
                    <a:pt x="654079" y="529010"/>
                  </a:lnTo>
                  <a:lnTo>
                    <a:pt x="630400" y="479497"/>
                  </a:lnTo>
                  <a:lnTo>
                    <a:pt x="605823" y="432480"/>
                  </a:lnTo>
                  <a:lnTo>
                    <a:pt x="580604" y="387985"/>
                  </a:lnTo>
                  <a:lnTo>
                    <a:pt x="555000" y="346039"/>
                  </a:lnTo>
                  <a:lnTo>
                    <a:pt x="529267" y="306670"/>
                  </a:lnTo>
                  <a:lnTo>
                    <a:pt x="503664" y="269906"/>
                  </a:lnTo>
                  <a:lnTo>
                    <a:pt x="478447" y="235772"/>
                  </a:lnTo>
                  <a:lnTo>
                    <a:pt x="453872" y="204296"/>
                  </a:lnTo>
                  <a:lnTo>
                    <a:pt x="407680" y="149427"/>
                  </a:lnTo>
                  <a:lnTo>
                    <a:pt x="367144" y="105516"/>
                  </a:lnTo>
                  <a:lnTo>
                    <a:pt x="334319" y="72781"/>
                  </a:lnTo>
                  <a:lnTo>
                    <a:pt x="300026" y="41702"/>
                  </a:lnTo>
                  <a:lnTo>
                    <a:pt x="258532" y="15566"/>
                  </a:lnTo>
                  <a:lnTo>
                    <a:pt x="213224" y="1745"/>
                  </a:lnTo>
                  <a:lnTo>
                    <a:pt x="16652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CB05B7DE-D1A8-92D2-6742-E486186D58AC}"/>
                </a:ext>
              </a:extLst>
            </p:cNvPr>
            <p:cNvSpPr/>
            <p:nvPr/>
          </p:nvSpPr>
          <p:spPr>
            <a:xfrm>
              <a:off x="809301" y="617207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B42D0B40-8726-CFF6-45C8-D6DD9073ADC5}"/>
                </a:ext>
              </a:extLst>
            </p:cNvPr>
            <p:cNvSpPr/>
            <p:nvPr/>
          </p:nvSpPr>
          <p:spPr>
            <a:xfrm>
              <a:off x="1879928" y="6007961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94932D03-1DB6-8192-A37F-9BC1EC4AD97E}"/>
                </a:ext>
              </a:extLst>
            </p:cNvPr>
            <p:cNvSpPr/>
            <p:nvPr/>
          </p:nvSpPr>
          <p:spPr>
            <a:xfrm>
              <a:off x="1755210" y="540721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870B1266-3B19-111C-D391-A0174B1E3628}"/>
                </a:ext>
              </a:extLst>
            </p:cNvPr>
            <p:cNvSpPr/>
            <p:nvPr/>
          </p:nvSpPr>
          <p:spPr>
            <a:xfrm>
              <a:off x="1088618" y="5550074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90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9">
              <a:extLst>
                <a:ext uri="{FF2B5EF4-FFF2-40B4-BE49-F238E27FC236}">
                  <a16:creationId xmlns:a16="http://schemas.microsoft.com/office/drawing/2014/main" id="{A1B8B559-FDDD-3768-BE13-48E60B67B738}"/>
                </a:ext>
              </a:extLst>
            </p:cNvPr>
            <p:cNvSpPr/>
            <p:nvPr/>
          </p:nvSpPr>
          <p:spPr>
            <a:xfrm>
              <a:off x="2464854" y="6493633"/>
              <a:ext cx="642038" cy="362190"/>
            </a:xfrm>
            <a:custGeom>
              <a:avLst/>
              <a:gdLst/>
              <a:ahLst/>
              <a:cxnLst/>
              <a:rect l="l" t="t" r="r" b="b"/>
              <a:pathLst>
                <a:path w="708025" h="399415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2602" y="398971"/>
                  </a:lnTo>
                  <a:lnTo>
                    <a:pt x="705193" y="398971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10">
              <a:extLst>
                <a:ext uri="{FF2B5EF4-FFF2-40B4-BE49-F238E27FC236}">
                  <a16:creationId xmlns:a16="http://schemas.microsoft.com/office/drawing/2014/main" id="{9412B5DB-583A-8967-5D35-7E8CFCA6F004}"/>
                </a:ext>
              </a:extLst>
            </p:cNvPr>
            <p:cNvSpPr/>
            <p:nvPr/>
          </p:nvSpPr>
          <p:spPr>
            <a:xfrm>
              <a:off x="871644" y="4706903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11">
              <a:extLst>
                <a:ext uri="{FF2B5EF4-FFF2-40B4-BE49-F238E27FC236}">
                  <a16:creationId xmlns:a16="http://schemas.microsoft.com/office/drawing/2014/main" id="{357063B8-8F24-016B-ED8E-8A23E93B516A}"/>
                </a:ext>
              </a:extLst>
            </p:cNvPr>
            <p:cNvSpPr/>
            <p:nvPr/>
          </p:nvSpPr>
          <p:spPr>
            <a:xfrm>
              <a:off x="9598" y="4557616"/>
              <a:ext cx="660464" cy="2298092"/>
            </a:xfrm>
            <a:custGeom>
              <a:avLst/>
              <a:gdLst/>
              <a:ahLst/>
              <a:cxnLst/>
              <a:rect l="l" t="t" r="r" b="b"/>
              <a:pathLst>
                <a:path w="728345" h="2534284">
                  <a:moveTo>
                    <a:pt x="339378" y="1250138"/>
                  </a:moveTo>
                  <a:lnTo>
                    <a:pt x="0" y="1250138"/>
                  </a:lnTo>
                  <a:lnTo>
                    <a:pt x="0" y="1503516"/>
                  </a:lnTo>
                  <a:lnTo>
                    <a:pt x="293099" y="1503516"/>
                  </a:lnTo>
                  <a:lnTo>
                    <a:pt x="275124" y="1549292"/>
                  </a:lnTo>
                  <a:lnTo>
                    <a:pt x="255196" y="1595118"/>
                  </a:lnTo>
                  <a:lnTo>
                    <a:pt x="233381" y="1640986"/>
                  </a:lnTo>
                  <a:lnTo>
                    <a:pt x="209742" y="1686883"/>
                  </a:lnTo>
                  <a:lnTo>
                    <a:pt x="184347" y="1732802"/>
                  </a:lnTo>
                  <a:lnTo>
                    <a:pt x="157259" y="1778731"/>
                  </a:lnTo>
                  <a:lnTo>
                    <a:pt x="128545" y="1824661"/>
                  </a:lnTo>
                  <a:lnTo>
                    <a:pt x="0" y="1824661"/>
                  </a:lnTo>
                  <a:lnTo>
                    <a:pt x="0" y="2533969"/>
                  </a:lnTo>
                  <a:lnTo>
                    <a:pt x="37168" y="2533969"/>
                  </a:lnTo>
                  <a:lnTo>
                    <a:pt x="53615" y="2516081"/>
                  </a:lnTo>
                  <a:lnTo>
                    <a:pt x="88081" y="2477894"/>
                  </a:lnTo>
                  <a:lnTo>
                    <a:pt x="121975" y="2439592"/>
                  </a:lnTo>
                  <a:lnTo>
                    <a:pt x="155266" y="2401172"/>
                  </a:lnTo>
                  <a:lnTo>
                    <a:pt x="187926" y="2362631"/>
                  </a:lnTo>
                  <a:lnTo>
                    <a:pt x="219923" y="2323966"/>
                  </a:lnTo>
                  <a:lnTo>
                    <a:pt x="251229" y="2285174"/>
                  </a:lnTo>
                  <a:lnTo>
                    <a:pt x="281814" y="2246251"/>
                  </a:lnTo>
                  <a:lnTo>
                    <a:pt x="311647" y="2207195"/>
                  </a:lnTo>
                  <a:lnTo>
                    <a:pt x="340699" y="2168003"/>
                  </a:lnTo>
                  <a:lnTo>
                    <a:pt x="368940" y="2128671"/>
                  </a:lnTo>
                  <a:lnTo>
                    <a:pt x="396340" y="2089196"/>
                  </a:lnTo>
                  <a:lnTo>
                    <a:pt x="422870" y="2049575"/>
                  </a:lnTo>
                  <a:lnTo>
                    <a:pt x="448500" y="2009806"/>
                  </a:lnTo>
                  <a:lnTo>
                    <a:pt x="473199" y="1969884"/>
                  </a:lnTo>
                  <a:lnTo>
                    <a:pt x="496938" y="1929807"/>
                  </a:lnTo>
                  <a:lnTo>
                    <a:pt x="519688" y="1889572"/>
                  </a:lnTo>
                  <a:lnTo>
                    <a:pt x="541417" y="1849176"/>
                  </a:lnTo>
                  <a:lnTo>
                    <a:pt x="562098" y="1808615"/>
                  </a:lnTo>
                  <a:lnTo>
                    <a:pt x="581699" y="1767887"/>
                  </a:lnTo>
                  <a:lnTo>
                    <a:pt x="600190" y="1726988"/>
                  </a:lnTo>
                  <a:lnTo>
                    <a:pt x="617543" y="1685916"/>
                  </a:lnTo>
                  <a:lnTo>
                    <a:pt x="633727" y="1644667"/>
                  </a:lnTo>
                  <a:lnTo>
                    <a:pt x="648713" y="1603237"/>
                  </a:lnTo>
                  <a:lnTo>
                    <a:pt x="662470" y="1561625"/>
                  </a:lnTo>
                  <a:lnTo>
                    <a:pt x="674969" y="1519827"/>
                  </a:lnTo>
                  <a:lnTo>
                    <a:pt x="686180" y="1477840"/>
                  </a:lnTo>
                  <a:lnTo>
                    <a:pt x="696072" y="1435660"/>
                  </a:lnTo>
                  <a:lnTo>
                    <a:pt x="704618" y="1393285"/>
                  </a:lnTo>
                  <a:lnTo>
                    <a:pt x="711785" y="1350711"/>
                  </a:lnTo>
                  <a:lnTo>
                    <a:pt x="717546" y="1307936"/>
                  </a:lnTo>
                  <a:lnTo>
                    <a:pt x="722689" y="1252323"/>
                  </a:lnTo>
                  <a:lnTo>
                    <a:pt x="353602" y="1252323"/>
                  </a:lnTo>
                  <a:lnTo>
                    <a:pt x="346541" y="1251103"/>
                  </a:lnTo>
                  <a:lnTo>
                    <a:pt x="339378" y="1250138"/>
                  </a:lnTo>
                  <a:close/>
                </a:path>
                <a:path w="728345" h="2534284">
                  <a:moveTo>
                    <a:pt x="109487" y="0"/>
                  </a:moveTo>
                  <a:lnTo>
                    <a:pt x="63837" y="10091"/>
                  </a:lnTo>
                  <a:lnTo>
                    <a:pt x="21648" y="31783"/>
                  </a:lnTo>
                  <a:lnTo>
                    <a:pt x="37" y="51456"/>
                  </a:lnTo>
                  <a:lnTo>
                    <a:pt x="0" y="315397"/>
                  </a:lnTo>
                  <a:lnTo>
                    <a:pt x="7146" y="323343"/>
                  </a:lnTo>
                  <a:lnTo>
                    <a:pt x="15476" y="330759"/>
                  </a:lnTo>
                  <a:lnTo>
                    <a:pt x="32587" y="347051"/>
                  </a:lnTo>
                  <a:lnTo>
                    <a:pt x="86967" y="405526"/>
                  </a:lnTo>
                  <a:lnTo>
                    <a:pt x="121144" y="447339"/>
                  </a:lnTo>
                  <a:lnTo>
                    <a:pt x="157917" y="497291"/>
                  </a:lnTo>
                  <a:lnTo>
                    <a:pt x="195742" y="555196"/>
                  </a:lnTo>
                  <a:lnTo>
                    <a:pt x="233071" y="620872"/>
                  </a:lnTo>
                  <a:lnTo>
                    <a:pt x="268359" y="694132"/>
                  </a:lnTo>
                  <a:lnTo>
                    <a:pt x="0" y="694132"/>
                  </a:lnTo>
                  <a:lnTo>
                    <a:pt x="0" y="947497"/>
                  </a:lnTo>
                  <a:lnTo>
                    <a:pt x="344547" y="947497"/>
                  </a:lnTo>
                  <a:lnTo>
                    <a:pt x="351547" y="994539"/>
                  </a:lnTo>
                  <a:lnTo>
                    <a:pt x="356566" y="1043098"/>
                  </a:lnTo>
                  <a:lnTo>
                    <a:pt x="359442" y="1093166"/>
                  </a:lnTo>
                  <a:lnTo>
                    <a:pt x="360014" y="1144733"/>
                  </a:lnTo>
                  <a:lnTo>
                    <a:pt x="358121" y="1197788"/>
                  </a:lnTo>
                  <a:lnTo>
                    <a:pt x="353602" y="1252323"/>
                  </a:lnTo>
                  <a:lnTo>
                    <a:pt x="722689" y="1252323"/>
                  </a:lnTo>
                  <a:lnTo>
                    <a:pt x="724699" y="1230596"/>
                  </a:lnTo>
                  <a:lnTo>
                    <a:pt x="727870" y="1155425"/>
                  </a:lnTo>
                  <a:lnTo>
                    <a:pt x="727315" y="1082452"/>
                  </a:lnTo>
                  <a:lnTo>
                    <a:pt x="723292" y="1011702"/>
                  </a:lnTo>
                  <a:lnTo>
                    <a:pt x="716057" y="943204"/>
                  </a:lnTo>
                  <a:lnTo>
                    <a:pt x="705867" y="876984"/>
                  </a:lnTo>
                  <a:lnTo>
                    <a:pt x="692980" y="813069"/>
                  </a:lnTo>
                  <a:lnTo>
                    <a:pt x="677652" y="751487"/>
                  </a:lnTo>
                  <a:lnTo>
                    <a:pt x="660140" y="692264"/>
                  </a:lnTo>
                  <a:lnTo>
                    <a:pt x="640702" y="635429"/>
                  </a:lnTo>
                  <a:lnTo>
                    <a:pt x="619593" y="581007"/>
                  </a:lnTo>
                  <a:lnTo>
                    <a:pt x="597072" y="529026"/>
                  </a:lnTo>
                  <a:lnTo>
                    <a:pt x="573395" y="479514"/>
                  </a:lnTo>
                  <a:lnTo>
                    <a:pt x="548819" y="432497"/>
                  </a:lnTo>
                  <a:lnTo>
                    <a:pt x="523601" y="388002"/>
                  </a:lnTo>
                  <a:lnTo>
                    <a:pt x="497998" y="346057"/>
                  </a:lnTo>
                  <a:lnTo>
                    <a:pt x="472267" y="306688"/>
                  </a:lnTo>
                  <a:lnTo>
                    <a:pt x="446665" y="269924"/>
                  </a:lnTo>
                  <a:lnTo>
                    <a:pt x="421449" y="235790"/>
                  </a:lnTo>
                  <a:lnTo>
                    <a:pt x="396875" y="204314"/>
                  </a:lnTo>
                  <a:lnTo>
                    <a:pt x="350685" y="149446"/>
                  </a:lnTo>
                  <a:lnTo>
                    <a:pt x="310151" y="105535"/>
                  </a:lnTo>
                  <a:lnTo>
                    <a:pt x="277327" y="72800"/>
                  </a:lnTo>
                  <a:lnTo>
                    <a:pt x="247047" y="45123"/>
                  </a:lnTo>
                  <a:lnTo>
                    <a:pt x="201504" y="15575"/>
                  </a:lnTo>
                  <a:lnTo>
                    <a:pt x="156182" y="1748"/>
                  </a:lnTo>
                  <a:lnTo>
                    <a:pt x="10948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346" y="593213"/>
            <a:ext cx="8915844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6162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BC5C9EF-0409-B5D4-B719-F06C3A197C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accent3"/>
                </a:solidFill>
                <a:latin typeface="Quicksand" pitchFamily="2" charset="0"/>
              </a:defRPr>
            </a:lvl1pPr>
            <a:lvl2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accent3"/>
                </a:solidFill>
                <a:latin typeface="Quicksand" pitchFamily="2" charset="0"/>
              </a:defRPr>
            </a:lvl2pPr>
            <a:lvl3pPr marL="684000" indent="-182563">
              <a:buClr>
                <a:schemeClr val="tx2"/>
              </a:buClr>
              <a:buFont typeface="System Font Regular"/>
              <a:buChar char="-"/>
              <a:defRPr>
                <a:solidFill>
                  <a:schemeClr val="accent3"/>
                </a:solidFill>
                <a:latin typeface="Quicksand" pitchFamily="2" charset="0"/>
              </a:defRPr>
            </a:lvl3pPr>
            <a:lvl4pPr marL="1368000" indent="-182563"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accent3"/>
                </a:solidFill>
                <a:latin typeface="Quicksand" pitchFamily="2" charset="0"/>
              </a:defRPr>
            </a:lvl4pPr>
            <a:lvl5pPr marL="2052000" indent="-182563">
              <a:buClr>
                <a:schemeClr val="tx2"/>
              </a:buClr>
              <a:buFont typeface="System Font Regular"/>
              <a:buChar char="-"/>
              <a:defRPr>
                <a:solidFill>
                  <a:schemeClr val="accent3"/>
                </a:solidFill>
                <a:latin typeface="Quicksan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05156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4122" y="593213"/>
            <a:ext cx="8904068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tx2"/>
                </a:solidFill>
                <a:latin typeface="Quicksand" pitchFamily="2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grpSp>
        <p:nvGrpSpPr>
          <p:cNvPr id="4" name="object 41">
            <a:extLst>
              <a:ext uri="{FF2B5EF4-FFF2-40B4-BE49-F238E27FC236}">
                <a16:creationId xmlns:a16="http://schemas.microsoft.com/office/drawing/2014/main" id="{FBC006D3-0A54-93B6-4CCC-16B74A7470A7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5" name="object 42">
              <a:extLst>
                <a:ext uri="{FF2B5EF4-FFF2-40B4-BE49-F238E27FC236}">
                  <a16:creationId xmlns:a16="http://schemas.microsoft.com/office/drawing/2014/main" id="{3DC9DC2C-26DF-CC61-5EF9-0D16A177B12B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6" name="object 43">
              <a:extLst>
                <a:ext uri="{FF2B5EF4-FFF2-40B4-BE49-F238E27FC236}">
                  <a16:creationId xmlns:a16="http://schemas.microsoft.com/office/drawing/2014/main" id="{DE522677-B305-5913-4089-A926AF11D49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7" name="object 44">
              <a:extLst>
                <a:ext uri="{FF2B5EF4-FFF2-40B4-BE49-F238E27FC236}">
                  <a16:creationId xmlns:a16="http://schemas.microsoft.com/office/drawing/2014/main" id="{54E2F8A9-7845-E09E-8B79-723848C5AA1D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FBF597C-A0FC-EE2B-C75A-6AFEBEC69750}"/>
              </a:ext>
            </a:extLst>
          </p:cNvPr>
          <p:cNvGrpSpPr/>
          <p:nvPr userDrawn="1"/>
        </p:nvGrpSpPr>
        <p:grpSpPr>
          <a:xfrm>
            <a:off x="9598" y="4391414"/>
            <a:ext cx="3729812" cy="2464571"/>
            <a:chOff x="9598" y="4391414"/>
            <a:chExt cx="3729812" cy="2464571"/>
          </a:xfrm>
        </p:grpSpPr>
        <p:sp>
          <p:nvSpPr>
            <p:cNvPr id="9" name="object 3">
              <a:extLst>
                <a:ext uri="{FF2B5EF4-FFF2-40B4-BE49-F238E27FC236}">
                  <a16:creationId xmlns:a16="http://schemas.microsoft.com/office/drawing/2014/main" id="{8FECB771-16CA-A0E5-0DFE-DEA5D2B1B8F4}"/>
                </a:ext>
              </a:extLst>
            </p:cNvPr>
            <p:cNvSpPr/>
            <p:nvPr/>
          </p:nvSpPr>
          <p:spPr>
            <a:xfrm>
              <a:off x="1102322" y="6790972"/>
              <a:ext cx="599427" cy="64492"/>
            </a:xfrm>
            <a:custGeom>
              <a:avLst/>
              <a:gdLst/>
              <a:ahLst/>
              <a:cxnLst/>
              <a:rect l="l" t="t" r="r" b="b"/>
              <a:pathLst>
                <a:path w="661035" h="71120">
                  <a:moveTo>
                    <a:pt x="547984" y="0"/>
                  </a:moveTo>
                  <a:lnTo>
                    <a:pt x="112463" y="0"/>
                  </a:lnTo>
                  <a:lnTo>
                    <a:pt x="63146" y="9955"/>
                  </a:lnTo>
                  <a:lnTo>
                    <a:pt x="22888" y="37104"/>
                  </a:lnTo>
                  <a:lnTo>
                    <a:pt x="0" y="71071"/>
                  </a:lnTo>
                  <a:lnTo>
                    <a:pt x="660448" y="71071"/>
                  </a:lnTo>
                  <a:lnTo>
                    <a:pt x="637559" y="37104"/>
                  </a:lnTo>
                  <a:lnTo>
                    <a:pt x="597301" y="9955"/>
                  </a:lnTo>
                  <a:lnTo>
                    <a:pt x="54798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4">
              <a:extLst>
                <a:ext uri="{FF2B5EF4-FFF2-40B4-BE49-F238E27FC236}">
                  <a16:creationId xmlns:a16="http://schemas.microsoft.com/office/drawing/2014/main" id="{D3CA8ECF-9710-8720-2CD0-DA636B54B0B5}"/>
                </a:ext>
              </a:extLst>
            </p:cNvPr>
            <p:cNvSpPr/>
            <p:nvPr/>
          </p:nvSpPr>
          <p:spPr>
            <a:xfrm>
              <a:off x="1847987" y="6161548"/>
              <a:ext cx="770445" cy="694437"/>
            </a:xfrm>
            <a:custGeom>
              <a:avLst/>
              <a:gdLst/>
              <a:ahLst/>
              <a:cxnLst/>
              <a:rect l="l" t="t" r="r" b="b"/>
              <a:pathLst>
                <a:path w="849630" h="765809">
                  <a:moveTo>
                    <a:pt x="277797" y="0"/>
                  </a:moveTo>
                  <a:lnTo>
                    <a:pt x="232138" y="10089"/>
                  </a:lnTo>
                  <a:lnTo>
                    <a:pt x="189939" y="31774"/>
                  </a:lnTo>
                  <a:lnTo>
                    <a:pt x="153625" y="64816"/>
                  </a:lnTo>
                  <a:lnTo>
                    <a:pt x="127301" y="106257"/>
                  </a:lnTo>
                  <a:lnTo>
                    <a:pt x="113256" y="151637"/>
                  </a:lnTo>
                  <a:lnTo>
                    <a:pt x="111269" y="198494"/>
                  </a:lnTo>
                  <a:lnTo>
                    <a:pt x="121117" y="244368"/>
                  </a:lnTo>
                  <a:lnTo>
                    <a:pt x="142578" y="286798"/>
                  </a:lnTo>
                  <a:lnTo>
                    <a:pt x="175431" y="323324"/>
                  </a:lnTo>
                  <a:lnTo>
                    <a:pt x="183761" y="330740"/>
                  </a:lnTo>
                  <a:lnTo>
                    <a:pt x="200872" y="347032"/>
                  </a:lnTo>
                  <a:lnTo>
                    <a:pt x="255253" y="405507"/>
                  </a:lnTo>
                  <a:lnTo>
                    <a:pt x="289431" y="447320"/>
                  </a:lnTo>
                  <a:lnTo>
                    <a:pt x="326206" y="497272"/>
                  </a:lnTo>
                  <a:lnTo>
                    <a:pt x="364033" y="555177"/>
                  </a:lnTo>
                  <a:lnTo>
                    <a:pt x="401365" y="620853"/>
                  </a:lnTo>
                  <a:lnTo>
                    <a:pt x="436657" y="694113"/>
                  </a:lnTo>
                  <a:lnTo>
                    <a:pt x="112464" y="694113"/>
                  </a:lnTo>
                  <a:lnTo>
                    <a:pt x="63147" y="704069"/>
                  </a:lnTo>
                  <a:lnTo>
                    <a:pt x="22889" y="731218"/>
                  </a:lnTo>
                  <a:lnTo>
                    <a:pt x="0" y="765186"/>
                  </a:lnTo>
                  <a:lnTo>
                    <a:pt x="849346" y="765186"/>
                  </a:lnTo>
                  <a:lnTo>
                    <a:pt x="828420" y="692250"/>
                  </a:lnTo>
                  <a:lnTo>
                    <a:pt x="808980" y="635413"/>
                  </a:lnTo>
                  <a:lnTo>
                    <a:pt x="787871" y="580991"/>
                  </a:lnTo>
                  <a:lnTo>
                    <a:pt x="765348" y="529010"/>
                  </a:lnTo>
                  <a:lnTo>
                    <a:pt x="741670" y="479497"/>
                  </a:lnTo>
                  <a:lnTo>
                    <a:pt x="717092" y="432480"/>
                  </a:lnTo>
                  <a:lnTo>
                    <a:pt x="691873" y="387985"/>
                  </a:lnTo>
                  <a:lnTo>
                    <a:pt x="666269" y="346039"/>
                  </a:lnTo>
                  <a:lnTo>
                    <a:pt x="640536" y="306670"/>
                  </a:lnTo>
                  <a:lnTo>
                    <a:pt x="614933" y="269906"/>
                  </a:lnTo>
                  <a:lnTo>
                    <a:pt x="589716" y="235772"/>
                  </a:lnTo>
                  <a:lnTo>
                    <a:pt x="565141" y="204296"/>
                  </a:lnTo>
                  <a:lnTo>
                    <a:pt x="518949" y="149427"/>
                  </a:lnTo>
                  <a:lnTo>
                    <a:pt x="478413" y="105516"/>
                  </a:lnTo>
                  <a:lnTo>
                    <a:pt x="445588" y="72781"/>
                  </a:lnTo>
                  <a:lnTo>
                    <a:pt x="411295" y="41702"/>
                  </a:lnTo>
                  <a:lnTo>
                    <a:pt x="369801" y="15566"/>
                  </a:lnTo>
                  <a:lnTo>
                    <a:pt x="324493" y="1745"/>
                  </a:lnTo>
                  <a:lnTo>
                    <a:pt x="277797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5">
              <a:extLst>
                <a:ext uri="{FF2B5EF4-FFF2-40B4-BE49-F238E27FC236}">
                  <a16:creationId xmlns:a16="http://schemas.microsoft.com/office/drawing/2014/main" id="{2862B2D7-BDD5-F2B2-3968-D2FDB60BD32C}"/>
                </a:ext>
              </a:extLst>
            </p:cNvPr>
            <p:cNvSpPr/>
            <p:nvPr/>
          </p:nvSpPr>
          <p:spPr>
            <a:xfrm>
              <a:off x="1441820" y="600587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6">
              <a:extLst>
                <a:ext uri="{FF2B5EF4-FFF2-40B4-BE49-F238E27FC236}">
                  <a16:creationId xmlns:a16="http://schemas.microsoft.com/office/drawing/2014/main" id="{2D450728-55B2-39CD-7B12-8A800D0D1A22}"/>
                </a:ext>
              </a:extLst>
            </p:cNvPr>
            <p:cNvSpPr/>
            <p:nvPr/>
          </p:nvSpPr>
          <p:spPr>
            <a:xfrm>
              <a:off x="2512448" y="5841762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7">
              <a:extLst>
                <a:ext uri="{FF2B5EF4-FFF2-40B4-BE49-F238E27FC236}">
                  <a16:creationId xmlns:a16="http://schemas.microsoft.com/office/drawing/2014/main" id="{14B3E2E4-7B25-7179-7814-2E18247203F3}"/>
                </a:ext>
              </a:extLst>
            </p:cNvPr>
            <p:cNvSpPr/>
            <p:nvPr/>
          </p:nvSpPr>
          <p:spPr>
            <a:xfrm>
              <a:off x="2387729" y="5241019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8">
              <a:extLst>
                <a:ext uri="{FF2B5EF4-FFF2-40B4-BE49-F238E27FC236}">
                  <a16:creationId xmlns:a16="http://schemas.microsoft.com/office/drawing/2014/main" id="{2CFC7019-072F-B9FC-DA69-CEFBC5ABD001}"/>
                </a:ext>
              </a:extLst>
            </p:cNvPr>
            <p:cNvSpPr/>
            <p:nvPr/>
          </p:nvSpPr>
          <p:spPr>
            <a:xfrm>
              <a:off x="1721136" y="5383874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89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9">
              <a:extLst>
                <a:ext uri="{FF2B5EF4-FFF2-40B4-BE49-F238E27FC236}">
                  <a16:creationId xmlns:a16="http://schemas.microsoft.com/office/drawing/2014/main" id="{EA3EC4CC-0D07-2030-5906-D47FB104B0F3}"/>
                </a:ext>
              </a:extLst>
            </p:cNvPr>
            <p:cNvSpPr/>
            <p:nvPr/>
          </p:nvSpPr>
          <p:spPr>
            <a:xfrm>
              <a:off x="3097372" y="6327434"/>
              <a:ext cx="642038" cy="528026"/>
            </a:xfrm>
            <a:custGeom>
              <a:avLst/>
              <a:gdLst/>
              <a:ahLst/>
              <a:cxnLst/>
              <a:rect l="l" t="t" r="r" b="b"/>
              <a:pathLst>
                <a:path w="708025" h="582295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3230" y="408453"/>
                  </a:lnTo>
                  <a:lnTo>
                    <a:pt x="12641" y="455260"/>
                  </a:lnTo>
                  <a:lnTo>
                    <a:pt x="27811" y="499643"/>
                  </a:lnTo>
                  <a:lnTo>
                    <a:pt x="48317" y="541173"/>
                  </a:lnTo>
                  <a:lnTo>
                    <a:pt x="73739" y="579422"/>
                  </a:lnTo>
                  <a:lnTo>
                    <a:pt x="76190" y="582253"/>
                  </a:lnTo>
                  <a:lnTo>
                    <a:pt x="631605" y="582253"/>
                  </a:lnTo>
                  <a:lnTo>
                    <a:pt x="659479" y="541173"/>
                  </a:lnTo>
                  <a:lnTo>
                    <a:pt x="679985" y="499643"/>
                  </a:lnTo>
                  <a:lnTo>
                    <a:pt x="695154" y="455260"/>
                  </a:lnTo>
                  <a:lnTo>
                    <a:pt x="704565" y="408453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0">
              <a:extLst>
                <a:ext uri="{FF2B5EF4-FFF2-40B4-BE49-F238E27FC236}">
                  <a16:creationId xmlns:a16="http://schemas.microsoft.com/office/drawing/2014/main" id="{DB3AFB29-2CA1-6E61-DF86-C2BFC5F2BB0C}"/>
                </a:ext>
              </a:extLst>
            </p:cNvPr>
            <p:cNvSpPr/>
            <p:nvPr/>
          </p:nvSpPr>
          <p:spPr>
            <a:xfrm>
              <a:off x="1504163" y="4540703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1">
              <a:extLst>
                <a:ext uri="{FF2B5EF4-FFF2-40B4-BE49-F238E27FC236}">
                  <a16:creationId xmlns:a16="http://schemas.microsoft.com/office/drawing/2014/main" id="{A1D57932-C3DE-E260-FEA6-803480C75E84}"/>
                </a:ext>
              </a:extLst>
            </p:cNvPr>
            <p:cNvSpPr/>
            <p:nvPr/>
          </p:nvSpPr>
          <p:spPr>
            <a:xfrm>
              <a:off x="9598" y="4391414"/>
              <a:ext cx="1292713" cy="2464504"/>
            </a:xfrm>
            <a:custGeom>
              <a:avLst/>
              <a:gdLst/>
              <a:ahLst/>
              <a:cxnLst/>
              <a:rect l="l" t="t" r="r" b="b"/>
              <a:pathLst>
                <a:path w="1425575" h="2717800">
                  <a:moveTo>
                    <a:pt x="1036905" y="1250138"/>
                  </a:moveTo>
                  <a:lnTo>
                    <a:pt x="7697" y="1250138"/>
                  </a:lnTo>
                  <a:lnTo>
                    <a:pt x="0" y="1251693"/>
                  </a:lnTo>
                  <a:lnTo>
                    <a:pt x="0" y="1501962"/>
                  </a:lnTo>
                  <a:lnTo>
                    <a:pt x="7697" y="1503516"/>
                  </a:lnTo>
                  <a:lnTo>
                    <a:pt x="990626" y="1503516"/>
                  </a:lnTo>
                  <a:lnTo>
                    <a:pt x="972652" y="1549292"/>
                  </a:lnTo>
                  <a:lnTo>
                    <a:pt x="952724" y="1595118"/>
                  </a:lnTo>
                  <a:lnTo>
                    <a:pt x="930908" y="1640986"/>
                  </a:lnTo>
                  <a:lnTo>
                    <a:pt x="907270" y="1686883"/>
                  </a:lnTo>
                  <a:lnTo>
                    <a:pt x="881874" y="1732802"/>
                  </a:lnTo>
                  <a:lnTo>
                    <a:pt x="854786" y="1778731"/>
                  </a:lnTo>
                  <a:lnTo>
                    <a:pt x="826072" y="1824661"/>
                  </a:lnTo>
                  <a:lnTo>
                    <a:pt x="63298" y="1824661"/>
                  </a:lnTo>
                  <a:lnTo>
                    <a:pt x="13987" y="1834618"/>
                  </a:lnTo>
                  <a:lnTo>
                    <a:pt x="0" y="1844050"/>
                  </a:lnTo>
                  <a:lnTo>
                    <a:pt x="0" y="2058640"/>
                  </a:lnTo>
                  <a:lnTo>
                    <a:pt x="13987" y="2068070"/>
                  </a:lnTo>
                  <a:lnTo>
                    <a:pt x="63298" y="2078026"/>
                  </a:lnTo>
                  <a:lnTo>
                    <a:pt x="641478" y="2078026"/>
                  </a:lnTo>
                  <a:lnTo>
                    <a:pt x="610598" y="2115724"/>
                  </a:lnTo>
                  <a:lnTo>
                    <a:pt x="578977" y="2153368"/>
                  </a:lnTo>
                  <a:lnTo>
                    <a:pt x="546654" y="2190951"/>
                  </a:lnTo>
                  <a:lnTo>
                    <a:pt x="513670" y="2228468"/>
                  </a:lnTo>
                  <a:lnTo>
                    <a:pt x="480063" y="2265912"/>
                  </a:lnTo>
                  <a:lnTo>
                    <a:pt x="445873" y="2303278"/>
                  </a:lnTo>
                  <a:lnTo>
                    <a:pt x="411141" y="2340559"/>
                  </a:lnTo>
                  <a:lnTo>
                    <a:pt x="375907" y="2377749"/>
                  </a:lnTo>
                  <a:lnTo>
                    <a:pt x="340209" y="2414843"/>
                  </a:lnTo>
                  <a:lnTo>
                    <a:pt x="304089" y="2451835"/>
                  </a:lnTo>
                  <a:lnTo>
                    <a:pt x="267585" y="2488718"/>
                  </a:lnTo>
                  <a:lnTo>
                    <a:pt x="230738" y="2525486"/>
                  </a:lnTo>
                  <a:lnTo>
                    <a:pt x="193588" y="2562134"/>
                  </a:lnTo>
                  <a:lnTo>
                    <a:pt x="118536" y="2635044"/>
                  </a:lnTo>
                  <a:lnTo>
                    <a:pt x="32318" y="2717250"/>
                  </a:lnTo>
                  <a:lnTo>
                    <a:pt x="559514" y="2717250"/>
                  </a:lnTo>
                  <a:lnTo>
                    <a:pt x="608152" y="2667742"/>
                  </a:lnTo>
                  <a:lnTo>
                    <a:pt x="644609" y="2629983"/>
                  </a:lnTo>
                  <a:lnTo>
                    <a:pt x="680613" y="2592122"/>
                  </a:lnTo>
                  <a:lnTo>
                    <a:pt x="716134" y="2554156"/>
                  </a:lnTo>
                  <a:lnTo>
                    <a:pt x="751143" y="2516081"/>
                  </a:lnTo>
                  <a:lnTo>
                    <a:pt x="785608" y="2477894"/>
                  </a:lnTo>
                  <a:lnTo>
                    <a:pt x="819502" y="2439592"/>
                  </a:lnTo>
                  <a:lnTo>
                    <a:pt x="852793" y="2401172"/>
                  </a:lnTo>
                  <a:lnTo>
                    <a:pt x="885453" y="2362631"/>
                  </a:lnTo>
                  <a:lnTo>
                    <a:pt x="917450" y="2323966"/>
                  </a:lnTo>
                  <a:lnTo>
                    <a:pt x="948756" y="2285174"/>
                  </a:lnTo>
                  <a:lnTo>
                    <a:pt x="979341" y="2246251"/>
                  </a:lnTo>
                  <a:lnTo>
                    <a:pt x="1009174" y="2207195"/>
                  </a:lnTo>
                  <a:lnTo>
                    <a:pt x="1038226" y="2168003"/>
                  </a:lnTo>
                  <a:lnTo>
                    <a:pt x="1066467" y="2128671"/>
                  </a:lnTo>
                  <a:lnTo>
                    <a:pt x="1093868" y="2089196"/>
                  </a:lnTo>
                  <a:lnTo>
                    <a:pt x="1120397" y="2049575"/>
                  </a:lnTo>
                  <a:lnTo>
                    <a:pt x="1146027" y="2009806"/>
                  </a:lnTo>
                  <a:lnTo>
                    <a:pt x="1170726" y="1969884"/>
                  </a:lnTo>
                  <a:lnTo>
                    <a:pt x="1194466" y="1929807"/>
                  </a:lnTo>
                  <a:lnTo>
                    <a:pt x="1217215" y="1889572"/>
                  </a:lnTo>
                  <a:lnTo>
                    <a:pt x="1238945" y="1849176"/>
                  </a:lnTo>
                  <a:lnTo>
                    <a:pt x="1259625" y="1808615"/>
                  </a:lnTo>
                  <a:lnTo>
                    <a:pt x="1279226" y="1767887"/>
                  </a:lnTo>
                  <a:lnTo>
                    <a:pt x="1297718" y="1726988"/>
                  </a:lnTo>
                  <a:lnTo>
                    <a:pt x="1315070" y="1685916"/>
                  </a:lnTo>
                  <a:lnTo>
                    <a:pt x="1331255" y="1644667"/>
                  </a:lnTo>
                  <a:lnTo>
                    <a:pt x="1346240" y="1603237"/>
                  </a:lnTo>
                  <a:lnTo>
                    <a:pt x="1359997" y="1561625"/>
                  </a:lnTo>
                  <a:lnTo>
                    <a:pt x="1372496" y="1519827"/>
                  </a:lnTo>
                  <a:lnTo>
                    <a:pt x="1383707" y="1477840"/>
                  </a:lnTo>
                  <a:lnTo>
                    <a:pt x="1393600" y="1435660"/>
                  </a:lnTo>
                  <a:lnTo>
                    <a:pt x="1402145" y="1393285"/>
                  </a:lnTo>
                  <a:lnTo>
                    <a:pt x="1409313" y="1350711"/>
                  </a:lnTo>
                  <a:lnTo>
                    <a:pt x="1415073" y="1307936"/>
                  </a:lnTo>
                  <a:lnTo>
                    <a:pt x="1420217" y="1252323"/>
                  </a:lnTo>
                  <a:lnTo>
                    <a:pt x="1051129" y="1252323"/>
                  </a:lnTo>
                  <a:lnTo>
                    <a:pt x="1044068" y="1251103"/>
                  </a:lnTo>
                  <a:lnTo>
                    <a:pt x="1036905" y="1250138"/>
                  </a:lnTo>
                  <a:close/>
                </a:path>
                <a:path w="1425575" h="2717800">
                  <a:moveTo>
                    <a:pt x="807014" y="0"/>
                  </a:moveTo>
                  <a:lnTo>
                    <a:pt x="761364" y="10091"/>
                  </a:lnTo>
                  <a:lnTo>
                    <a:pt x="719176" y="31783"/>
                  </a:lnTo>
                  <a:lnTo>
                    <a:pt x="682867" y="64835"/>
                  </a:lnTo>
                  <a:lnTo>
                    <a:pt x="656535" y="106276"/>
                  </a:lnTo>
                  <a:lnTo>
                    <a:pt x="642490" y="151656"/>
                  </a:lnTo>
                  <a:lnTo>
                    <a:pt x="640506" y="198513"/>
                  </a:lnTo>
                  <a:lnTo>
                    <a:pt x="650359" y="244387"/>
                  </a:lnTo>
                  <a:lnTo>
                    <a:pt x="671823" y="286817"/>
                  </a:lnTo>
                  <a:lnTo>
                    <a:pt x="704673" y="323343"/>
                  </a:lnTo>
                  <a:lnTo>
                    <a:pt x="713003" y="330759"/>
                  </a:lnTo>
                  <a:lnTo>
                    <a:pt x="730114" y="347051"/>
                  </a:lnTo>
                  <a:lnTo>
                    <a:pt x="784494" y="405526"/>
                  </a:lnTo>
                  <a:lnTo>
                    <a:pt x="818671" y="447339"/>
                  </a:lnTo>
                  <a:lnTo>
                    <a:pt x="855445" y="497291"/>
                  </a:lnTo>
                  <a:lnTo>
                    <a:pt x="893269" y="555196"/>
                  </a:lnTo>
                  <a:lnTo>
                    <a:pt x="930598" y="620872"/>
                  </a:lnTo>
                  <a:lnTo>
                    <a:pt x="965887" y="694132"/>
                  </a:lnTo>
                  <a:lnTo>
                    <a:pt x="394272" y="694132"/>
                  </a:lnTo>
                  <a:lnTo>
                    <a:pt x="344967" y="704088"/>
                  </a:lnTo>
                  <a:lnTo>
                    <a:pt x="304699" y="731237"/>
                  </a:lnTo>
                  <a:lnTo>
                    <a:pt x="277547" y="771504"/>
                  </a:lnTo>
                  <a:lnTo>
                    <a:pt x="267590" y="820815"/>
                  </a:lnTo>
                  <a:lnTo>
                    <a:pt x="277547" y="870120"/>
                  </a:lnTo>
                  <a:lnTo>
                    <a:pt x="304699" y="910388"/>
                  </a:lnTo>
                  <a:lnTo>
                    <a:pt x="344967" y="937540"/>
                  </a:lnTo>
                  <a:lnTo>
                    <a:pt x="394272" y="947497"/>
                  </a:lnTo>
                  <a:lnTo>
                    <a:pt x="1042074" y="947497"/>
                  </a:lnTo>
                  <a:lnTo>
                    <a:pt x="1049074" y="994539"/>
                  </a:lnTo>
                  <a:lnTo>
                    <a:pt x="1054093" y="1043098"/>
                  </a:lnTo>
                  <a:lnTo>
                    <a:pt x="1056969" y="1093166"/>
                  </a:lnTo>
                  <a:lnTo>
                    <a:pt x="1057542" y="1144733"/>
                  </a:lnTo>
                  <a:lnTo>
                    <a:pt x="1055648" y="1197788"/>
                  </a:lnTo>
                  <a:lnTo>
                    <a:pt x="1051129" y="1252323"/>
                  </a:lnTo>
                  <a:lnTo>
                    <a:pt x="1420217" y="1252323"/>
                  </a:lnTo>
                  <a:lnTo>
                    <a:pt x="1422226" y="1230596"/>
                  </a:lnTo>
                  <a:lnTo>
                    <a:pt x="1425397" y="1155425"/>
                  </a:lnTo>
                  <a:lnTo>
                    <a:pt x="1424842" y="1082452"/>
                  </a:lnTo>
                  <a:lnTo>
                    <a:pt x="1420819" y="1011702"/>
                  </a:lnTo>
                  <a:lnTo>
                    <a:pt x="1413584" y="943204"/>
                  </a:lnTo>
                  <a:lnTo>
                    <a:pt x="1403395" y="876984"/>
                  </a:lnTo>
                  <a:lnTo>
                    <a:pt x="1390507" y="813069"/>
                  </a:lnTo>
                  <a:lnTo>
                    <a:pt x="1375179" y="751487"/>
                  </a:lnTo>
                  <a:lnTo>
                    <a:pt x="1357668" y="692264"/>
                  </a:lnTo>
                  <a:lnTo>
                    <a:pt x="1338229" y="635429"/>
                  </a:lnTo>
                  <a:lnTo>
                    <a:pt x="1317120" y="581007"/>
                  </a:lnTo>
                  <a:lnTo>
                    <a:pt x="1294599" y="529026"/>
                  </a:lnTo>
                  <a:lnTo>
                    <a:pt x="1270922" y="479514"/>
                  </a:lnTo>
                  <a:lnTo>
                    <a:pt x="1246346" y="432497"/>
                  </a:lnTo>
                  <a:lnTo>
                    <a:pt x="1221128" y="388002"/>
                  </a:lnTo>
                  <a:lnTo>
                    <a:pt x="1195525" y="346057"/>
                  </a:lnTo>
                  <a:lnTo>
                    <a:pt x="1169794" y="306688"/>
                  </a:lnTo>
                  <a:lnTo>
                    <a:pt x="1144192" y="269924"/>
                  </a:lnTo>
                  <a:lnTo>
                    <a:pt x="1118976" y="235790"/>
                  </a:lnTo>
                  <a:lnTo>
                    <a:pt x="1094403" y="204314"/>
                  </a:lnTo>
                  <a:lnTo>
                    <a:pt x="1048213" y="149446"/>
                  </a:lnTo>
                  <a:lnTo>
                    <a:pt x="1007678" y="105535"/>
                  </a:lnTo>
                  <a:lnTo>
                    <a:pt x="974854" y="72800"/>
                  </a:lnTo>
                  <a:lnTo>
                    <a:pt x="944574" y="45123"/>
                  </a:lnTo>
                  <a:lnTo>
                    <a:pt x="899031" y="15575"/>
                  </a:lnTo>
                  <a:lnTo>
                    <a:pt x="853709" y="1748"/>
                  </a:lnTo>
                  <a:lnTo>
                    <a:pt x="80701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2CD8E40-DA3B-E886-2C97-906DA16B7D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Quicksand" pitchFamily="2" charset="0"/>
              </a:defRPr>
            </a:lvl1pPr>
            <a:lvl2pPr marL="182563" indent="-182563"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Quicksand" pitchFamily="2" charset="0"/>
              </a:defRPr>
            </a:lvl2pPr>
            <a:lvl3pPr marL="684000" indent="-182563">
              <a:buClr>
                <a:schemeClr val="tx2"/>
              </a:buClr>
              <a:buFont typeface="System Font Regular"/>
              <a:buChar char="-"/>
              <a:defRPr>
                <a:solidFill>
                  <a:schemeClr val="bg1"/>
                </a:solidFill>
                <a:latin typeface="Quicksand" pitchFamily="2" charset="0"/>
              </a:defRPr>
            </a:lvl3pPr>
            <a:lvl4pPr marL="1368000" indent="-182563"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Quicksand" pitchFamily="2" charset="0"/>
              </a:defRPr>
            </a:lvl4pPr>
            <a:lvl5pPr marL="2052000" indent="-182563">
              <a:buClr>
                <a:schemeClr val="tx2"/>
              </a:buClr>
              <a:buFont typeface="System Font Regular"/>
              <a:buChar char="-"/>
              <a:defRPr>
                <a:solidFill>
                  <a:schemeClr val="bg1"/>
                </a:solidFill>
                <a:latin typeface="Quicksan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473510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Ne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B044399D-0912-D593-C0A7-709DB4E472C3}"/>
              </a:ext>
            </a:extLst>
          </p:cNvPr>
          <p:cNvSpPr/>
          <p:nvPr userDrawn="1"/>
        </p:nvSpPr>
        <p:spPr>
          <a:xfrm>
            <a:off x="8454618" y="-21266"/>
            <a:ext cx="4391193" cy="4363554"/>
          </a:xfrm>
          <a:custGeom>
            <a:avLst/>
            <a:gdLst/>
            <a:ahLst/>
            <a:cxnLst/>
            <a:rect l="l" t="t" r="r" b="b"/>
            <a:pathLst>
              <a:path w="4842509" h="4812030">
                <a:moveTo>
                  <a:pt x="747268" y="1291882"/>
                </a:moveTo>
                <a:lnTo>
                  <a:pt x="744347" y="1244257"/>
                </a:lnTo>
                <a:lnTo>
                  <a:pt x="735850" y="1198397"/>
                </a:lnTo>
                <a:lnTo>
                  <a:pt x="722109" y="1154645"/>
                </a:lnTo>
                <a:lnTo>
                  <a:pt x="703478" y="1113383"/>
                </a:lnTo>
                <a:lnTo>
                  <a:pt x="680313" y="1074953"/>
                </a:lnTo>
                <a:lnTo>
                  <a:pt x="652957" y="1039710"/>
                </a:lnTo>
                <a:lnTo>
                  <a:pt x="621766" y="1008011"/>
                </a:lnTo>
                <a:lnTo>
                  <a:pt x="587095" y="980211"/>
                </a:lnTo>
                <a:lnTo>
                  <a:pt x="549275" y="956665"/>
                </a:lnTo>
                <a:lnTo>
                  <a:pt x="508673" y="937742"/>
                </a:lnTo>
                <a:lnTo>
                  <a:pt x="465620" y="923772"/>
                </a:lnTo>
                <a:lnTo>
                  <a:pt x="420497" y="915136"/>
                </a:lnTo>
                <a:lnTo>
                  <a:pt x="373634" y="912177"/>
                </a:lnTo>
                <a:lnTo>
                  <a:pt x="326758" y="915136"/>
                </a:lnTo>
                <a:lnTo>
                  <a:pt x="281635" y="923772"/>
                </a:lnTo>
                <a:lnTo>
                  <a:pt x="238582" y="937742"/>
                </a:lnTo>
                <a:lnTo>
                  <a:pt x="197980" y="956665"/>
                </a:lnTo>
                <a:lnTo>
                  <a:pt x="160159" y="980211"/>
                </a:lnTo>
                <a:lnTo>
                  <a:pt x="125488" y="1008011"/>
                </a:lnTo>
                <a:lnTo>
                  <a:pt x="94297" y="1039710"/>
                </a:lnTo>
                <a:lnTo>
                  <a:pt x="66941" y="1074953"/>
                </a:lnTo>
                <a:lnTo>
                  <a:pt x="43776" y="1113383"/>
                </a:lnTo>
                <a:lnTo>
                  <a:pt x="25146" y="1154645"/>
                </a:lnTo>
                <a:lnTo>
                  <a:pt x="11404" y="1198397"/>
                </a:lnTo>
                <a:lnTo>
                  <a:pt x="2908" y="1244257"/>
                </a:lnTo>
                <a:lnTo>
                  <a:pt x="0" y="1291882"/>
                </a:lnTo>
                <a:lnTo>
                  <a:pt x="2908" y="1339519"/>
                </a:lnTo>
                <a:lnTo>
                  <a:pt x="11404" y="1385379"/>
                </a:lnTo>
                <a:lnTo>
                  <a:pt x="25146" y="1429131"/>
                </a:lnTo>
                <a:lnTo>
                  <a:pt x="43776" y="1470393"/>
                </a:lnTo>
                <a:lnTo>
                  <a:pt x="66941" y="1508823"/>
                </a:lnTo>
                <a:lnTo>
                  <a:pt x="94297" y="1544066"/>
                </a:lnTo>
                <a:lnTo>
                  <a:pt x="125488" y="1575765"/>
                </a:lnTo>
                <a:lnTo>
                  <a:pt x="160159" y="1603565"/>
                </a:lnTo>
                <a:lnTo>
                  <a:pt x="197980" y="1627111"/>
                </a:lnTo>
                <a:lnTo>
                  <a:pt x="238582" y="1646047"/>
                </a:lnTo>
                <a:lnTo>
                  <a:pt x="281635" y="1660004"/>
                </a:lnTo>
                <a:lnTo>
                  <a:pt x="326758" y="1668640"/>
                </a:lnTo>
                <a:lnTo>
                  <a:pt x="373634" y="1671599"/>
                </a:lnTo>
                <a:lnTo>
                  <a:pt x="420497" y="1668640"/>
                </a:lnTo>
                <a:lnTo>
                  <a:pt x="465620" y="1660004"/>
                </a:lnTo>
                <a:lnTo>
                  <a:pt x="508673" y="1646047"/>
                </a:lnTo>
                <a:lnTo>
                  <a:pt x="549275" y="1627111"/>
                </a:lnTo>
                <a:lnTo>
                  <a:pt x="587095" y="1603565"/>
                </a:lnTo>
                <a:lnTo>
                  <a:pt x="621766" y="1575765"/>
                </a:lnTo>
                <a:lnTo>
                  <a:pt x="652957" y="1544066"/>
                </a:lnTo>
                <a:lnTo>
                  <a:pt x="680313" y="1508823"/>
                </a:lnTo>
                <a:lnTo>
                  <a:pt x="703478" y="1470393"/>
                </a:lnTo>
                <a:lnTo>
                  <a:pt x="722109" y="1429131"/>
                </a:lnTo>
                <a:lnTo>
                  <a:pt x="735850" y="1385379"/>
                </a:lnTo>
                <a:lnTo>
                  <a:pt x="744347" y="1339519"/>
                </a:lnTo>
                <a:lnTo>
                  <a:pt x="747268" y="1291882"/>
                </a:lnTo>
                <a:close/>
              </a:path>
              <a:path w="4842509" h="4812030">
                <a:moveTo>
                  <a:pt x="1038237" y="2275001"/>
                </a:moveTo>
                <a:lnTo>
                  <a:pt x="1033195" y="2230450"/>
                </a:lnTo>
                <a:lnTo>
                  <a:pt x="1018806" y="2189556"/>
                </a:lnTo>
                <a:lnTo>
                  <a:pt x="996238" y="2153475"/>
                </a:lnTo>
                <a:lnTo>
                  <a:pt x="966635" y="2123389"/>
                </a:lnTo>
                <a:lnTo>
                  <a:pt x="931125" y="2100453"/>
                </a:lnTo>
                <a:lnTo>
                  <a:pt x="890879" y="2085835"/>
                </a:lnTo>
                <a:lnTo>
                  <a:pt x="847039" y="2080691"/>
                </a:lnTo>
                <a:lnTo>
                  <a:pt x="803198" y="2085835"/>
                </a:lnTo>
                <a:lnTo>
                  <a:pt x="762952" y="2100453"/>
                </a:lnTo>
                <a:lnTo>
                  <a:pt x="727456" y="2123389"/>
                </a:lnTo>
                <a:lnTo>
                  <a:pt x="697852" y="2153475"/>
                </a:lnTo>
                <a:lnTo>
                  <a:pt x="675284" y="2189556"/>
                </a:lnTo>
                <a:lnTo>
                  <a:pt x="660895" y="2230450"/>
                </a:lnTo>
                <a:lnTo>
                  <a:pt x="655840" y="2275001"/>
                </a:lnTo>
                <a:lnTo>
                  <a:pt x="660895" y="2319566"/>
                </a:lnTo>
                <a:lnTo>
                  <a:pt x="675284" y="2360460"/>
                </a:lnTo>
                <a:lnTo>
                  <a:pt x="697852" y="2396540"/>
                </a:lnTo>
                <a:lnTo>
                  <a:pt x="727456" y="2426627"/>
                </a:lnTo>
                <a:lnTo>
                  <a:pt x="762952" y="2449563"/>
                </a:lnTo>
                <a:lnTo>
                  <a:pt x="803198" y="2464181"/>
                </a:lnTo>
                <a:lnTo>
                  <a:pt x="847039" y="2469311"/>
                </a:lnTo>
                <a:lnTo>
                  <a:pt x="890879" y="2464181"/>
                </a:lnTo>
                <a:lnTo>
                  <a:pt x="931125" y="2449563"/>
                </a:lnTo>
                <a:lnTo>
                  <a:pt x="966635" y="2426627"/>
                </a:lnTo>
                <a:lnTo>
                  <a:pt x="996238" y="2396540"/>
                </a:lnTo>
                <a:lnTo>
                  <a:pt x="1018806" y="2360460"/>
                </a:lnTo>
                <a:lnTo>
                  <a:pt x="1033195" y="2319566"/>
                </a:lnTo>
                <a:lnTo>
                  <a:pt x="1038237" y="2275001"/>
                </a:lnTo>
                <a:close/>
              </a:path>
              <a:path w="4842509" h="4812030">
                <a:moveTo>
                  <a:pt x="1353693" y="205016"/>
                </a:moveTo>
                <a:lnTo>
                  <a:pt x="1349044" y="158140"/>
                </a:lnTo>
                <a:lnTo>
                  <a:pt x="1335709" y="114490"/>
                </a:lnTo>
                <a:lnTo>
                  <a:pt x="1314615" y="74993"/>
                </a:lnTo>
                <a:lnTo>
                  <a:pt x="1286675" y="40576"/>
                </a:lnTo>
                <a:lnTo>
                  <a:pt x="1252804" y="12179"/>
                </a:lnTo>
                <a:lnTo>
                  <a:pt x="1230744" y="12"/>
                </a:lnTo>
                <a:lnTo>
                  <a:pt x="1018984" y="12"/>
                </a:lnTo>
                <a:lnTo>
                  <a:pt x="963053" y="40576"/>
                </a:lnTo>
                <a:lnTo>
                  <a:pt x="935113" y="74993"/>
                </a:lnTo>
                <a:lnTo>
                  <a:pt x="914019" y="114490"/>
                </a:lnTo>
                <a:lnTo>
                  <a:pt x="900684" y="158140"/>
                </a:lnTo>
                <a:lnTo>
                  <a:pt x="896035" y="205016"/>
                </a:lnTo>
                <a:lnTo>
                  <a:pt x="900684" y="251879"/>
                </a:lnTo>
                <a:lnTo>
                  <a:pt x="914019" y="295529"/>
                </a:lnTo>
                <a:lnTo>
                  <a:pt x="935113" y="335038"/>
                </a:lnTo>
                <a:lnTo>
                  <a:pt x="963053" y="369443"/>
                </a:lnTo>
                <a:lnTo>
                  <a:pt x="996924" y="397840"/>
                </a:lnTo>
                <a:lnTo>
                  <a:pt x="1035799" y="419290"/>
                </a:lnTo>
                <a:lnTo>
                  <a:pt x="1078750" y="432841"/>
                </a:lnTo>
                <a:lnTo>
                  <a:pt x="1124864" y="437565"/>
                </a:lnTo>
                <a:lnTo>
                  <a:pt x="1170978" y="432841"/>
                </a:lnTo>
                <a:lnTo>
                  <a:pt x="1213929" y="419290"/>
                </a:lnTo>
                <a:lnTo>
                  <a:pt x="1252804" y="397840"/>
                </a:lnTo>
                <a:lnTo>
                  <a:pt x="1286675" y="369443"/>
                </a:lnTo>
                <a:lnTo>
                  <a:pt x="1314615" y="335038"/>
                </a:lnTo>
                <a:lnTo>
                  <a:pt x="1335709" y="295529"/>
                </a:lnTo>
                <a:lnTo>
                  <a:pt x="1349044" y="251879"/>
                </a:lnTo>
                <a:lnTo>
                  <a:pt x="1353693" y="205016"/>
                </a:lnTo>
                <a:close/>
              </a:path>
              <a:path w="4842509" h="4812030">
                <a:moveTo>
                  <a:pt x="2336165" y="3331895"/>
                </a:moveTo>
                <a:lnTo>
                  <a:pt x="2331415" y="3284131"/>
                </a:lnTo>
                <a:lnTo>
                  <a:pt x="2317826" y="3239643"/>
                </a:lnTo>
                <a:lnTo>
                  <a:pt x="2296325" y="3199384"/>
                </a:lnTo>
                <a:lnTo>
                  <a:pt x="2267851" y="3164319"/>
                </a:lnTo>
                <a:lnTo>
                  <a:pt x="2233333" y="3135376"/>
                </a:lnTo>
                <a:lnTo>
                  <a:pt x="2193721" y="3113519"/>
                </a:lnTo>
                <a:lnTo>
                  <a:pt x="2149945" y="3099714"/>
                </a:lnTo>
                <a:lnTo>
                  <a:pt x="2102954" y="3094901"/>
                </a:lnTo>
                <a:lnTo>
                  <a:pt x="2055952" y="3099714"/>
                </a:lnTo>
                <a:lnTo>
                  <a:pt x="2012175" y="3113519"/>
                </a:lnTo>
                <a:lnTo>
                  <a:pt x="1972564" y="3135376"/>
                </a:lnTo>
                <a:lnTo>
                  <a:pt x="1938058" y="3164319"/>
                </a:lnTo>
                <a:lnTo>
                  <a:pt x="1909572" y="3199384"/>
                </a:lnTo>
                <a:lnTo>
                  <a:pt x="1888070" y="3239643"/>
                </a:lnTo>
                <a:lnTo>
                  <a:pt x="1874494" y="3284131"/>
                </a:lnTo>
                <a:lnTo>
                  <a:pt x="1869757" y="3331895"/>
                </a:lnTo>
                <a:lnTo>
                  <a:pt x="1874494" y="3379660"/>
                </a:lnTo>
                <a:lnTo>
                  <a:pt x="1888070" y="3424148"/>
                </a:lnTo>
                <a:lnTo>
                  <a:pt x="1909572" y="3464407"/>
                </a:lnTo>
                <a:lnTo>
                  <a:pt x="1938058" y="3499485"/>
                </a:lnTo>
                <a:lnTo>
                  <a:pt x="1972564" y="3528428"/>
                </a:lnTo>
                <a:lnTo>
                  <a:pt x="2012175" y="3550272"/>
                </a:lnTo>
                <a:lnTo>
                  <a:pt x="2055952" y="3564090"/>
                </a:lnTo>
                <a:lnTo>
                  <a:pt x="2102954" y="3568903"/>
                </a:lnTo>
                <a:lnTo>
                  <a:pt x="2149945" y="3564090"/>
                </a:lnTo>
                <a:lnTo>
                  <a:pt x="2193721" y="3550272"/>
                </a:lnTo>
                <a:lnTo>
                  <a:pt x="2233333" y="3528428"/>
                </a:lnTo>
                <a:lnTo>
                  <a:pt x="2267851" y="3499485"/>
                </a:lnTo>
                <a:lnTo>
                  <a:pt x="2296325" y="3464407"/>
                </a:lnTo>
                <a:lnTo>
                  <a:pt x="2317826" y="3424148"/>
                </a:lnTo>
                <a:lnTo>
                  <a:pt x="2331415" y="3379660"/>
                </a:lnTo>
                <a:lnTo>
                  <a:pt x="2336165" y="3331895"/>
                </a:lnTo>
                <a:close/>
              </a:path>
              <a:path w="4842509" h="4812030">
                <a:moveTo>
                  <a:pt x="2815031" y="1458963"/>
                </a:moveTo>
                <a:lnTo>
                  <a:pt x="2805074" y="1409661"/>
                </a:lnTo>
                <a:lnTo>
                  <a:pt x="2777921" y="1369390"/>
                </a:lnTo>
                <a:lnTo>
                  <a:pt x="2737650" y="1342237"/>
                </a:lnTo>
                <a:lnTo>
                  <a:pt x="2688348" y="1332280"/>
                </a:lnTo>
                <a:lnTo>
                  <a:pt x="1587842" y="1332280"/>
                </a:lnTo>
                <a:lnTo>
                  <a:pt x="1594739" y="1302042"/>
                </a:lnTo>
                <a:lnTo>
                  <a:pt x="1611210" y="1240929"/>
                </a:lnTo>
                <a:lnTo>
                  <a:pt x="1635810" y="1170025"/>
                </a:lnTo>
                <a:lnTo>
                  <a:pt x="1653717" y="1129347"/>
                </a:lnTo>
                <a:lnTo>
                  <a:pt x="1674545" y="1088034"/>
                </a:lnTo>
                <a:lnTo>
                  <a:pt x="1698117" y="1046111"/>
                </a:lnTo>
                <a:lnTo>
                  <a:pt x="1724279" y="1003617"/>
                </a:lnTo>
                <a:lnTo>
                  <a:pt x="1724837" y="1003617"/>
                </a:lnTo>
                <a:lnTo>
                  <a:pt x="1725358" y="1003782"/>
                </a:lnTo>
                <a:lnTo>
                  <a:pt x="2587726" y="1003782"/>
                </a:lnTo>
                <a:lnTo>
                  <a:pt x="2588539" y="1003617"/>
                </a:lnTo>
                <a:lnTo>
                  <a:pt x="2637028" y="993825"/>
                </a:lnTo>
                <a:lnTo>
                  <a:pt x="2677299" y="966673"/>
                </a:lnTo>
                <a:lnTo>
                  <a:pt x="2704452" y="926414"/>
                </a:lnTo>
                <a:lnTo>
                  <a:pt x="2714409" y="877100"/>
                </a:lnTo>
                <a:lnTo>
                  <a:pt x="2704452" y="827798"/>
                </a:lnTo>
                <a:lnTo>
                  <a:pt x="2677299" y="787527"/>
                </a:lnTo>
                <a:lnTo>
                  <a:pt x="2637028" y="760374"/>
                </a:lnTo>
                <a:lnTo>
                  <a:pt x="2587726" y="750417"/>
                </a:lnTo>
                <a:lnTo>
                  <a:pt x="1918449" y="750417"/>
                </a:lnTo>
                <a:lnTo>
                  <a:pt x="1948662" y="716330"/>
                </a:lnTo>
                <a:lnTo>
                  <a:pt x="1979866" y="681990"/>
                </a:lnTo>
                <a:lnTo>
                  <a:pt x="2012010" y="647395"/>
                </a:lnTo>
                <a:lnTo>
                  <a:pt x="2045055" y="612559"/>
                </a:lnTo>
                <a:lnTo>
                  <a:pt x="2078926" y="577494"/>
                </a:lnTo>
                <a:lnTo>
                  <a:pt x="2113610" y="542213"/>
                </a:lnTo>
                <a:lnTo>
                  <a:pt x="2149030" y="506704"/>
                </a:lnTo>
                <a:lnTo>
                  <a:pt x="2185162" y="470992"/>
                </a:lnTo>
                <a:lnTo>
                  <a:pt x="2221954" y="435076"/>
                </a:lnTo>
                <a:lnTo>
                  <a:pt x="2297303" y="362648"/>
                </a:lnTo>
                <a:lnTo>
                  <a:pt x="2414079" y="252666"/>
                </a:lnTo>
                <a:lnTo>
                  <a:pt x="2687383" y="12"/>
                </a:lnTo>
                <a:lnTo>
                  <a:pt x="2146401" y="12"/>
                </a:lnTo>
                <a:lnTo>
                  <a:pt x="2069376" y="72491"/>
                </a:lnTo>
                <a:lnTo>
                  <a:pt x="1987892" y="150406"/>
                </a:lnTo>
                <a:lnTo>
                  <a:pt x="1947964" y="189191"/>
                </a:lnTo>
                <a:lnTo>
                  <a:pt x="1908632" y="227888"/>
                </a:lnTo>
                <a:lnTo>
                  <a:pt x="1869922" y="266471"/>
                </a:lnTo>
                <a:lnTo>
                  <a:pt x="1831911" y="304952"/>
                </a:lnTo>
                <a:lnTo>
                  <a:pt x="1794637" y="343331"/>
                </a:lnTo>
                <a:lnTo>
                  <a:pt x="1758124" y="381622"/>
                </a:lnTo>
                <a:lnTo>
                  <a:pt x="1722450" y="419811"/>
                </a:lnTo>
                <a:lnTo>
                  <a:pt x="1687626" y="457911"/>
                </a:lnTo>
                <a:lnTo>
                  <a:pt x="1653730" y="495922"/>
                </a:lnTo>
                <a:lnTo>
                  <a:pt x="1620786" y="533844"/>
                </a:lnTo>
                <a:lnTo>
                  <a:pt x="1588846" y="571690"/>
                </a:lnTo>
                <a:lnTo>
                  <a:pt x="1557959" y="609447"/>
                </a:lnTo>
                <a:lnTo>
                  <a:pt x="1528152" y="647115"/>
                </a:lnTo>
                <a:lnTo>
                  <a:pt x="1499501" y="684720"/>
                </a:lnTo>
                <a:lnTo>
                  <a:pt x="1472018" y="722249"/>
                </a:lnTo>
                <a:lnTo>
                  <a:pt x="1445780" y="759701"/>
                </a:lnTo>
                <a:lnTo>
                  <a:pt x="1420812" y="797077"/>
                </a:lnTo>
                <a:lnTo>
                  <a:pt x="1397165" y="834390"/>
                </a:lnTo>
                <a:lnTo>
                  <a:pt x="1374889" y="871639"/>
                </a:lnTo>
                <a:lnTo>
                  <a:pt x="1354023" y="908824"/>
                </a:lnTo>
                <a:lnTo>
                  <a:pt x="1334604" y="945946"/>
                </a:lnTo>
                <a:lnTo>
                  <a:pt x="1316697" y="983018"/>
                </a:lnTo>
                <a:lnTo>
                  <a:pt x="1300340" y="1020025"/>
                </a:lnTo>
                <a:lnTo>
                  <a:pt x="1285570" y="1056982"/>
                </a:lnTo>
                <a:lnTo>
                  <a:pt x="1272451" y="1093889"/>
                </a:lnTo>
                <a:lnTo>
                  <a:pt x="1251242" y="1162659"/>
                </a:lnTo>
                <a:lnTo>
                  <a:pt x="1233639" y="1230528"/>
                </a:lnTo>
                <a:lnTo>
                  <a:pt x="1219492" y="1297495"/>
                </a:lnTo>
                <a:lnTo>
                  <a:pt x="1208646" y="1363497"/>
                </a:lnTo>
                <a:lnTo>
                  <a:pt x="1200962" y="1428521"/>
                </a:lnTo>
                <a:lnTo>
                  <a:pt x="1196276" y="1492504"/>
                </a:lnTo>
                <a:lnTo>
                  <a:pt x="1194447" y="1555432"/>
                </a:lnTo>
                <a:lnTo>
                  <a:pt x="1195324" y="1617268"/>
                </a:lnTo>
                <a:lnTo>
                  <a:pt x="1198753" y="1677974"/>
                </a:lnTo>
                <a:lnTo>
                  <a:pt x="1204595" y="1737499"/>
                </a:lnTo>
                <a:lnTo>
                  <a:pt x="1212684" y="1795830"/>
                </a:lnTo>
                <a:lnTo>
                  <a:pt x="1222870" y="1852930"/>
                </a:lnTo>
                <a:lnTo>
                  <a:pt x="1235024" y="1908746"/>
                </a:lnTo>
                <a:lnTo>
                  <a:pt x="1248981" y="1963242"/>
                </a:lnTo>
                <a:lnTo>
                  <a:pt x="1264589" y="2016404"/>
                </a:lnTo>
                <a:lnTo>
                  <a:pt x="1281709" y="2068182"/>
                </a:lnTo>
                <a:lnTo>
                  <a:pt x="1300175" y="2118537"/>
                </a:lnTo>
                <a:lnTo>
                  <a:pt x="1319860" y="2167445"/>
                </a:lnTo>
                <a:lnTo>
                  <a:pt x="1340586" y="2214854"/>
                </a:lnTo>
                <a:lnTo>
                  <a:pt x="1362227" y="2260752"/>
                </a:lnTo>
                <a:lnTo>
                  <a:pt x="1384617" y="2305075"/>
                </a:lnTo>
                <a:lnTo>
                  <a:pt x="1407617" y="2347811"/>
                </a:lnTo>
                <a:lnTo>
                  <a:pt x="1431074" y="2388920"/>
                </a:lnTo>
                <a:lnTo>
                  <a:pt x="1454835" y="2428354"/>
                </a:lnTo>
                <a:lnTo>
                  <a:pt x="1478749" y="2466086"/>
                </a:lnTo>
                <a:lnTo>
                  <a:pt x="1502676" y="2502077"/>
                </a:lnTo>
                <a:lnTo>
                  <a:pt x="1526451" y="2536291"/>
                </a:lnTo>
                <a:lnTo>
                  <a:pt x="1549946" y="2568702"/>
                </a:lnTo>
                <a:lnTo>
                  <a:pt x="1572983" y="2599271"/>
                </a:lnTo>
                <a:lnTo>
                  <a:pt x="1617141" y="2654719"/>
                </a:lnTo>
                <a:lnTo>
                  <a:pt x="1657718" y="2702344"/>
                </a:lnTo>
                <a:lnTo>
                  <a:pt x="1693532" y="2741879"/>
                </a:lnTo>
                <a:lnTo>
                  <a:pt x="1723364" y="2773045"/>
                </a:lnTo>
                <a:lnTo>
                  <a:pt x="1754289" y="2803436"/>
                </a:lnTo>
                <a:lnTo>
                  <a:pt x="1791779" y="2833128"/>
                </a:lnTo>
                <a:lnTo>
                  <a:pt x="1853996" y="2856725"/>
                </a:lnTo>
                <a:lnTo>
                  <a:pt x="1886724" y="2859659"/>
                </a:lnTo>
                <a:lnTo>
                  <a:pt x="1923973" y="2855861"/>
                </a:lnTo>
                <a:lnTo>
                  <a:pt x="1993277" y="2825635"/>
                </a:lnTo>
                <a:lnTo>
                  <a:pt x="2022830" y="2799372"/>
                </a:lnTo>
                <a:lnTo>
                  <a:pt x="2050745" y="2758884"/>
                </a:lnTo>
                <a:lnTo>
                  <a:pt x="2066505" y="2714015"/>
                </a:lnTo>
                <a:lnTo>
                  <a:pt x="2070239" y="2667228"/>
                </a:lnTo>
                <a:lnTo>
                  <a:pt x="2062073" y="2621000"/>
                </a:lnTo>
                <a:lnTo>
                  <a:pt x="2042134" y="2577782"/>
                </a:lnTo>
                <a:lnTo>
                  <a:pt x="2010562" y="2540063"/>
                </a:lnTo>
                <a:lnTo>
                  <a:pt x="2002307" y="2532316"/>
                </a:lnTo>
                <a:lnTo>
                  <a:pt x="1986203" y="2516479"/>
                </a:lnTo>
                <a:lnTo>
                  <a:pt x="1934933" y="2461717"/>
                </a:lnTo>
                <a:lnTo>
                  <a:pt x="1902015" y="2423401"/>
                </a:lnTo>
                <a:lnTo>
                  <a:pt x="1865718" y="2378151"/>
                </a:lnTo>
                <a:lnTo>
                  <a:pt x="1827174" y="2326297"/>
                </a:lnTo>
                <a:lnTo>
                  <a:pt x="1787486" y="2268118"/>
                </a:lnTo>
                <a:lnTo>
                  <a:pt x="1747786" y="2203907"/>
                </a:lnTo>
                <a:lnTo>
                  <a:pt x="1709204" y="2133955"/>
                </a:lnTo>
                <a:lnTo>
                  <a:pt x="2085060" y="2133955"/>
                </a:lnTo>
                <a:lnTo>
                  <a:pt x="2134362" y="2123998"/>
                </a:lnTo>
                <a:lnTo>
                  <a:pt x="2174633" y="2096846"/>
                </a:lnTo>
                <a:lnTo>
                  <a:pt x="2201786" y="2056587"/>
                </a:lnTo>
                <a:lnTo>
                  <a:pt x="2211743" y="2007273"/>
                </a:lnTo>
                <a:lnTo>
                  <a:pt x="2201786" y="1957971"/>
                </a:lnTo>
                <a:lnTo>
                  <a:pt x="2174633" y="1917700"/>
                </a:lnTo>
                <a:lnTo>
                  <a:pt x="2134362" y="1890547"/>
                </a:lnTo>
                <a:lnTo>
                  <a:pt x="2085060" y="1880590"/>
                </a:lnTo>
                <a:lnTo>
                  <a:pt x="1607959" y="1880590"/>
                </a:lnTo>
                <a:lnTo>
                  <a:pt x="1595729" y="1834248"/>
                </a:lnTo>
                <a:lnTo>
                  <a:pt x="1585214" y="1786712"/>
                </a:lnTo>
                <a:lnTo>
                  <a:pt x="1576565" y="1738058"/>
                </a:lnTo>
                <a:lnTo>
                  <a:pt x="1569910" y="1688299"/>
                </a:lnTo>
                <a:lnTo>
                  <a:pt x="1565402" y="1637487"/>
                </a:lnTo>
                <a:lnTo>
                  <a:pt x="1563192" y="1585645"/>
                </a:lnTo>
                <a:lnTo>
                  <a:pt x="2688348" y="1585645"/>
                </a:lnTo>
                <a:lnTo>
                  <a:pt x="2737650" y="1575689"/>
                </a:lnTo>
                <a:lnTo>
                  <a:pt x="2777921" y="1548549"/>
                </a:lnTo>
                <a:lnTo>
                  <a:pt x="2805074" y="1508277"/>
                </a:lnTo>
                <a:lnTo>
                  <a:pt x="2815031" y="1458963"/>
                </a:lnTo>
                <a:close/>
              </a:path>
              <a:path w="4842509" h="4812030">
                <a:moveTo>
                  <a:pt x="3022498" y="2007273"/>
                </a:moveTo>
                <a:lnTo>
                  <a:pt x="3012541" y="1957959"/>
                </a:lnTo>
                <a:lnTo>
                  <a:pt x="2985389" y="1917700"/>
                </a:lnTo>
                <a:lnTo>
                  <a:pt x="2945130" y="1890547"/>
                </a:lnTo>
                <a:lnTo>
                  <a:pt x="2895816" y="1880590"/>
                </a:lnTo>
                <a:lnTo>
                  <a:pt x="2492959" y="1880590"/>
                </a:lnTo>
                <a:lnTo>
                  <a:pt x="2443645" y="1890547"/>
                </a:lnTo>
                <a:lnTo>
                  <a:pt x="2403373" y="1917700"/>
                </a:lnTo>
                <a:lnTo>
                  <a:pt x="2376220" y="1957959"/>
                </a:lnTo>
                <a:lnTo>
                  <a:pt x="2366264" y="2007273"/>
                </a:lnTo>
                <a:lnTo>
                  <a:pt x="2376220" y="2056587"/>
                </a:lnTo>
                <a:lnTo>
                  <a:pt x="2403373" y="2096846"/>
                </a:lnTo>
                <a:lnTo>
                  <a:pt x="2443645" y="2123998"/>
                </a:lnTo>
                <a:lnTo>
                  <a:pt x="2492959" y="2133955"/>
                </a:lnTo>
                <a:lnTo>
                  <a:pt x="2895816" y="2133955"/>
                </a:lnTo>
                <a:lnTo>
                  <a:pt x="2945130" y="2123998"/>
                </a:lnTo>
                <a:lnTo>
                  <a:pt x="2985389" y="2096846"/>
                </a:lnTo>
                <a:lnTo>
                  <a:pt x="3012541" y="2056587"/>
                </a:lnTo>
                <a:lnTo>
                  <a:pt x="3022498" y="2007273"/>
                </a:lnTo>
                <a:close/>
              </a:path>
              <a:path w="4842509" h="4812030">
                <a:moveTo>
                  <a:pt x="3290455" y="869467"/>
                </a:moveTo>
                <a:lnTo>
                  <a:pt x="3285413" y="824915"/>
                </a:lnTo>
                <a:lnTo>
                  <a:pt x="3271024" y="784021"/>
                </a:lnTo>
                <a:lnTo>
                  <a:pt x="3248456" y="747941"/>
                </a:lnTo>
                <a:lnTo>
                  <a:pt x="3218853" y="717854"/>
                </a:lnTo>
                <a:lnTo>
                  <a:pt x="3183344" y="694918"/>
                </a:lnTo>
                <a:lnTo>
                  <a:pt x="3143097" y="680300"/>
                </a:lnTo>
                <a:lnTo>
                  <a:pt x="3099257" y="675170"/>
                </a:lnTo>
                <a:lnTo>
                  <a:pt x="3055429" y="680300"/>
                </a:lnTo>
                <a:lnTo>
                  <a:pt x="3015183" y="694918"/>
                </a:lnTo>
                <a:lnTo>
                  <a:pt x="2979674" y="717854"/>
                </a:lnTo>
                <a:lnTo>
                  <a:pt x="2950070" y="747941"/>
                </a:lnTo>
                <a:lnTo>
                  <a:pt x="2927502" y="784021"/>
                </a:lnTo>
                <a:lnTo>
                  <a:pt x="2913113" y="824915"/>
                </a:lnTo>
                <a:lnTo>
                  <a:pt x="2908058" y="869467"/>
                </a:lnTo>
                <a:lnTo>
                  <a:pt x="2913113" y="914019"/>
                </a:lnTo>
                <a:lnTo>
                  <a:pt x="2927502" y="954925"/>
                </a:lnTo>
                <a:lnTo>
                  <a:pt x="2950070" y="990993"/>
                </a:lnTo>
                <a:lnTo>
                  <a:pt x="2979674" y="1021092"/>
                </a:lnTo>
                <a:lnTo>
                  <a:pt x="3015183" y="1044028"/>
                </a:lnTo>
                <a:lnTo>
                  <a:pt x="3055429" y="1058646"/>
                </a:lnTo>
                <a:lnTo>
                  <a:pt x="3099257" y="1063777"/>
                </a:lnTo>
                <a:lnTo>
                  <a:pt x="3143097" y="1058646"/>
                </a:lnTo>
                <a:lnTo>
                  <a:pt x="3183344" y="1044028"/>
                </a:lnTo>
                <a:lnTo>
                  <a:pt x="3218853" y="1021092"/>
                </a:lnTo>
                <a:lnTo>
                  <a:pt x="3248456" y="990993"/>
                </a:lnTo>
                <a:lnTo>
                  <a:pt x="3271024" y="954925"/>
                </a:lnTo>
                <a:lnTo>
                  <a:pt x="3285413" y="914019"/>
                </a:lnTo>
                <a:lnTo>
                  <a:pt x="3290455" y="869467"/>
                </a:lnTo>
                <a:close/>
              </a:path>
              <a:path w="4842509" h="4812030">
                <a:moveTo>
                  <a:pt x="3455378" y="1445844"/>
                </a:moveTo>
                <a:lnTo>
                  <a:pt x="3449624" y="1402283"/>
                </a:lnTo>
                <a:lnTo>
                  <a:pt x="3433368" y="1363154"/>
                </a:lnTo>
                <a:lnTo>
                  <a:pt x="3408159" y="1329994"/>
                </a:lnTo>
                <a:lnTo>
                  <a:pt x="3375533" y="1304378"/>
                </a:lnTo>
                <a:lnTo>
                  <a:pt x="3337026" y="1287868"/>
                </a:lnTo>
                <a:lnTo>
                  <a:pt x="3294164" y="1282014"/>
                </a:lnTo>
                <a:lnTo>
                  <a:pt x="3251314" y="1287868"/>
                </a:lnTo>
                <a:lnTo>
                  <a:pt x="3212795" y="1304378"/>
                </a:lnTo>
                <a:lnTo>
                  <a:pt x="3180169" y="1329994"/>
                </a:lnTo>
                <a:lnTo>
                  <a:pt x="3154959" y="1363154"/>
                </a:lnTo>
                <a:lnTo>
                  <a:pt x="3138716" y="1402283"/>
                </a:lnTo>
                <a:lnTo>
                  <a:pt x="3132950" y="1445844"/>
                </a:lnTo>
                <a:lnTo>
                  <a:pt x="3138716" y="1489392"/>
                </a:lnTo>
                <a:lnTo>
                  <a:pt x="3154959" y="1528533"/>
                </a:lnTo>
                <a:lnTo>
                  <a:pt x="3180169" y="1561680"/>
                </a:lnTo>
                <a:lnTo>
                  <a:pt x="3212795" y="1587309"/>
                </a:lnTo>
                <a:lnTo>
                  <a:pt x="3251314" y="1603819"/>
                </a:lnTo>
                <a:lnTo>
                  <a:pt x="3294164" y="1609674"/>
                </a:lnTo>
                <a:lnTo>
                  <a:pt x="3337026" y="1603819"/>
                </a:lnTo>
                <a:lnTo>
                  <a:pt x="3375533" y="1587309"/>
                </a:lnTo>
                <a:lnTo>
                  <a:pt x="3408159" y="1561680"/>
                </a:lnTo>
                <a:lnTo>
                  <a:pt x="3433368" y="1528533"/>
                </a:lnTo>
                <a:lnTo>
                  <a:pt x="3449624" y="1489392"/>
                </a:lnTo>
                <a:lnTo>
                  <a:pt x="3455378" y="1445844"/>
                </a:lnTo>
                <a:close/>
              </a:path>
              <a:path w="4842509" h="4812030">
                <a:moveTo>
                  <a:pt x="3677882" y="150622"/>
                </a:moveTo>
                <a:lnTo>
                  <a:pt x="3669868" y="100114"/>
                </a:lnTo>
                <a:lnTo>
                  <a:pt x="3647541" y="56248"/>
                </a:lnTo>
                <a:lnTo>
                  <a:pt x="3613505" y="21653"/>
                </a:lnTo>
                <a:lnTo>
                  <a:pt x="3572306" y="0"/>
                </a:lnTo>
                <a:lnTo>
                  <a:pt x="3468979" y="0"/>
                </a:lnTo>
                <a:lnTo>
                  <a:pt x="3427780" y="21653"/>
                </a:lnTo>
                <a:lnTo>
                  <a:pt x="3393744" y="56248"/>
                </a:lnTo>
                <a:lnTo>
                  <a:pt x="3371418" y="100114"/>
                </a:lnTo>
                <a:lnTo>
                  <a:pt x="3363404" y="150622"/>
                </a:lnTo>
                <a:lnTo>
                  <a:pt x="3371418" y="201129"/>
                </a:lnTo>
                <a:lnTo>
                  <a:pt x="3393744" y="244995"/>
                </a:lnTo>
                <a:lnTo>
                  <a:pt x="3427780" y="279577"/>
                </a:lnTo>
                <a:lnTo>
                  <a:pt x="3470935" y="302260"/>
                </a:lnTo>
                <a:lnTo>
                  <a:pt x="3520643" y="310413"/>
                </a:lnTo>
                <a:lnTo>
                  <a:pt x="3570338" y="302260"/>
                </a:lnTo>
                <a:lnTo>
                  <a:pt x="3613505" y="279577"/>
                </a:lnTo>
                <a:lnTo>
                  <a:pt x="3647541" y="244995"/>
                </a:lnTo>
                <a:lnTo>
                  <a:pt x="3669868" y="201129"/>
                </a:lnTo>
                <a:lnTo>
                  <a:pt x="3677882" y="150622"/>
                </a:lnTo>
                <a:close/>
              </a:path>
              <a:path w="4842509" h="4812030">
                <a:moveTo>
                  <a:pt x="3887127" y="718464"/>
                </a:moveTo>
                <a:lnTo>
                  <a:pt x="3882085" y="673912"/>
                </a:lnTo>
                <a:lnTo>
                  <a:pt x="3867696" y="633006"/>
                </a:lnTo>
                <a:lnTo>
                  <a:pt x="3845128" y="596925"/>
                </a:lnTo>
                <a:lnTo>
                  <a:pt x="3815524" y="566839"/>
                </a:lnTo>
                <a:lnTo>
                  <a:pt x="3780015" y="543902"/>
                </a:lnTo>
                <a:lnTo>
                  <a:pt x="3739769" y="529285"/>
                </a:lnTo>
                <a:lnTo>
                  <a:pt x="3695928" y="524154"/>
                </a:lnTo>
                <a:lnTo>
                  <a:pt x="3652101" y="529285"/>
                </a:lnTo>
                <a:lnTo>
                  <a:pt x="3611854" y="543902"/>
                </a:lnTo>
                <a:lnTo>
                  <a:pt x="3576345" y="566839"/>
                </a:lnTo>
                <a:lnTo>
                  <a:pt x="3546741" y="596925"/>
                </a:lnTo>
                <a:lnTo>
                  <a:pt x="3524173" y="633006"/>
                </a:lnTo>
                <a:lnTo>
                  <a:pt x="3509784" y="673912"/>
                </a:lnTo>
                <a:lnTo>
                  <a:pt x="3504730" y="718464"/>
                </a:lnTo>
                <a:lnTo>
                  <a:pt x="3509784" y="763016"/>
                </a:lnTo>
                <a:lnTo>
                  <a:pt x="3524173" y="803910"/>
                </a:lnTo>
                <a:lnTo>
                  <a:pt x="3546741" y="839990"/>
                </a:lnTo>
                <a:lnTo>
                  <a:pt x="3576345" y="870089"/>
                </a:lnTo>
                <a:lnTo>
                  <a:pt x="3611854" y="893025"/>
                </a:lnTo>
                <a:lnTo>
                  <a:pt x="3652101" y="907643"/>
                </a:lnTo>
                <a:lnTo>
                  <a:pt x="3695928" y="912774"/>
                </a:lnTo>
                <a:lnTo>
                  <a:pt x="3739769" y="907643"/>
                </a:lnTo>
                <a:lnTo>
                  <a:pt x="3780015" y="893025"/>
                </a:lnTo>
                <a:lnTo>
                  <a:pt x="3815524" y="870089"/>
                </a:lnTo>
                <a:lnTo>
                  <a:pt x="3845128" y="839990"/>
                </a:lnTo>
                <a:lnTo>
                  <a:pt x="3867696" y="803910"/>
                </a:lnTo>
                <a:lnTo>
                  <a:pt x="3882085" y="763016"/>
                </a:lnTo>
                <a:lnTo>
                  <a:pt x="3887127" y="718464"/>
                </a:lnTo>
                <a:close/>
              </a:path>
              <a:path w="4842509" h="4812030">
                <a:moveTo>
                  <a:pt x="4802949" y="2826423"/>
                </a:moveTo>
                <a:lnTo>
                  <a:pt x="4797895" y="2781871"/>
                </a:lnTo>
                <a:lnTo>
                  <a:pt x="4783518" y="2740977"/>
                </a:lnTo>
                <a:lnTo>
                  <a:pt x="4760950" y="2704896"/>
                </a:lnTo>
                <a:lnTo>
                  <a:pt x="4731334" y="2674810"/>
                </a:lnTo>
                <a:lnTo>
                  <a:pt x="4695837" y="2651874"/>
                </a:lnTo>
                <a:lnTo>
                  <a:pt x="4655591" y="2637256"/>
                </a:lnTo>
                <a:lnTo>
                  <a:pt x="4611751" y="2632113"/>
                </a:lnTo>
                <a:lnTo>
                  <a:pt x="4567910" y="2637256"/>
                </a:lnTo>
                <a:lnTo>
                  <a:pt x="4527664" y="2651874"/>
                </a:lnTo>
                <a:lnTo>
                  <a:pt x="4492168" y="2674810"/>
                </a:lnTo>
                <a:lnTo>
                  <a:pt x="4462551" y="2704896"/>
                </a:lnTo>
                <a:lnTo>
                  <a:pt x="4439983" y="2740977"/>
                </a:lnTo>
                <a:lnTo>
                  <a:pt x="4425607" y="2781871"/>
                </a:lnTo>
                <a:lnTo>
                  <a:pt x="4420552" y="2826423"/>
                </a:lnTo>
                <a:lnTo>
                  <a:pt x="4425607" y="2870987"/>
                </a:lnTo>
                <a:lnTo>
                  <a:pt x="4439983" y="2911881"/>
                </a:lnTo>
                <a:lnTo>
                  <a:pt x="4462551" y="2947962"/>
                </a:lnTo>
                <a:lnTo>
                  <a:pt x="4492168" y="2978048"/>
                </a:lnTo>
                <a:lnTo>
                  <a:pt x="4527664" y="3000984"/>
                </a:lnTo>
                <a:lnTo>
                  <a:pt x="4567910" y="3015602"/>
                </a:lnTo>
                <a:lnTo>
                  <a:pt x="4611751" y="3020733"/>
                </a:lnTo>
                <a:lnTo>
                  <a:pt x="4655591" y="3015602"/>
                </a:lnTo>
                <a:lnTo>
                  <a:pt x="4695837" y="3000984"/>
                </a:lnTo>
                <a:lnTo>
                  <a:pt x="4731334" y="2978048"/>
                </a:lnTo>
                <a:lnTo>
                  <a:pt x="4760950" y="2947962"/>
                </a:lnTo>
                <a:lnTo>
                  <a:pt x="4783518" y="2911881"/>
                </a:lnTo>
                <a:lnTo>
                  <a:pt x="4797895" y="2870987"/>
                </a:lnTo>
                <a:lnTo>
                  <a:pt x="4802949" y="2826423"/>
                </a:lnTo>
                <a:close/>
              </a:path>
              <a:path w="4842509" h="4812030">
                <a:moveTo>
                  <a:pt x="4841951" y="3211792"/>
                </a:moveTo>
                <a:lnTo>
                  <a:pt x="4773104" y="3214001"/>
                </a:lnTo>
                <a:lnTo>
                  <a:pt x="4732858" y="3228619"/>
                </a:lnTo>
                <a:lnTo>
                  <a:pt x="4697349" y="3251555"/>
                </a:lnTo>
                <a:lnTo>
                  <a:pt x="4667745" y="3281642"/>
                </a:lnTo>
                <a:lnTo>
                  <a:pt x="4645177" y="3317722"/>
                </a:lnTo>
                <a:lnTo>
                  <a:pt x="4630788" y="3358629"/>
                </a:lnTo>
                <a:lnTo>
                  <a:pt x="4625746" y="3403181"/>
                </a:lnTo>
                <a:lnTo>
                  <a:pt x="4630788" y="3447732"/>
                </a:lnTo>
                <a:lnTo>
                  <a:pt x="4645177" y="3488626"/>
                </a:lnTo>
                <a:lnTo>
                  <a:pt x="4667745" y="3524707"/>
                </a:lnTo>
                <a:lnTo>
                  <a:pt x="4697349" y="3554806"/>
                </a:lnTo>
                <a:lnTo>
                  <a:pt x="4732858" y="3577742"/>
                </a:lnTo>
                <a:lnTo>
                  <a:pt x="4773104" y="3592360"/>
                </a:lnTo>
                <a:lnTo>
                  <a:pt x="4816945" y="3597491"/>
                </a:lnTo>
                <a:lnTo>
                  <a:pt x="4841951" y="3594557"/>
                </a:lnTo>
                <a:lnTo>
                  <a:pt x="4841951" y="3211792"/>
                </a:lnTo>
                <a:close/>
              </a:path>
              <a:path w="4842509" h="4812030">
                <a:moveTo>
                  <a:pt x="4841951" y="1851342"/>
                </a:moveTo>
                <a:lnTo>
                  <a:pt x="4807712" y="1884832"/>
                </a:lnTo>
                <a:lnTo>
                  <a:pt x="4783315" y="1919909"/>
                </a:lnTo>
                <a:lnTo>
                  <a:pt x="4765014" y="1959063"/>
                </a:lnTo>
                <a:lnTo>
                  <a:pt x="4753534" y="2001583"/>
                </a:lnTo>
                <a:lnTo>
                  <a:pt x="4749546" y="2046757"/>
                </a:lnTo>
                <a:lnTo>
                  <a:pt x="4753534" y="2091944"/>
                </a:lnTo>
                <a:lnTo>
                  <a:pt x="4765014" y="2134463"/>
                </a:lnTo>
                <a:lnTo>
                  <a:pt x="4783315" y="2173617"/>
                </a:lnTo>
                <a:lnTo>
                  <a:pt x="4807712" y="2208695"/>
                </a:lnTo>
                <a:lnTo>
                  <a:pt x="4837519" y="2238997"/>
                </a:lnTo>
                <a:lnTo>
                  <a:pt x="4841951" y="2242185"/>
                </a:lnTo>
                <a:lnTo>
                  <a:pt x="4841951" y="1851342"/>
                </a:lnTo>
                <a:close/>
              </a:path>
              <a:path w="4842509" h="4812030">
                <a:moveTo>
                  <a:pt x="4841951" y="582485"/>
                </a:moveTo>
                <a:lnTo>
                  <a:pt x="4189387" y="582485"/>
                </a:lnTo>
                <a:lnTo>
                  <a:pt x="4140073" y="592455"/>
                </a:lnTo>
                <a:lnTo>
                  <a:pt x="4099814" y="619594"/>
                </a:lnTo>
                <a:lnTo>
                  <a:pt x="4072674" y="659866"/>
                </a:lnTo>
                <a:lnTo>
                  <a:pt x="4062730" y="709168"/>
                </a:lnTo>
                <a:lnTo>
                  <a:pt x="4072674" y="758482"/>
                </a:lnTo>
                <a:lnTo>
                  <a:pt x="4099814" y="798753"/>
                </a:lnTo>
                <a:lnTo>
                  <a:pt x="4140073" y="825906"/>
                </a:lnTo>
                <a:lnTo>
                  <a:pt x="4189387" y="835850"/>
                </a:lnTo>
                <a:lnTo>
                  <a:pt x="4767542" y="835850"/>
                </a:lnTo>
                <a:lnTo>
                  <a:pt x="4736668" y="873556"/>
                </a:lnTo>
                <a:lnTo>
                  <a:pt x="4705045" y="911199"/>
                </a:lnTo>
                <a:lnTo>
                  <a:pt x="4672723" y="948778"/>
                </a:lnTo>
                <a:lnTo>
                  <a:pt x="4639742" y="986294"/>
                </a:lnTo>
                <a:lnTo>
                  <a:pt x="4606137" y="1023747"/>
                </a:lnTo>
                <a:lnTo>
                  <a:pt x="4571949" y="1061110"/>
                </a:lnTo>
                <a:lnTo>
                  <a:pt x="4537214" y="1098384"/>
                </a:lnTo>
                <a:lnTo>
                  <a:pt x="4501985" y="1135583"/>
                </a:lnTo>
                <a:lnTo>
                  <a:pt x="4466285" y="1172667"/>
                </a:lnTo>
                <a:lnTo>
                  <a:pt x="4430166" y="1209662"/>
                </a:lnTo>
                <a:lnTo>
                  <a:pt x="4393654" y="1246543"/>
                </a:lnTo>
                <a:lnTo>
                  <a:pt x="4356811" y="1283309"/>
                </a:lnTo>
                <a:lnTo>
                  <a:pt x="4319663" y="1319961"/>
                </a:lnTo>
                <a:lnTo>
                  <a:pt x="4282249" y="1356474"/>
                </a:lnTo>
                <a:lnTo>
                  <a:pt x="4206786" y="1429118"/>
                </a:lnTo>
                <a:lnTo>
                  <a:pt x="4092625" y="1536966"/>
                </a:lnTo>
                <a:lnTo>
                  <a:pt x="3735552" y="1867319"/>
                </a:lnTo>
                <a:lnTo>
                  <a:pt x="3567468" y="2024532"/>
                </a:lnTo>
                <a:lnTo>
                  <a:pt x="3485985" y="2102446"/>
                </a:lnTo>
                <a:lnTo>
                  <a:pt x="3446056" y="2141245"/>
                </a:lnTo>
                <a:lnTo>
                  <a:pt x="3406711" y="2179929"/>
                </a:lnTo>
                <a:lnTo>
                  <a:pt x="3368014" y="2218512"/>
                </a:lnTo>
                <a:lnTo>
                  <a:pt x="3330003" y="2256993"/>
                </a:lnTo>
                <a:lnTo>
                  <a:pt x="3292716" y="2295372"/>
                </a:lnTo>
                <a:lnTo>
                  <a:pt x="3256216" y="2333663"/>
                </a:lnTo>
                <a:lnTo>
                  <a:pt x="3220529" y="2371852"/>
                </a:lnTo>
                <a:lnTo>
                  <a:pt x="3185718" y="2409952"/>
                </a:lnTo>
                <a:lnTo>
                  <a:pt x="3151809" y="2447963"/>
                </a:lnTo>
                <a:lnTo>
                  <a:pt x="3118866" y="2485885"/>
                </a:lnTo>
                <a:lnTo>
                  <a:pt x="3086925" y="2523731"/>
                </a:lnTo>
                <a:lnTo>
                  <a:pt x="3056039" y="2561488"/>
                </a:lnTo>
                <a:lnTo>
                  <a:pt x="3026245" y="2599169"/>
                </a:lnTo>
                <a:lnTo>
                  <a:pt x="2997581" y="2636761"/>
                </a:lnTo>
                <a:lnTo>
                  <a:pt x="2970111" y="2674289"/>
                </a:lnTo>
                <a:lnTo>
                  <a:pt x="2943860" y="2711742"/>
                </a:lnTo>
                <a:lnTo>
                  <a:pt x="2918904" y="2749118"/>
                </a:lnTo>
                <a:lnTo>
                  <a:pt x="2895257" y="2786430"/>
                </a:lnTo>
                <a:lnTo>
                  <a:pt x="2872981" y="2823680"/>
                </a:lnTo>
                <a:lnTo>
                  <a:pt x="2852102" y="2860865"/>
                </a:lnTo>
                <a:lnTo>
                  <a:pt x="2832697" y="2898000"/>
                </a:lnTo>
                <a:lnTo>
                  <a:pt x="2814790" y="2935059"/>
                </a:lnTo>
                <a:lnTo>
                  <a:pt x="2798432" y="2972066"/>
                </a:lnTo>
                <a:lnTo>
                  <a:pt x="2783662" y="3009023"/>
                </a:lnTo>
                <a:lnTo>
                  <a:pt x="2770543" y="3045930"/>
                </a:lnTo>
                <a:lnTo>
                  <a:pt x="2749334" y="3114700"/>
                </a:lnTo>
                <a:lnTo>
                  <a:pt x="2731732" y="3182582"/>
                </a:lnTo>
                <a:lnTo>
                  <a:pt x="2717584" y="3249536"/>
                </a:lnTo>
                <a:lnTo>
                  <a:pt x="2706751" y="3315551"/>
                </a:lnTo>
                <a:lnTo>
                  <a:pt x="2699054" y="3380562"/>
                </a:lnTo>
                <a:lnTo>
                  <a:pt x="2694368" y="3444557"/>
                </a:lnTo>
                <a:lnTo>
                  <a:pt x="2692539" y="3507486"/>
                </a:lnTo>
                <a:lnTo>
                  <a:pt x="2693416" y="3569322"/>
                </a:lnTo>
                <a:lnTo>
                  <a:pt x="2696845" y="3630015"/>
                </a:lnTo>
                <a:lnTo>
                  <a:pt x="2702687" y="3689553"/>
                </a:lnTo>
                <a:lnTo>
                  <a:pt x="2710777" y="3747884"/>
                </a:lnTo>
                <a:lnTo>
                  <a:pt x="2720975" y="3804970"/>
                </a:lnTo>
                <a:lnTo>
                  <a:pt x="2733116" y="3860787"/>
                </a:lnTo>
                <a:lnTo>
                  <a:pt x="2747073" y="3915295"/>
                </a:lnTo>
                <a:lnTo>
                  <a:pt x="2762681" y="3968458"/>
                </a:lnTo>
                <a:lnTo>
                  <a:pt x="2779801" y="4020235"/>
                </a:lnTo>
                <a:lnTo>
                  <a:pt x="2798267" y="4070591"/>
                </a:lnTo>
                <a:lnTo>
                  <a:pt x="2817952" y="4119499"/>
                </a:lnTo>
                <a:lnTo>
                  <a:pt x="2838678" y="4166908"/>
                </a:lnTo>
                <a:lnTo>
                  <a:pt x="2860319" y="4212806"/>
                </a:lnTo>
                <a:lnTo>
                  <a:pt x="2882709" y="4257129"/>
                </a:lnTo>
                <a:lnTo>
                  <a:pt x="2905709" y="4299864"/>
                </a:lnTo>
                <a:lnTo>
                  <a:pt x="2929166" y="4340974"/>
                </a:lnTo>
                <a:lnTo>
                  <a:pt x="2952927" y="4380408"/>
                </a:lnTo>
                <a:lnTo>
                  <a:pt x="2976854" y="4418139"/>
                </a:lnTo>
                <a:lnTo>
                  <a:pt x="3000768" y="4454131"/>
                </a:lnTo>
                <a:lnTo>
                  <a:pt x="3024555" y="4488345"/>
                </a:lnTo>
                <a:lnTo>
                  <a:pt x="3048038" y="4520755"/>
                </a:lnTo>
                <a:lnTo>
                  <a:pt x="3071076" y="4551324"/>
                </a:lnTo>
                <a:lnTo>
                  <a:pt x="3115233" y="4606772"/>
                </a:lnTo>
                <a:lnTo>
                  <a:pt x="3155810" y="4654410"/>
                </a:lnTo>
                <a:lnTo>
                  <a:pt x="3191624" y="4693945"/>
                </a:lnTo>
                <a:lnTo>
                  <a:pt x="3221456" y="4725098"/>
                </a:lnTo>
                <a:lnTo>
                  <a:pt x="3252393" y="4755489"/>
                </a:lnTo>
                <a:lnTo>
                  <a:pt x="3289871" y="4785195"/>
                </a:lnTo>
                <a:lnTo>
                  <a:pt x="3352101" y="4808791"/>
                </a:lnTo>
                <a:lnTo>
                  <a:pt x="3384816" y="4811725"/>
                </a:lnTo>
                <a:lnTo>
                  <a:pt x="3422065" y="4807928"/>
                </a:lnTo>
                <a:lnTo>
                  <a:pt x="3491369" y="4777714"/>
                </a:lnTo>
                <a:lnTo>
                  <a:pt x="3520922" y="4751438"/>
                </a:lnTo>
                <a:lnTo>
                  <a:pt x="3548837" y="4710963"/>
                </a:lnTo>
                <a:lnTo>
                  <a:pt x="3564598" y="4666081"/>
                </a:lnTo>
                <a:lnTo>
                  <a:pt x="3568331" y="4619295"/>
                </a:lnTo>
                <a:lnTo>
                  <a:pt x="3560165" y="4573067"/>
                </a:lnTo>
                <a:lnTo>
                  <a:pt x="3540239" y="4529861"/>
                </a:lnTo>
                <a:lnTo>
                  <a:pt x="3508654" y="4492129"/>
                </a:lnTo>
                <a:lnTo>
                  <a:pt x="3500399" y="4484382"/>
                </a:lnTo>
                <a:lnTo>
                  <a:pt x="3484295" y="4468546"/>
                </a:lnTo>
                <a:lnTo>
                  <a:pt x="3433026" y="4413796"/>
                </a:lnTo>
                <a:lnTo>
                  <a:pt x="3400107" y="4375455"/>
                </a:lnTo>
                <a:lnTo>
                  <a:pt x="3363798" y="4330217"/>
                </a:lnTo>
                <a:lnTo>
                  <a:pt x="3325253" y="4278363"/>
                </a:lnTo>
                <a:lnTo>
                  <a:pt x="3285566" y="4220172"/>
                </a:lnTo>
                <a:lnTo>
                  <a:pt x="3245878" y="4155960"/>
                </a:lnTo>
                <a:lnTo>
                  <a:pt x="3207283" y="4085996"/>
                </a:lnTo>
                <a:lnTo>
                  <a:pt x="3803065" y="4085996"/>
                </a:lnTo>
                <a:lnTo>
                  <a:pt x="3852380" y="4076039"/>
                </a:lnTo>
                <a:lnTo>
                  <a:pt x="3892639" y="4048887"/>
                </a:lnTo>
                <a:lnTo>
                  <a:pt x="3919766" y="4008628"/>
                </a:lnTo>
                <a:lnTo>
                  <a:pt x="3929723" y="3959314"/>
                </a:lnTo>
                <a:lnTo>
                  <a:pt x="3919766" y="3910012"/>
                </a:lnTo>
                <a:lnTo>
                  <a:pt x="3892639" y="3869740"/>
                </a:lnTo>
                <a:lnTo>
                  <a:pt x="3852380" y="3842588"/>
                </a:lnTo>
                <a:lnTo>
                  <a:pt x="3803065" y="3832631"/>
                </a:lnTo>
                <a:lnTo>
                  <a:pt x="3106051" y="3832631"/>
                </a:lnTo>
                <a:lnTo>
                  <a:pt x="3093821" y="3786289"/>
                </a:lnTo>
                <a:lnTo>
                  <a:pt x="3083318" y="3738765"/>
                </a:lnTo>
                <a:lnTo>
                  <a:pt x="3074657" y="3690099"/>
                </a:lnTo>
                <a:lnTo>
                  <a:pt x="3068002" y="3640340"/>
                </a:lnTo>
                <a:lnTo>
                  <a:pt x="3063494" y="3589528"/>
                </a:lnTo>
                <a:lnTo>
                  <a:pt x="3061284" y="3537686"/>
                </a:lnTo>
                <a:lnTo>
                  <a:pt x="4186415" y="3537686"/>
                </a:lnTo>
                <a:lnTo>
                  <a:pt x="4235729" y="3527742"/>
                </a:lnTo>
                <a:lnTo>
                  <a:pt x="4275988" y="3500590"/>
                </a:lnTo>
                <a:lnTo>
                  <a:pt x="4303128" y="3460318"/>
                </a:lnTo>
                <a:lnTo>
                  <a:pt x="4313072" y="3411004"/>
                </a:lnTo>
                <a:lnTo>
                  <a:pt x="4303128" y="3361702"/>
                </a:lnTo>
                <a:lnTo>
                  <a:pt x="4275988" y="3321431"/>
                </a:lnTo>
                <a:lnTo>
                  <a:pt x="4235729" y="3294291"/>
                </a:lnTo>
                <a:lnTo>
                  <a:pt x="4186415" y="3284321"/>
                </a:lnTo>
                <a:lnTo>
                  <a:pt x="3085935" y="3284321"/>
                </a:lnTo>
                <a:lnTo>
                  <a:pt x="3092831" y="3254083"/>
                </a:lnTo>
                <a:lnTo>
                  <a:pt x="3109315" y="3192983"/>
                </a:lnTo>
                <a:lnTo>
                  <a:pt x="3133902" y="3122079"/>
                </a:lnTo>
                <a:lnTo>
                  <a:pt x="3151809" y="3081401"/>
                </a:lnTo>
                <a:lnTo>
                  <a:pt x="3172637" y="3040075"/>
                </a:lnTo>
                <a:lnTo>
                  <a:pt x="3196209" y="2998165"/>
                </a:lnTo>
                <a:lnTo>
                  <a:pt x="3222371" y="2955658"/>
                </a:lnTo>
                <a:lnTo>
                  <a:pt x="3222929" y="2955658"/>
                </a:lnTo>
                <a:lnTo>
                  <a:pt x="3223450" y="2955823"/>
                </a:lnTo>
                <a:lnTo>
                  <a:pt x="4085818" y="2955823"/>
                </a:lnTo>
                <a:lnTo>
                  <a:pt x="4086631" y="2955658"/>
                </a:lnTo>
                <a:lnTo>
                  <a:pt x="4135132" y="2945866"/>
                </a:lnTo>
                <a:lnTo>
                  <a:pt x="4175391" y="2918714"/>
                </a:lnTo>
                <a:lnTo>
                  <a:pt x="4202519" y="2878455"/>
                </a:lnTo>
                <a:lnTo>
                  <a:pt x="4212475" y="2829141"/>
                </a:lnTo>
                <a:lnTo>
                  <a:pt x="4202519" y="2779839"/>
                </a:lnTo>
                <a:lnTo>
                  <a:pt x="4175391" y="2739567"/>
                </a:lnTo>
                <a:lnTo>
                  <a:pt x="4135132" y="2712415"/>
                </a:lnTo>
                <a:lnTo>
                  <a:pt x="4085818" y="2702458"/>
                </a:lnTo>
                <a:lnTo>
                  <a:pt x="3416541" y="2702458"/>
                </a:lnTo>
                <a:lnTo>
                  <a:pt x="3446754" y="2668371"/>
                </a:lnTo>
                <a:lnTo>
                  <a:pt x="3477958" y="2634030"/>
                </a:lnTo>
                <a:lnTo>
                  <a:pt x="3510102" y="2599436"/>
                </a:lnTo>
                <a:lnTo>
                  <a:pt x="3543135" y="2564612"/>
                </a:lnTo>
                <a:lnTo>
                  <a:pt x="3577018" y="2529548"/>
                </a:lnTo>
                <a:lnTo>
                  <a:pt x="3611702" y="2494267"/>
                </a:lnTo>
                <a:lnTo>
                  <a:pt x="3647122" y="2458758"/>
                </a:lnTo>
                <a:lnTo>
                  <a:pt x="3683254" y="2423045"/>
                </a:lnTo>
                <a:lnTo>
                  <a:pt x="3720046" y="2387117"/>
                </a:lnTo>
                <a:lnTo>
                  <a:pt x="3795395" y="2314702"/>
                </a:lnTo>
                <a:lnTo>
                  <a:pt x="3912184" y="2204707"/>
                </a:lnTo>
                <a:lnTo>
                  <a:pt x="4351325" y="1798180"/>
                </a:lnTo>
                <a:lnTo>
                  <a:pt x="4468863" y="1687245"/>
                </a:lnTo>
                <a:lnTo>
                  <a:pt x="4546206" y="1612912"/>
                </a:lnTo>
                <a:lnTo>
                  <a:pt x="4584484" y="1575625"/>
                </a:lnTo>
                <a:lnTo>
                  <a:pt x="4622444" y="1538236"/>
                </a:lnTo>
                <a:lnTo>
                  <a:pt x="4660087" y="1500771"/>
                </a:lnTo>
                <a:lnTo>
                  <a:pt x="4697361" y="1463205"/>
                </a:lnTo>
                <a:lnTo>
                  <a:pt x="4734242" y="1425549"/>
                </a:lnTo>
                <a:lnTo>
                  <a:pt x="4770691" y="1387792"/>
                </a:lnTo>
                <a:lnTo>
                  <a:pt x="4806696" y="1349933"/>
                </a:lnTo>
                <a:lnTo>
                  <a:pt x="4841951" y="1312240"/>
                </a:lnTo>
                <a:lnTo>
                  <a:pt x="4841951" y="582485"/>
                </a:lnTo>
                <a:close/>
              </a:path>
              <a:path w="4842509" h="4812030">
                <a:moveTo>
                  <a:pt x="4841951" y="7937"/>
                </a:moveTo>
                <a:lnTo>
                  <a:pt x="4133786" y="7937"/>
                </a:lnTo>
                <a:lnTo>
                  <a:pt x="4084472" y="17907"/>
                </a:lnTo>
                <a:lnTo>
                  <a:pt x="4044213" y="45046"/>
                </a:lnTo>
                <a:lnTo>
                  <a:pt x="4017073" y="85318"/>
                </a:lnTo>
                <a:lnTo>
                  <a:pt x="4007129" y="134620"/>
                </a:lnTo>
                <a:lnTo>
                  <a:pt x="4017073" y="183934"/>
                </a:lnTo>
                <a:lnTo>
                  <a:pt x="4044213" y="224205"/>
                </a:lnTo>
                <a:lnTo>
                  <a:pt x="4084472" y="251358"/>
                </a:lnTo>
                <a:lnTo>
                  <a:pt x="4133786" y="261315"/>
                </a:lnTo>
                <a:lnTo>
                  <a:pt x="4841951" y="261315"/>
                </a:lnTo>
                <a:lnTo>
                  <a:pt x="4841951" y="7937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C08C7F-F671-37EF-FA4F-14868BE5D34B}"/>
              </a:ext>
            </a:extLst>
          </p:cNvPr>
          <p:cNvGrpSpPr/>
          <p:nvPr userDrawn="1"/>
        </p:nvGrpSpPr>
        <p:grpSpPr>
          <a:xfrm>
            <a:off x="391375" y="5191214"/>
            <a:ext cx="2957963" cy="1664692"/>
            <a:chOff x="391375" y="5191214"/>
            <a:chExt cx="2957963" cy="1664692"/>
          </a:xfrm>
        </p:grpSpPr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7CF38E78-8B18-E2DD-57F6-5A3EBF4CFBF8}"/>
                </a:ext>
              </a:extLst>
            </p:cNvPr>
            <p:cNvSpPr/>
            <p:nvPr/>
          </p:nvSpPr>
          <p:spPr>
            <a:xfrm>
              <a:off x="1985572" y="6805678"/>
              <a:ext cx="238965" cy="50095"/>
            </a:xfrm>
            <a:custGeom>
              <a:avLst/>
              <a:gdLst/>
              <a:ahLst/>
              <a:cxnLst/>
              <a:rect l="l" t="t" r="r" b="b"/>
              <a:pathLst>
                <a:path w="263525" h="55245">
                  <a:moveTo>
                    <a:pt x="131560" y="0"/>
                  </a:moveTo>
                  <a:lnTo>
                    <a:pt x="87719" y="5131"/>
                  </a:lnTo>
                  <a:lnTo>
                    <a:pt x="47474" y="19749"/>
                  </a:lnTo>
                  <a:lnTo>
                    <a:pt x="11974" y="42686"/>
                  </a:lnTo>
                  <a:lnTo>
                    <a:pt x="0" y="54855"/>
                  </a:lnTo>
                  <a:lnTo>
                    <a:pt x="263121" y="54855"/>
                  </a:lnTo>
                  <a:lnTo>
                    <a:pt x="251147" y="42686"/>
                  </a:lnTo>
                  <a:lnTo>
                    <a:pt x="215647" y="19749"/>
                  </a:lnTo>
                  <a:lnTo>
                    <a:pt x="175402" y="5131"/>
                  </a:lnTo>
                  <a:lnTo>
                    <a:pt x="131560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01B1EF4C-ACBC-8DF2-F98F-A520632D49A8}"/>
                </a:ext>
              </a:extLst>
            </p:cNvPr>
            <p:cNvSpPr/>
            <p:nvPr/>
          </p:nvSpPr>
          <p:spPr>
            <a:xfrm>
              <a:off x="3002119" y="6641559"/>
              <a:ext cx="347219" cy="214205"/>
            </a:xfrm>
            <a:custGeom>
              <a:avLst/>
              <a:gdLst/>
              <a:ahLst/>
              <a:cxnLst/>
              <a:rect l="l" t="t" r="r" b="b"/>
              <a:pathLst>
                <a:path w="382904" h="2362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4706" y="235840"/>
                  </a:lnTo>
                  <a:lnTo>
                    <a:pt x="377689" y="235840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C69F5CB4-EE4D-3E00-9E24-A5394A4C5C0E}"/>
                </a:ext>
              </a:extLst>
            </p:cNvPr>
            <p:cNvSpPr/>
            <p:nvPr/>
          </p:nvSpPr>
          <p:spPr>
            <a:xfrm>
              <a:off x="2877401" y="6040817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4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D5CB64B5-EAB4-764D-E33F-11B3A4C5099E}"/>
                </a:ext>
              </a:extLst>
            </p:cNvPr>
            <p:cNvSpPr/>
            <p:nvPr/>
          </p:nvSpPr>
          <p:spPr>
            <a:xfrm>
              <a:off x="2210807" y="6183673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90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9">
              <a:extLst>
                <a:ext uri="{FF2B5EF4-FFF2-40B4-BE49-F238E27FC236}">
                  <a16:creationId xmlns:a16="http://schemas.microsoft.com/office/drawing/2014/main" id="{544E0DFF-B974-C185-F664-2BB8D65D3E1C}"/>
                </a:ext>
              </a:extLst>
            </p:cNvPr>
            <p:cNvSpPr/>
            <p:nvPr/>
          </p:nvSpPr>
          <p:spPr>
            <a:xfrm>
              <a:off x="1993834" y="5340502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0">
              <a:extLst>
                <a:ext uri="{FF2B5EF4-FFF2-40B4-BE49-F238E27FC236}">
                  <a16:creationId xmlns:a16="http://schemas.microsoft.com/office/drawing/2014/main" id="{BAF8C586-5508-CCC1-A9F6-94AC7AFA27D1}"/>
                </a:ext>
              </a:extLst>
            </p:cNvPr>
            <p:cNvSpPr/>
            <p:nvPr/>
          </p:nvSpPr>
          <p:spPr>
            <a:xfrm>
              <a:off x="391375" y="5191214"/>
              <a:ext cx="1400967" cy="1664692"/>
            </a:xfrm>
            <a:custGeom>
              <a:avLst/>
              <a:gdLst/>
              <a:ahLst/>
              <a:cxnLst/>
              <a:rect l="l" t="t" r="r" b="b"/>
              <a:pathLst>
                <a:path w="1544955" h="1835784">
                  <a:moveTo>
                    <a:pt x="925999" y="0"/>
                  </a:moveTo>
                  <a:lnTo>
                    <a:pt x="880349" y="10091"/>
                  </a:lnTo>
                  <a:lnTo>
                    <a:pt x="838161" y="31783"/>
                  </a:lnTo>
                  <a:lnTo>
                    <a:pt x="801852" y="64835"/>
                  </a:lnTo>
                  <a:lnTo>
                    <a:pt x="775520" y="106276"/>
                  </a:lnTo>
                  <a:lnTo>
                    <a:pt x="761475" y="151656"/>
                  </a:lnTo>
                  <a:lnTo>
                    <a:pt x="759491" y="198513"/>
                  </a:lnTo>
                  <a:lnTo>
                    <a:pt x="769344" y="244387"/>
                  </a:lnTo>
                  <a:lnTo>
                    <a:pt x="790808" y="286817"/>
                  </a:lnTo>
                  <a:lnTo>
                    <a:pt x="823658" y="323343"/>
                  </a:lnTo>
                  <a:lnTo>
                    <a:pt x="831988" y="330759"/>
                  </a:lnTo>
                  <a:lnTo>
                    <a:pt x="849099" y="347051"/>
                  </a:lnTo>
                  <a:lnTo>
                    <a:pt x="903479" y="405526"/>
                  </a:lnTo>
                  <a:lnTo>
                    <a:pt x="937656" y="447339"/>
                  </a:lnTo>
                  <a:lnTo>
                    <a:pt x="974430" y="497291"/>
                  </a:lnTo>
                  <a:lnTo>
                    <a:pt x="1012254" y="555196"/>
                  </a:lnTo>
                  <a:lnTo>
                    <a:pt x="1049583" y="620872"/>
                  </a:lnTo>
                  <a:lnTo>
                    <a:pt x="1084872" y="694132"/>
                  </a:lnTo>
                  <a:lnTo>
                    <a:pt x="513257" y="694132"/>
                  </a:lnTo>
                  <a:lnTo>
                    <a:pt x="463952" y="704088"/>
                  </a:lnTo>
                  <a:lnTo>
                    <a:pt x="423684" y="731237"/>
                  </a:lnTo>
                  <a:lnTo>
                    <a:pt x="396532" y="771504"/>
                  </a:lnTo>
                  <a:lnTo>
                    <a:pt x="386575" y="820815"/>
                  </a:lnTo>
                  <a:lnTo>
                    <a:pt x="396532" y="870120"/>
                  </a:lnTo>
                  <a:lnTo>
                    <a:pt x="423684" y="910388"/>
                  </a:lnTo>
                  <a:lnTo>
                    <a:pt x="463952" y="937540"/>
                  </a:lnTo>
                  <a:lnTo>
                    <a:pt x="513257" y="947497"/>
                  </a:lnTo>
                  <a:lnTo>
                    <a:pt x="1161059" y="947497"/>
                  </a:lnTo>
                  <a:lnTo>
                    <a:pt x="1168059" y="994539"/>
                  </a:lnTo>
                  <a:lnTo>
                    <a:pt x="1173078" y="1043098"/>
                  </a:lnTo>
                  <a:lnTo>
                    <a:pt x="1175954" y="1093166"/>
                  </a:lnTo>
                  <a:lnTo>
                    <a:pt x="1176527" y="1144733"/>
                  </a:lnTo>
                  <a:lnTo>
                    <a:pt x="1174633" y="1197788"/>
                  </a:lnTo>
                  <a:lnTo>
                    <a:pt x="1170114" y="1252323"/>
                  </a:lnTo>
                  <a:lnTo>
                    <a:pt x="1163053" y="1251103"/>
                  </a:lnTo>
                  <a:lnTo>
                    <a:pt x="1155890" y="1250138"/>
                  </a:lnTo>
                  <a:lnTo>
                    <a:pt x="126682" y="1250138"/>
                  </a:lnTo>
                  <a:lnTo>
                    <a:pt x="77372" y="1260095"/>
                  </a:lnTo>
                  <a:lnTo>
                    <a:pt x="37104" y="1287248"/>
                  </a:lnTo>
                  <a:lnTo>
                    <a:pt x="9955" y="1327516"/>
                  </a:lnTo>
                  <a:lnTo>
                    <a:pt x="0" y="1376821"/>
                  </a:lnTo>
                  <a:lnTo>
                    <a:pt x="9955" y="1426133"/>
                  </a:lnTo>
                  <a:lnTo>
                    <a:pt x="37104" y="1466405"/>
                  </a:lnTo>
                  <a:lnTo>
                    <a:pt x="77372" y="1493559"/>
                  </a:lnTo>
                  <a:lnTo>
                    <a:pt x="126682" y="1503516"/>
                  </a:lnTo>
                  <a:lnTo>
                    <a:pt x="1109611" y="1503516"/>
                  </a:lnTo>
                  <a:lnTo>
                    <a:pt x="1091637" y="1549292"/>
                  </a:lnTo>
                  <a:lnTo>
                    <a:pt x="1071709" y="1595118"/>
                  </a:lnTo>
                  <a:lnTo>
                    <a:pt x="1049893" y="1640986"/>
                  </a:lnTo>
                  <a:lnTo>
                    <a:pt x="1026255" y="1686883"/>
                  </a:lnTo>
                  <a:lnTo>
                    <a:pt x="1000859" y="1732802"/>
                  </a:lnTo>
                  <a:lnTo>
                    <a:pt x="973771" y="1778731"/>
                  </a:lnTo>
                  <a:lnTo>
                    <a:pt x="945057" y="1824661"/>
                  </a:lnTo>
                  <a:lnTo>
                    <a:pt x="182283" y="1824661"/>
                  </a:lnTo>
                  <a:lnTo>
                    <a:pt x="132972" y="1834618"/>
                  </a:lnTo>
                  <a:lnTo>
                    <a:pt x="132035" y="1835250"/>
                  </a:lnTo>
                  <a:lnTo>
                    <a:pt x="1365030" y="1835250"/>
                  </a:lnTo>
                  <a:lnTo>
                    <a:pt x="1398211" y="1767887"/>
                  </a:lnTo>
                  <a:lnTo>
                    <a:pt x="1416703" y="1726988"/>
                  </a:lnTo>
                  <a:lnTo>
                    <a:pt x="1434056" y="1685916"/>
                  </a:lnTo>
                  <a:lnTo>
                    <a:pt x="1450240" y="1644667"/>
                  </a:lnTo>
                  <a:lnTo>
                    <a:pt x="1465225" y="1603237"/>
                  </a:lnTo>
                  <a:lnTo>
                    <a:pt x="1478982" y="1561625"/>
                  </a:lnTo>
                  <a:lnTo>
                    <a:pt x="1491481" y="1519827"/>
                  </a:lnTo>
                  <a:lnTo>
                    <a:pt x="1502692" y="1477840"/>
                  </a:lnTo>
                  <a:lnTo>
                    <a:pt x="1512585" y="1435660"/>
                  </a:lnTo>
                  <a:lnTo>
                    <a:pt x="1521130" y="1393285"/>
                  </a:lnTo>
                  <a:lnTo>
                    <a:pt x="1528298" y="1350711"/>
                  </a:lnTo>
                  <a:lnTo>
                    <a:pt x="1534058" y="1307936"/>
                  </a:lnTo>
                  <a:lnTo>
                    <a:pt x="1541211" y="1230596"/>
                  </a:lnTo>
                  <a:lnTo>
                    <a:pt x="1544382" y="1155425"/>
                  </a:lnTo>
                  <a:lnTo>
                    <a:pt x="1543828" y="1082452"/>
                  </a:lnTo>
                  <a:lnTo>
                    <a:pt x="1539804" y="1011702"/>
                  </a:lnTo>
                  <a:lnTo>
                    <a:pt x="1532569" y="943204"/>
                  </a:lnTo>
                  <a:lnTo>
                    <a:pt x="1522380" y="876984"/>
                  </a:lnTo>
                  <a:lnTo>
                    <a:pt x="1509492" y="813069"/>
                  </a:lnTo>
                  <a:lnTo>
                    <a:pt x="1494164" y="751487"/>
                  </a:lnTo>
                  <a:lnTo>
                    <a:pt x="1476653" y="692264"/>
                  </a:lnTo>
                  <a:lnTo>
                    <a:pt x="1457214" y="635429"/>
                  </a:lnTo>
                  <a:lnTo>
                    <a:pt x="1436106" y="581007"/>
                  </a:lnTo>
                  <a:lnTo>
                    <a:pt x="1413584" y="529026"/>
                  </a:lnTo>
                  <a:lnTo>
                    <a:pt x="1389907" y="479514"/>
                  </a:lnTo>
                  <a:lnTo>
                    <a:pt x="1365331" y="432497"/>
                  </a:lnTo>
                  <a:lnTo>
                    <a:pt x="1340113" y="388002"/>
                  </a:lnTo>
                  <a:lnTo>
                    <a:pt x="1314510" y="346057"/>
                  </a:lnTo>
                  <a:lnTo>
                    <a:pt x="1288779" y="306688"/>
                  </a:lnTo>
                  <a:lnTo>
                    <a:pt x="1263177" y="269924"/>
                  </a:lnTo>
                  <a:lnTo>
                    <a:pt x="1237961" y="235790"/>
                  </a:lnTo>
                  <a:lnTo>
                    <a:pt x="1213388" y="204314"/>
                  </a:lnTo>
                  <a:lnTo>
                    <a:pt x="1167198" y="149446"/>
                  </a:lnTo>
                  <a:lnTo>
                    <a:pt x="1126663" y="105535"/>
                  </a:lnTo>
                  <a:lnTo>
                    <a:pt x="1093839" y="72800"/>
                  </a:lnTo>
                  <a:lnTo>
                    <a:pt x="1059548" y="41721"/>
                  </a:lnTo>
                  <a:lnTo>
                    <a:pt x="1018016" y="15575"/>
                  </a:lnTo>
                  <a:lnTo>
                    <a:pt x="972694" y="1748"/>
                  </a:lnTo>
                  <a:lnTo>
                    <a:pt x="925999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1520" y="6114954"/>
            <a:ext cx="8924387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4" name="object 41">
            <a:extLst>
              <a:ext uri="{FF2B5EF4-FFF2-40B4-BE49-F238E27FC236}">
                <a16:creationId xmlns:a16="http://schemas.microsoft.com/office/drawing/2014/main" id="{4AA4F7D3-F6E8-EAB2-F7FF-BD27C0DB60AC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5" name="object 42">
              <a:extLst>
                <a:ext uri="{FF2B5EF4-FFF2-40B4-BE49-F238E27FC236}">
                  <a16:creationId xmlns:a16="http://schemas.microsoft.com/office/drawing/2014/main" id="{E917381C-8FE5-3CAD-273B-51DCDB6727F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6" name="object 43">
              <a:extLst>
                <a:ext uri="{FF2B5EF4-FFF2-40B4-BE49-F238E27FC236}">
                  <a16:creationId xmlns:a16="http://schemas.microsoft.com/office/drawing/2014/main" id="{6EC3B691-15D3-272C-C984-5D8D7AB4D44B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7" name="object 44">
              <a:extLst>
                <a:ext uri="{FF2B5EF4-FFF2-40B4-BE49-F238E27FC236}">
                  <a16:creationId xmlns:a16="http://schemas.microsoft.com/office/drawing/2014/main" id="{26C44628-116B-F318-B8E0-DE32F2332BC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5" name="object 14">
            <a:extLst>
              <a:ext uri="{FF2B5EF4-FFF2-40B4-BE49-F238E27FC236}">
                <a16:creationId xmlns:a16="http://schemas.microsoft.com/office/drawing/2014/main" id="{45F4DC08-150F-4A25-716A-90191F21FDC9}"/>
              </a:ext>
            </a:extLst>
          </p:cNvPr>
          <p:cNvSpPr/>
          <p:nvPr userDrawn="1"/>
        </p:nvSpPr>
        <p:spPr>
          <a:xfrm rot="10800000">
            <a:off x="-308147" y="5862122"/>
            <a:ext cx="562114" cy="584428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4">
            <a:extLst>
              <a:ext uri="{FF2B5EF4-FFF2-40B4-BE49-F238E27FC236}">
                <a16:creationId xmlns:a16="http://schemas.microsoft.com/office/drawing/2014/main" id="{01D5C4C6-F307-4C2A-EEA2-C7230077C63A}"/>
              </a:ext>
            </a:extLst>
          </p:cNvPr>
          <p:cNvSpPr/>
          <p:nvPr userDrawn="1"/>
        </p:nvSpPr>
        <p:spPr>
          <a:xfrm rot="10800000">
            <a:off x="-650" y="6776735"/>
            <a:ext cx="360745" cy="37506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ED0436A5-966C-D05D-FD27-2ED35FF09750}"/>
              </a:ext>
            </a:extLst>
          </p:cNvPr>
          <p:cNvSpPr/>
          <p:nvPr userDrawn="1"/>
        </p:nvSpPr>
        <p:spPr>
          <a:xfrm rot="10800000">
            <a:off x="8761227" y="264563"/>
            <a:ext cx="262322" cy="27273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B1D59208-AF3F-67F9-AFEE-0B79028CDC85}"/>
              </a:ext>
            </a:extLst>
          </p:cNvPr>
          <p:cNvSpPr/>
          <p:nvPr userDrawn="1"/>
        </p:nvSpPr>
        <p:spPr>
          <a:xfrm rot="10800000">
            <a:off x="8268251" y="-287815"/>
            <a:ext cx="492976" cy="512545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7870" y="593213"/>
            <a:ext cx="8910320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2"/>
                </a:solidFill>
                <a:latin typeface="Quicksand" pitchFamily="2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AAEEF4C6-3B07-140E-7DCD-3597EF49B1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 sz="2800">
                <a:solidFill>
                  <a:schemeClr val="accent3"/>
                </a:solidFill>
                <a:latin typeface="Quicksand" pitchFamily="2" charset="0"/>
              </a:defRPr>
            </a:lvl1pPr>
            <a:lvl2pPr marL="182563" indent="-182563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accent3"/>
                </a:solidFill>
                <a:latin typeface="Quicksand" pitchFamily="2" charset="0"/>
              </a:defRPr>
            </a:lvl2pPr>
            <a:lvl3pPr marL="684000" indent="-182563">
              <a:buClr>
                <a:schemeClr val="bg2"/>
              </a:buClr>
              <a:buFont typeface="System Font Regular"/>
              <a:buChar char="-"/>
              <a:defRPr>
                <a:solidFill>
                  <a:schemeClr val="accent3"/>
                </a:solidFill>
                <a:latin typeface="Quicksand" pitchFamily="2" charset="0"/>
              </a:defRPr>
            </a:lvl3pPr>
            <a:lvl4pPr marL="1368000" indent="-182563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accent3"/>
                </a:solidFill>
                <a:latin typeface="Quicksand" pitchFamily="2" charset="0"/>
              </a:defRPr>
            </a:lvl4pPr>
            <a:lvl5pPr marL="2052000" indent="-182563">
              <a:buClr>
                <a:schemeClr val="bg2"/>
              </a:buClr>
              <a:buFont typeface="System Font Regular"/>
              <a:buChar char="-"/>
              <a:defRPr>
                <a:solidFill>
                  <a:schemeClr val="accent3"/>
                </a:solidFill>
                <a:latin typeface="Quicksan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649076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1B0B9-AB91-426F-92D7-F2F806F725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1840" y="1825625"/>
            <a:ext cx="5267959" cy="3619212"/>
          </a:xfrm>
          <a:prstGeom prst="rect">
            <a:avLst/>
          </a:prstGeom>
        </p:spPr>
        <p:txBody>
          <a:bodyPr/>
          <a:lstStyle>
            <a:lvl1pPr>
              <a:defRPr>
                <a:latin typeface="Quicksand" pitchFamily="2" charset="0"/>
              </a:defRPr>
            </a:lvl1pPr>
            <a:lvl2pPr>
              <a:buClr>
                <a:schemeClr val="accent3"/>
              </a:buClr>
              <a:defRPr>
                <a:latin typeface="Quicksand" pitchFamily="2" charset="0"/>
              </a:defRPr>
            </a:lvl2pPr>
            <a:lvl3pPr>
              <a:buClr>
                <a:schemeClr val="accent3"/>
              </a:buClr>
              <a:defRPr>
                <a:latin typeface="Quicksand" pitchFamily="2" charset="0"/>
              </a:defRPr>
            </a:lvl3pPr>
            <a:lvl4pPr>
              <a:buClr>
                <a:schemeClr val="accent3"/>
              </a:buClr>
              <a:defRPr>
                <a:latin typeface="Quicksand" pitchFamily="2" charset="0"/>
              </a:defRPr>
            </a:lvl4pPr>
            <a:lvl5pPr>
              <a:buClr>
                <a:schemeClr val="accent3"/>
              </a:buClr>
              <a:defRPr>
                <a:latin typeface="Quicksand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7" name="Chart Placeholder 4">
            <a:extLst>
              <a:ext uri="{FF2B5EF4-FFF2-40B4-BE49-F238E27FC236}">
                <a16:creationId xmlns:a16="http://schemas.microsoft.com/office/drawing/2014/main" id="{EE3E867B-9FE0-71C1-A521-89885EE0C42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172201" y="1825625"/>
            <a:ext cx="5282789" cy="3619212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346280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7" name="Chart Placeholder 4">
            <a:extLst>
              <a:ext uri="{FF2B5EF4-FFF2-40B4-BE49-F238E27FC236}">
                <a16:creationId xmlns:a16="http://schemas.microsoft.com/office/drawing/2014/main" id="{EE3E867B-9FE0-71C1-A521-89885EE0C42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51839" y="1825625"/>
            <a:ext cx="10703151" cy="3858202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38" y="6114954"/>
            <a:ext cx="89040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38290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7" name="Chart Placeholder 4">
            <a:extLst>
              <a:ext uri="{FF2B5EF4-FFF2-40B4-BE49-F238E27FC236}">
                <a16:creationId xmlns:a16="http://schemas.microsoft.com/office/drawing/2014/main" id="{EE3E867B-9FE0-71C1-A521-89885EE0C42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51839" y="1825625"/>
            <a:ext cx="10703151" cy="385820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38" y="6114954"/>
            <a:ext cx="89040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078458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520" y="365125"/>
            <a:ext cx="6475989" cy="4355493"/>
          </a:xfrm>
        </p:spPr>
        <p:txBody>
          <a:bodyPr anchor="t" anchorCtr="0">
            <a:normAutofit/>
          </a:bodyPr>
          <a:lstStyle>
            <a:lvl1pPr>
              <a:defRPr sz="4400">
                <a:solidFill>
                  <a:schemeClr val="accent3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520" y="4862945"/>
            <a:ext cx="6475989" cy="49137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6347" y="6127750"/>
            <a:ext cx="892732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0" name="object 2">
            <a:extLst>
              <a:ext uri="{FF2B5EF4-FFF2-40B4-BE49-F238E27FC236}">
                <a16:creationId xmlns:a16="http://schemas.microsoft.com/office/drawing/2014/main" id="{F387DD09-C436-5F8E-8C10-75D345EE965A}"/>
              </a:ext>
            </a:extLst>
          </p:cNvPr>
          <p:cNvSpPr/>
          <p:nvPr userDrawn="1"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4179413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1835" y="365125"/>
            <a:ext cx="7232073" cy="4355493"/>
          </a:xfrm>
        </p:spPr>
        <p:txBody>
          <a:bodyPr anchor="t" anchorCtr="0">
            <a:normAutofit/>
          </a:bodyPr>
          <a:lstStyle>
            <a:lvl1pPr algn="r"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01836" y="4862945"/>
            <a:ext cx="7232072" cy="44057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r">
              <a:buNone/>
              <a:defRPr sz="20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1840" y="6127750"/>
            <a:ext cx="88900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FB453B0D-C8DF-80FC-EEDE-35EBA33A3EB9}"/>
              </a:ext>
            </a:extLst>
          </p:cNvPr>
          <p:cNvSpPr/>
          <p:nvPr userDrawn="1"/>
        </p:nvSpPr>
        <p:spPr>
          <a:xfrm>
            <a:off x="108938" y="-20309"/>
            <a:ext cx="3349537" cy="4281787"/>
          </a:xfrm>
          <a:custGeom>
            <a:avLst/>
            <a:gdLst/>
            <a:ahLst/>
            <a:cxnLst/>
            <a:rect l="l" t="t" r="r" b="b"/>
            <a:pathLst>
              <a:path w="3693795" h="4721860">
                <a:moveTo>
                  <a:pt x="985329" y="60604"/>
                </a:moveTo>
                <a:lnTo>
                  <a:pt x="977315" y="10096"/>
                </a:lnTo>
                <a:lnTo>
                  <a:pt x="972172" y="0"/>
                </a:lnTo>
                <a:lnTo>
                  <a:pt x="684009" y="0"/>
                </a:lnTo>
                <a:lnTo>
                  <a:pt x="678865" y="10096"/>
                </a:lnTo>
                <a:lnTo>
                  <a:pt x="670852" y="60604"/>
                </a:lnTo>
                <a:lnTo>
                  <a:pt x="678865" y="111112"/>
                </a:lnTo>
                <a:lnTo>
                  <a:pt x="701192" y="154978"/>
                </a:lnTo>
                <a:lnTo>
                  <a:pt x="735228" y="189572"/>
                </a:lnTo>
                <a:lnTo>
                  <a:pt x="778395" y="212255"/>
                </a:lnTo>
                <a:lnTo>
                  <a:pt x="828090" y="220395"/>
                </a:lnTo>
                <a:lnTo>
                  <a:pt x="877785" y="212255"/>
                </a:lnTo>
                <a:lnTo>
                  <a:pt x="920953" y="189572"/>
                </a:lnTo>
                <a:lnTo>
                  <a:pt x="954989" y="154978"/>
                </a:lnTo>
                <a:lnTo>
                  <a:pt x="977315" y="111112"/>
                </a:lnTo>
                <a:lnTo>
                  <a:pt x="985329" y="60604"/>
                </a:lnTo>
                <a:close/>
              </a:path>
              <a:path w="3693795" h="4721860">
                <a:moveTo>
                  <a:pt x="1194587" y="628446"/>
                </a:moveTo>
                <a:lnTo>
                  <a:pt x="1189532" y="583895"/>
                </a:lnTo>
                <a:lnTo>
                  <a:pt x="1175143" y="543001"/>
                </a:lnTo>
                <a:lnTo>
                  <a:pt x="1152575" y="506920"/>
                </a:lnTo>
                <a:lnTo>
                  <a:pt x="1122972" y="476821"/>
                </a:lnTo>
                <a:lnTo>
                  <a:pt x="1087462" y="453885"/>
                </a:lnTo>
                <a:lnTo>
                  <a:pt x="1047229" y="439267"/>
                </a:lnTo>
                <a:lnTo>
                  <a:pt x="1003388" y="434136"/>
                </a:lnTo>
                <a:lnTo>
                  <a:pt x="959548" y="439267"/>
                </a:lnTo>
                <a:lnTo>
                  <a:pt x="919302" y="453885"/>
                </a:lnTo>
                <a:lnTo>
                  <a:pt x="883805" y="476821"/>
                </a:lnTo>
                <a:lnTo>
                  <a:pt x="854189" y="506920"/>
                </a:lnTo>
                <a:lnTo>
                  <a:pt x="831621" y="543001"/>
                </a:lnTo>
                <a:lnTo>
                  <a:pt x="817232" y="583895"/>
                </a:lnTo>
                <a:lnTo>
                  <a:pt x="812190" y="628446"/>
                </a:lnTo>
                <a:lnTo>
                  <a:pt x="817232" y="672998"/>
                </a:lnTo>
                <a:lnTo>
                  <a:pt x="831621" y="713905"/>
                </a:lnTo>
                <a:lnTo>
                  <a:pt x="854189" y="749973"/>
                </a:lnTo>
                <a:lnTo>
                  <a:pt x="883805" y="780072"/>
                </a:lnTo>
                <a:lnTo>
                  <a:pt x="919302" y="803008"/>
                </a:lnTo>
                <a:lnTo>
                  <a:pt x="959548" y="817626"/>
                </a:lnTo>
                <a:lnTo>
                  <a:pt x="1003388" y="822756"/>
                </a:lnTo>
                <a:lnTo>
                  <a:pt x="1047229" y="817626"/>
                </a:lnTo>
                <a:lnTo>
                  <a:pt x="1087462" y="803008"/>
                </a:lnTo>
                <a:lnTo>
                  <a:pt x="1122972" y="780072"/>
                </a:lnTo>
                <a:lnTo>
                  <a:pt x="1152575" y="749973"/>
                </a:lnTo>
                <a:lnTo>
                  <a:pt x="1175143" y="713905"/>
                </a:lnTo>
                <a:lnTo>
                  <a:pt x="1189532" y="672998"/>
                </a:lnTo>
                <a:lnTo>
                  <a:pt x="1194587" y="628446"/>
                </a:lnTo>
                <a:close/>
              </a:path>
              <a:path w="3693795" h="4721860">
                <a:moveTo>
                  <a:pt x="2110397" y="2736418"/>
                </a:moveTo>
                <a:lnTo>
                  <a:pt x="2105355" y="2691866"/>
                </a:lnTo>
                <a:lnTo>
                  <a:pt x="2090966" y="2650960"/>
                </a:lnTo>
                <a:lnTo>
                  <a:pt x="2068398" y="2614892"/>
                </a:lnTo>
                <a:lnTo>
                  <a:pt x="2038781" y="2584793"/>
                </a:lnTo>
                <a:lnTo>
                  <a:pt x="2003285" y="2561856"/>
                </a:lnTo>
                <a:lnTo>
                  <a:pt x="1963039" y="2547239"/>
                </a:lnTo>
                <a:lnTo>
                  <a:pt x="1919198" y="2542108"/>
                </a:lnTo>
                <a:lnTo>
                  <a:pt x="1875358" y="2547239"/>
                </a:lnTo>
                <a:lnTo>
                  <a:pt x="1835111" y="2561856"/>
                </a:lnTo>
                <a:lnTo>
                  <a:pt x="1799615" y="2584793"/>
                </a:lnTo>
                <a:lnTo>
                  <a:pt x="1770011" y="2614892"/>
                </a:lnTo>
                <a:lnTo>
                  <a:pt x="1747431" y="2650960"/>
                </a:lnTo>
                <a:lnTo>
                  <a:pt x="1733054" y="2691866"/>
                </a:lnTo>
                <a:lnTo>
                  <a:pt x="1728000" y="2736418"/>
                </a:lnTo>
                <a:lnTo>
                  <a:pt x="1733054" y="2780969"/>
                </a:lnTo>
                <a:lnTo>
                  <a:pt x="1747431" y="2821863"/>
                </a:lnTo>
                <a:lnTo>
                  <a:pt x="1770011" y="2857944"/>
                </a:lnTo>
                <a:lnTo>
                  <a:pt x="1799615" y="2888043"/>
                </a:lnTo>
                <a:lnTo>
                  <a:pt x="1835111" y="2910979"/>
                </a:lnTo>
                <a:lnTo>
                  <a:pt x="1875358" y="2925597"/>
                </a:lnTo>
                <a:lnTo>
                  <a:pt x="1919198" y="2930728"/>
                </a:lnTo>
                <a:lnTo>
                  <a:pt x="1963039" y="2925597"/>
                </a:lnTo>
                <a:lnTo>
                  <a:pt x="2003285" y="2910979"/>
                </a:lnTo>
                <a:lnTo>
                  <a:pt x="2038781" y="2888043"/>
                </a:lnTo>
                <a:lnTo>
                  <a:pt x="2068398" y="2857944"/>
                </a:lnTo>
                <a:lnTo>
                  <a:pt x="2090966" y="2821863"/>
                </a:lnTo>
                <a:lnTo>
                  <a:pt x="2105355" y="2780969"/>
                </a:lnTo>
                <a:lnTo>
                  <a:pt x="2110397" y="2736418"/>
                </a:lnTo>
                <a:close/>
              </a:path>
              <a:path w="3693795" h="4721860">
                <a:moveTo>
                  <a:pt x="2315591" y="3313163"/>
                </a:moveTo>
                <a:lnTo>
                  <a:pt x="2310536" y="3268611"/>
                </a:lnTo>
                <a:lnTo>
                  <a:pt x="2296160" y="3227717"/>
                </a:lnTo>
                <a:lnTo>
                  <a:pt x="2273592" y="3191637"/>
                </a:lnTo>
                <a:lnTo>
                  <a:pt x="2243975" y="3161538"/>
                </a:lnTo>
                <a:lnTo>
                  <a:pt x="2208479" y="3138601"/>
                </a:lnTo>
                <a:lnTo>
                  <a:pt x="2168233" y="3123984"/>
                </a:lnTo>
                <a:lnTo>
                  <a:pt x="2124392" y="3118853"/>
                </a:lnTo>
                <a:lnTo>
                  <a:pt x="2080552" y="3123984"/>
                </a:lnTo>
                <a:lnTo>
                  <a:pt x="2040305" y="3138601"/>
                </a:lnTo>
                <a:lnTo>
                  <a:pt x="2004809" y="3161538"/>
                </a:lnTo>
                <a:lnTo>
                  <a:pt x="1975192" y="3191637"/>
                </a:lnTo>
                <a:lnTo>
                  <a:pt x="1952625" y="3227717"/>
                </a:lnTo>
                <a:lnTo>
                  <a:pt x="1938235" y="3268611"/>
                </a:lnTo>
                <a:lnTo>
                  <a:pt x="1933194" y="3313163"/>
                </a:lnTo>
                <a:lnTo>
                  <a:pt x="1938235" y="3357715"/>
                </a:lnTo>
                <a:lnTo>
                  <a:pt x="1952625" y="3398621"/>
                </a:lnTo>
                <a:lnTo>
                  <a:pt x="1975192" y="3434689"/>
                </a:lnTo>
                <a:lnTo>
                  <a:pt x="2004809" y="3464788"/>
                </a:lnTo>
                <a:lnTo>
                  <a:pt x="2040305" y="3487724"/>
                </a:lnTo>
                <a:lnTo>
                  <a:pt x="2080552" y="3502342"/>
                </a:lnTo>
                <a:lnTo>
                  <a:pt x="2124392" y="3507473"/>
                </a:lnTo>
                <a:lnTo>
                  <a:pt x="2168233" y="3502342"/>
                </a:lnTo>
                <a:lnTo>
                  <a:pt x="2208479" y="3487724"/>
                </a:lnTo>
                <a:lnTo>
                  <a:pt x="2243975" y="3464788"/>
                </a:lnTo>
                <a:lnTo>
                  <a:pt x="2273592" y="3434689"/>
                </a:lnTo>
                <a:lnTo>
                  <a:pt x="2296160" y="3398621"/>
                </a:lnTo>
                <a:lnTo>
                  <a:pt x="2310536" y="3357715"/>
                </a:lnTo>
                <a:lnTo>
                  <a:pt x="2315591" y="3313163"/>
                </a:lnTo>
                <a:close/>
              </a:path>
              <a:path w="3693795" h="4721860">
                <a:moveTo>
                  <a:pt x="2551633" y="1956752"/>
                </a:moveTo>
                <a:lnTo>
                  <a:pt x="2547645" y="1911578"/>
                </a:lnTo>
                <a:lnTo>
                  <a:pt x="2536164" y="1869046"/>
                </a:lnTo>
                <a:lnTo>
                  <a:pt x="2517864" y="1829892"/>
                </a:lnTo>
                <a:lnTo>
                  <a:pt x="2493467" y="1794814"/>
                </a:lnTo>
                <a:lnTo>
                  <a:pt x="2463660" y="1764525"/>
                </a:lnTo>
                <a:lnTo>
                  <a:pt x="2429141" y="1739722"/>
                </a:lnTo>
                <a:lnTo>
                  <a:pt x="2390610" y="1721129"/>
                </a:lnTo>
                <a:lnTo>
                  <a:pt x="2348776" y="1709458"/>
                </a:lnTo>
                <a:lnTo>
                  <a:pt x="2304313" y="1705406"/>
                </a:lnTo>
                <a:lnTo>
                  <a:pt x="2259863" y="1709458"/>
                </a:lnTo>
                <a:lnTo>
                  <a:pt x="2218017" y="1721129"/>
                </a:lnTo>
                <a:lnTo>
                  <a:pt x="2179485" y="1739722"/>
                </a:lnTo>
                <a:lnTo>
                  <a:pt x="2144966" y="1764525"/>
                </a:lnTo>
                <a:lnTo>
                  <a:pt x="2115159" y="1794814"/>
                </a:lnTo>
                <a:lnTo>
                  <a:pt x="2090762" y="1829892"/>
                </a:lnTo>
                <a:lnTo>
                  <a:pt x="2072474" y="1869046"/>
                </a:lnTo>
                <a:lnTo>
                  <a:pt x="2060981" y="1911578"/>
                </a:lnTo>
                <a:lnTo>
                  <a:pt x="2056993" y="1956752"/>
                </a:lnTo>
                <a:lnTo>
                  <a:pt x="2060981" y="2001926"/>
                </a:lnTo>
                <a:lnTo>
                  <a:pt x="2072474" y="2044458"/>
                </a:lnTo>
                <a:lnTo>
                  <a:pt x="2090762" y="2083612"/>
                </a:lnTo>
                <a:lnTo>
                  <a:pt x="2115159" y="2118690"/>
                </a:lnTo>
                <a:lnTo>
                  <a:pt x="2144966" y="2148979"/>
                </a:lnTo>
                <a:lnTo>
                  <a:pt x="2179485" y="2173782"/>
                </a:lnTo>
                <a:lnTo>
                  <a:pt x="2218017" y="2192375"/>
                </a:lnTo>
                <a:lnTo>
                  <a:pt x="2259863" y="2204047"/>
                </a:lnTo>
                <a:lnTo>
                  <a:pt x="2304313" y="2208098"/>
                </a:lnTo>
                <a:lnTo>
                  <a:pt x="2348776" y="2204047"/>
                </a:lnTo>
                <a:lnTo>
                  <a:pt x="2390610" y="2192375"/>
                </a:lnTo>
                <a:lnTo>
                  <a:pt x="2429141" y="2173782"/>
                </a:lnTo>
                <a:lnTo>
                  <a:pt x="2463660" y="2148979"/>
                </a:lnTo>
                <a:lnTo>
                  <a:pt x="2493467" y="2118690"/>
                </a:lnTo>
                <a:lnTo>
                  <a:pt x="2517864" y="2083612"/>
                </a:lnTo>
                <a:lnTo>
                  <a:pt x="2536164" y="2044458"/>
                </a:lnTo>
                <a:lnTo>
                  <a:pt x="2547645" y="2001926"/>
                </a:lnTo>
                <a:lnTo>
                  <a:pt x="2551633" y="1956752"/>
                </a:lnTo>
                <a:close/>
              </a:path>
              <a:path w="3693795" h="4721860">
                <a:moveTo>
                  <a:pt x="2845346" y="10020"/>
                </a:moveTo>
                <a:lnTo>
                  <a:pt x="1323581" y="10020"/>
                </a:lnTo>
                <a:lnTo>
                  <a:pt x="1314577" y="48120"/>
                </a:lnTo>
                <a:lnTo>
                  <a:pt x="1324521" y="98920"/>
                </a:lnTo>
                <a:lnTo>
                  <a:pt x="1351661" y="137020"/>
                </a:lnTo>
                <a:lnTo>
                  <a:pt x="1391920" y="162420"/>
                </a:lnTo>
                <a:lnTo>
                  <a:pt x="1441234" y="175120"/>
                </a:lnTo>
                <a:lnTo>
                  <a:pt x="2424163" y="175120"/>
                </a:lnTo>
                <a:lnTo>
                  <a:pt x="2406192" y="225920"/>
                </a:lnTo>
                <a:lnTo>
                  <a:pt x="2386253" y="264020"/>
                </a:lnTo>
                <a:lnTo>
                  <a:pt x="2364435" y="314820"/>
                </a:lnTo>
                <a:lnTo>
                  <a:pt x="2340800" y="365620"/>
                </a:lnTo>
                <a:lnTo>
                  <a:pt x="2315400" y="403720"/>
                </a:lnTo>
                <a:lnTo>
                  <a:pt x="2288298" y="454520"/>
                </a:lnTo>
                <a:lnTo>
                  <a:pt x="2259584" y="492620"/>
                </a:lnTo>
                <a:lnTo>
                  <a:pt x="1496834" y="492620"/>
                </a:lnTo>
                <a:lnTo>
                  <a:pt x="1447520" y="505320"/>
                </a:lnTo>
                <a:lnTo>
                  <a:pt x="1407261" y="530720"/>
                </a:lnTo>
                <a:lnTo>
                  <a:pt x="1380121" y="581520"/>
                </a:lnTo>
                <a:lnTo>
                  <a:pt x="1370177" y="619620"/>
                </a:lnTo>
                <a:lnTo>
                  <a:pt x="1380121" y="670420"/>
                </a:lnTo>
                <a:lnTo>
                  <a:pt x="1407261" y="721220"/>
                </a:lnTo>
                <a:lnTo>
                  <a:pt x="1447520" y="746620"/>
                </a:lnTo>
                <a:lnTo>
                  <a:pt x="2074989" y="746620"/>
                </a:lnTo>
                <a:lnTo>
                  <a:pt x="2044115" y="784720"/>
                </a:lnTo>
                <a:lnTo>
                  <a:pt x="2012492" y="822820"/>
                </a:lnTo>
                <a:lnTo>
                  <a:pt x="1980171" y="860920"/>
                </a:lnTo>
                <a:lnTo>
                  <a:pt x="1947189" y="899020"/>
                </a:lnTo>
                <a:lnTo>
                  <a:pt x="1913585" y="937120"/>
                </a:lnTo>
                <a:lnTo>
                  <a:pt x="1879396" y="975220"/>
                </a:lnTo>
                <a:lnTo>
                  <a:pt x="1844662" y="1013320"/>
                </a:lnTo>
                <a:lnTo>
                  <a:pt x="1809432" y="1051420"/>
                </a:lnTo>
                <a:lnTo>
                  <a:pt x="1773732" y="1089520"/>
                </a:lnTo>
                <a:lnTo>
                  <a:pt x="1737614" y="1127620"/>
                </a:lnTo>
                <a:lnTo>
                  <a:pt x="1701114" y="1165720"/>
                </a:lnTo>
                <a:lnTo>
                  <a:pt x="1627111" y="1241920"/>
                </a:lnTo>
                <a:lnTo>
                  <a:pt x="1589697" y="1267320"/>
                </a:lnTo>
                <a:lnTo>
                  <a:pt x="1400073" y="1457820"/>
                </a:lnTo>
                <a:lnTo>
                  <a:pt x="1361909" y="1483220"/>
                </a:lnTo>
                <a:lnTo>
                  <a:pt x="1247686" y="1597520"/>
                </a:lnTo>
                <a:lnTo>
                  <a:pt x="1128903" y="1699120"/>
                </a:lnTo>
                <a:lnTo>
                  <a:pt x="1085837" y="1749920"/>
                </a:lnTo>
                <a:lnTo>
                  <a:pt x="958227" y="1864220"/>
                </a:lnTo>
                <a:lnTo>
                  <a:pt x="874915" y="1940420"/>
                </a:lnTo>
                <a:lnTo>
                  <a:pt x="833920" y="1978520"/>
                </a:lnTo>
                <a:lnTo>
                  <a:pt x="793445" y="2016620"/>
                </a:lnTo>
                <a:lnTo>
                  <a:pt x="753503" y="2054720"/>
                </a:lnTo>
                <a:lnTo>
                  <a:pt x="714159" y="2092820"/>
                </a:lnTo>
                <a:lnTo>
                  <a:pt x="675462" y="2130920"/>
                </a:lnTo>
                <a:lnTo>
                  <a:pt x="637451" y="2169020"/>
                </a:lnTo>
                <a:lnTo>
                  <a:pt x="600176" y="2207120"/>
                </a:lnTo>
                <a:lnTo>
                  <a:pt x="563664" y="2245220"/>
                </a:lnTo>
                <a:lnTo>
                  <a:pt x="527977" y="2283320"/>
                </a:lnTo>
                <a:lnTo>
                  <a:pt x="493166" y="2321420"/>
                </a:lnTo>
                <a:lnTo>
                  <a:pt x="459270" y="2359520"/>
                </a:lnTo>
                <a:lnTo>
                  <a:pt x="426326" y="2397620"/>
                </a:lnTo>
                <a:lnTo>
                  <a:pt x="394373" y="2435720"/>
                </a:lnTo>
                <a:lnTo>
                  <a:pt x="363486" y="2473820"/>
                </a:lnTo>
                <a:lnTo>
                  <a:pt x="333692" y="2511920"/>
                </a:lnTo>
                <a:lnTo>
                  <a:pt x="305028" y="2550020"/>
                </a:lnTo>
                <a:lnTo>
                  <a:pt x="277558" y="2588120"/>
                </a:lnTo>
                <a:lnTo>
                  <a:pt x="251320" y="2626220"/>
                </a:lnTo>
                <a:lnTo>
                  <a:pt x="226352" y="2664320"/>
                </a:lnTo>
                <a:lnTo>
                  <a:pt x="202704" y="2702420"/>
                </a:lnTo>
                <a:lnTo>
                  <a:pt x="180428" y="2740520"/>
                </a:lnTo>
                <a:lnTo>
                  <a:pt x="159562" y="2778620"/>
                </a:lnTo>
                <a:lnTo>
                  <a:pt x="140144" y="2816720"/>
                </a:lnTo>
                <a:lnTo>
                  <a:pt x="122237" y="2854820"/>
                </a:lnTo>
                <a:lnTo>
                  <a:pt x="105879" y="2892920"/>
                </a:lnTo>
                <a:lnTo>
                  <a:pt x="91122" y="2931020"/>
                </a:lnTo>
                <a:lnTo>
                  <a:pt x="77990" y="2956420"/>
                </a:lnTo>
                <a:lnTo>
                  <a:pt x="56781" y="3032620"/>
                </a:lnTo>
                <a:lnTo>
                  <a:pt x="39179" y="3096120"/>
                </a:lnTo>
                <a:lnTo>
                  <a:pt x="25031" y="3159620"/>
                </a:lnTo>
                <a:lnTo>
                  <a:pt x="14198" y="3235820"/>
                </a:lnTo>
                <a:lnTo>
                  <a:pt x="6502" y="3299320"/>
                </a:lnTo>
                <a:lnTo>
                  <a:pt x="1828" y="3362820"/>
                </a:lnTo>
                <a:lnTo>
                  <a:pt x="0" y="3426320"/>
                </a:lnTo>
                <a:lnTo>
                  <a:pt x="863" y="3489820"/>
                </a:lnTo>
                <a:lnTo>
                  <a:pt x="4305" y="3540620"/>
                </a:lnTo>
                <a:lnTo>
                  <a:pt x="10134" y="3604120"/>
                </a:lnTo>
                <a:lnTo>
                  <a:pt x="18224" y="3667620"/>
                </a:lnTo>
                <a:lnTo>
                  <a:pt x="28422" y="3718420"/>
                </a:lnTo>
                <a:lnTo>
                  <a:pt x="40576" y="3781920"/>
                </a:lnTo>
                <a:lnTo>
                  <a:pt x="54521" y="3832720"/>
                </a:lnTo>
                <a:lnTo>
                  <a:pt x="70142" y="3883520"/>
                </a:lnTo>
                <a:lnTo>
                  <a:pt x="87249" y="3934320"/>
                </a:lnTo>
                <a:lnTo>
                  <a:pt x="105727" y="3985120"/>
                </a:lnTo>
                <a:lnTo>
                  <a:pt x="125399" y="4035920"/>
                </a:lnTo>
                <a:lnTo>
                  <a:pt x="146138" y="4086720"/>
                </a:lnTo>
                <a:lnTo>
                  <a:pt x="167767" y="4124820"/>
                </a:lnTo>
                <a:lnTo>
                  <a:pt x="190169" y="4175620"/>
                </a:lnTo>
                <a:lnTo>
                  <a:pt x="213169" y="4213720"/>
                </a:lnTo>
                <a:lnTo>
                  <a:pt x="236613" y="4251820"/>
                </a:lnTo>
                <a:lnTo>
                  <a:pt x="260375" y="4302620"/>
                </a:lnTo>
                <a:lnTo>
                  <a:pt x="284302" y="4340720"/>
                </a:lnTo>
                <a:lnTo>
                  <a:pt x="308216" y="4366120"/>
                </a:lnTo>
                <a:lnTo>
                  <a:pt x="332003" y="4404220"/>
                </a:lnTo>
                <a:lnTo>
                  <a:pt x="355485" y="4442320"/>
                </a:lnTo>
                <a:lnTo>
                  <a:pt x="378536" y="4467720"/>
                </a:lnTo>
                <a:lnTo>
                  <a:pt x="400977" y="4493120"/>
                </a:lnTo>
                <a:lnTo>
                  <a:pt x="422681" y="4518520"/>
                </a:lnTo>
                <a:lnTo>
                  <a:pt x="443496" y="4543920"/>
                </a:lnTo>
                <a:lnTo>
                  <a:pt x="463270" y="4569320"/>
                </a:lnTo>
                <a:lnTo>
                  <a:pt x="481838" y="4594720"/>
                </a:lnTo>
                <a:lnTo>
                  <a:pt x="499071" y="4607420"/>
                </a:lnTo>
                <a:lnTo>
                  <a:pt x="514807" y="4632820"/>
                </a:lnTo>
                <a:lnTo>
                  <a:pt x="528904" y="4645520"/>
                </a:lnTo>
                <a:lnTo>
                  <a:pt x="541210" y="4658220"/>
                </a:lnTo>
                <a:lnTo>
                  <a:pt x="551573" y="4658220"/>
                </a:lnTo>
                <a:lnTo>
                  <a:pt x="559841" y="4670920"/>
                </a:lnTo>
                <a:lnTo>
                  <a:pt x="565861" y="4683620"/>
                </a:lnTo>
                <a:lnTo>
                  <a:pt x="569493" y="4683620"/>
                </a:lnTo>
                <a:lnTo>
                  <a:pt x="597319" y="4696320"/>
                </a:lnTo>
                <a:lnTo>
                  <a:pt x="627621" y="4721720"/>
                </a:lnTo>
                <a:lnTo>
                  <a:pt x="729513" y="4721720"/>
                </a:lnTo>
                <a:lnTo>
                  <a:pt x="765454" y="4709020"/>
                </a:lnTo>
                <a:lnTo>
                  <a:pt x="828370" y="4670920"/>
                </a:lnTo>
                <a:lnTo>
                  <a:pt x="856284" y="4632820"/>
                </a:lnTo>
                <a:lnTo>
                  <a:pt x="872045" y="4582020"/>
                </a:lnTo>
                <a:lnTo>
                  <a:pt x="875779" y="4531220"/>
                </a:lnTo>
                <a:lnTo>
                  <a:pt x="867625" y="4493120"/>
                </a:lnTo>
                <a:lnTo>
                  <a:pt x="847686" y="4442320"/>
                </a:lnTo>
                <a:lnTo>
                  <a:pt x="816102" y="4404220"/>
                </a:lnTo>
                <a:lnTo>
                  <a:pt x="807847" y="4404220"/>
                </a:lnTo>
                <a:lnTo>
                  <a:pt x="791743" y="4378820"/>
                </a:lnTo>
                <a:lnTo>
                  <a:pt x="768921" y="4366120"/>
                </a:lnTo>
                <a:lnTo>
                  <a:pt x="740473" y="4328020"/>
                </a:lnTo>
                <a:lnTo>
                  <a:pt x="707555" y="4289920"/>
                </a:lnTo>
                <a:lnTo>
                  <a:pt x="671258" y="4251820"/>
                </a:lnTo>
                <a:lnTo>
                  <a:pt x="632701" y="4201020"/>
                </a:lnTo>
                <a:lnTo>
                  <a:pt x="553326" y="4074020"/>
                </a:lnTo>
                <a:lnTo>
                  <a:pt x="514731" y="3997820"/>
                </a:lnTo>
                <a:lnTo>
                  <a:pt x="1159827" y="3997820"/>
                </a:lnTo>
                <a:lnTo>
                  <a:pt x="1200086" y="3959720"/>
                </a:lnTo>
                <a:lnTo>
                  <a:pt x="1227226" y="3921620"/>
                </a:lnTo>
                <a:lnTo>
                  <a:pt x="1237170" y="3870820"/>
                </a:lnTo>
                <a:lnTo>
                  <a:pt x="1227226" y="3820020"/>
                </a:lnTo>
                <a:lnTo>
                  <a:pt x="1200086" y="3781920"/>
                </a:lnTo>
                <a:lnTo>
                  <a:pt x="1159827" y="3756520"/>
                </a:lnTo>
                <a:lnTo>
                  <a:pt x="1110513" y="3743820"/>
                </a:lnTo>
                <a:lnTo>
                  <a:pt x="413499" y="3743820"/>
                </a:lnTo>
                <a:lnTo>
                  <a:pt x="401281" y="3705720"/>
                </a:lnTo>
                <a:lnTo>
                  <a:pt x="390766" y="3654920"/>
                </a:lnTo>
                <a:lnTo>
                  <a:pt x="382104" y="3604120"/>
                </a:lnTo>
                <a:lnTo>
                  <a:pt x="375450" y="3553320"/>
                </a:lnTo>
                <a:lnTo>
                  <a:pt x="370941" y="3502520"/>
                </a:lnTo>
                <a:lnTo>
                  <a:pt x="368731" y="3451720"/>
                </a:lnTo>
                <a:lnTo>
                  <a:pt x="1493862" y="3451720"/>
                </a:lnTo>
                <a:lnTo>
                  <a:pt x="1543177" y="3439020"/>
                </a:lnTo>
                <a:lnTo>
                  <a:pt x="1583436" y="3413620"/>
                </a:lnTo>
                <a:lnTo>
                  <a:pt x="1610575" y="3375520"/>
                </a:lnTo>
                <a:lnTo>
                  <a:pt x="1620520" y="3324720"/>
                </a:lnTo>
                <a:lnTo>
                  <a:pt x="1610575" y="3273920"/>
                </a:lnTo>
                <a:lnTo>
                  <a:pt x="1583436" y="3235820"/>
                </a:lnTo>
                <a:lnTo>
                  <a:pt x="1543177" y="3210420"/>
                </a:lnTo>
                <a:lnTo>
                  <a:pt x="1493862" y="3197720"/>
                </a:lnTo>
                <a:lnTo>
                  <a:pt x="393382" y="3197720"/>
                </a:lnTo>
                <a:lnTo>
                  <a:pt x="400278" y="3172320"/>
                </a:lnTo>
                <a:lnTo>
                  <a:pt x="408038" y="3134220"/>
                </a:lnTo>
                <a:lnTo>
                  <a:pt x="416763" y="3108820"/>
                </a:lnTo>
                <a:lnTo>
                  <a:pt x="426529" y="3083420"/>
                </a:lnTo>
                <a:lnTo>
                  <a:pt x="441350" y="3032620"/>
                </a:lnTo>
                <a:lnTo>
                  <a:pt x="459257" y="2994520"/>
                </a:lnTo>
                <a:lnTo>
                  <a:pt x="480085" y="2956420"/>
                </a:lnTo>
                <a:lnTo>
                  <a:pt x="503656" y="2918320"/>
                </a:lnTo>
                <a:lnTo>
                  <a:pt x="529818" y="2867520"/>
                </a:lnTo>
                <a:lnTo>
                  <a:pt x="1442580" y="2867520"/>
                </a:lnTo>
                <a:lnTo>
                  <a:pt x="1482839" y="2829420"/>
                </a:lnTo>
                <a:lnTo>
                  <a:pt x="1509979" y="2791320"/>
                </a:lnTo>
                <a:lnTo>
                  <a:pt x="1519923" y="2740520"/>
                </a:lnTo>
                <a:lnTo>
                  <a:pt x="1509979" y="2702420"/>
                </a:lnTo>
                <a:lnTo>
                  <a:pt x="1482839" y="2651620"/>
                </a:lnTo>
                <a:lnTo>
                  <a:pt x="1442580" y="2626220"/>
                </a:lnTo>
                <a:lnTo>
                  <a:pt x="1393266" y="2613520"/>
                </a:lnTo>
                <a:lnTo>
                  <a:pt x="723988" y="2613520"/>
                </a:lnTo>
                <a:lnTo>
                  <a:pt x="754214" y="2588120"/>
                </a:lnTo>
                <a:lnTo>
                  <a:pt x="785418" y="2550020"/>
                </a:lnTo>
                <a:lnTo>
                  <a:pt x="817549" y="2511920"/>
                </a:lnTo>
                <a:lnTo>
                  <a:pt x="850595" y="2486520"/>
                </a:lnTo>
                <a:lnTo>
                  <a:pt x="884466" y="2448420"/>
                </a:lnTo>
                <a:lnTo>
                  <a:pt x="919149" y="2410320"/>
                </a:lnTo>
                <a:lnTo>
                  <a:pt x="954570" y="2372220"/>
                </a:lnTo>
                <a:lnTo>
                  <a:pt x="990701" y="2334120"/>
                </a:lnTo>
                <a:lnTo>
                  <a:pt x="1027493" y="2308720"/>
                </a:lnTo>
                <a:lnTo>
                  <a:pt x="1064895" y="2270620"/>
                </a:lnTo>
                <a:lnTo>
                  <a:pt x="1102842" y="2232520"/>
                </a:lnTo>
                <a:lnTo>
                  <a:pt x="1141323" y="2194420"/>
                </a:lnTo>
                <a:lnTo>
                  <a:pt x="1180261" y="2156320"/>
                </a:lnTo>
                <a:lnTo>
                  <a:pt x="1259370" y="2080120"/>
                </a:lnTo>
                <a:lnTo>
                  <a:pt x="1339773" y="2003920"/>
                </a:lnTo>
                <a:lnTo>
                  <a:pt x="1380350" y="1978520"/>
                </a:lnTo>
                <a:lnTo>
                  <a:pt x="1460766" y="1902320"/>
                </a:lnTo>
                <a:lnTo>
                  <a:pt x="1737309" y="1635620"/>
                </a:lnTo>
                <a:lnTo>
                  <a:pt x="1776310" y="1597520"/>
                </a:lnTo>
                <a:lnTo>
                  <a:pt x="1815109" y="1572120"/>
                </a:lnTo>
                <a:lnTo>
                  <a:pt x="1891931" y="1495920"/>
                </a:lnTo>
                <a:lnTo>
                  <a:pt x="1967534" y="1419720"/>
                </a:lnTo>
                <a:lnTo>
                  <a:pt x="2004809" y="1381620"/>
                </a:lnTo>
                <a:lnTo>
                  <a:pt x="2041690" y="1343520"/>
                </a:lnTo>
                <a:lnTo>
                  <a:pt x="2078139" y="1305420"/>
                </a:lnTo>
                <a:lnTo>
                  <a:pt x="2114143" y="1267320"/>
                </a:lnTo>
                <a:lnTo>
                  <a:pt x="2149665" y="1229220"/>
                </a:lnTo>
                <a:lnTo>
                  <a:pt x="2184679" y="1191120"/>
                </a:lnTo>
                <a:lnTo>
                  <a:pt x="2219147" y="1153020"/>
                </a:lnTo>
                <a:lnTo>
                  <a:pt x="2253030" y="1114920"/>
                </a:lnTo>
                <a:lnTo>
                  <a:pt x="2286330" y="1076820"/>
                </a:lnTo>
                <a:lnTo>
                  <a:pt x="2318982" y="1038720"/>
                </a:lnTo>
                <a:lnTo>
                  <a:pt x="2350986" y="1000620"/>
                </a:lnTo>
                <a:lnTo>
                  <a:pt x="2382291" y="962520"/>
                </a:lnTo>
                <a:lnTo>
                  <a:pt x="2412873" y="924420"/>
                </a:lnTo>
                <a:lnTo>
                  <a:pt x="2442705" y="886320"/>
                </a:lnTo>
                <a:lnTo>
                  <a:pt x="2471763" y="848220"/>
                </a:lnTo>
                <a:lnTo>
                  <a:pt x="2499995" y="797420"/>
                </a:lnTo>
                <a:lnTo>
                  <a:pt x="2527401" y="759320"/>
                </a:lnTo>
                <a:lnTo>
                  <a:pt x="2553932" y="721220"/>
                </a:lnTo>
                <a:lnTo>
                  <a:pt x="2579560" y="683120"/>
                </a:lnTo>
                <a:lnTo>
                  <a:pt x="2604262" y="645020"/>
                </a:lnTo>
                <a:lnTo>
                  <a:pt x="2627998" y="606920"/>
                </a:lnTo>
                <a:lnTo>
                  <a:pt x="2650744" y="568820"/>
                </a:lnTo>
                <a:lnTo>
                  <a:pt x="2672473" y="518020"/>
                </a:lnTo>
                <a:lnTo>
                  <a:pt x="2693162" y="479920"/>
                </a:lnTo>
                <a:lnTo>
                  <a:pt x="2712758" y="441820"/>
                </a:lnTo>
                <a:lnTo>
                  <a:pt x="2731249" y="403720"/>
                </a:lnTo>
                <a:lnTo>
                  <a:pt x="2748610" y="365620"/>
                </a:lnTo>
                <a:lnTo>
                  <a:pt x="2764790" y="314820"/>
                </a:lnTo>
                <a:lnTo>
                  <a:pt x="2779776" y="276720"/>
                </a:lnTo>
                <a:lnTo>
                  <a:pt x="2793530" y="238620"/>
                </a:lnTo>
                <a:lnTo>
                  <a:pt x="2806039" y="187820"/>
                </a:lnTo>
                <a:lnTo>
                  <a:pt x="2817241" y="149720"/>
                </a:lnTo>
                <a:lnTo>
                  <a:pt x="2827134" y="111620"/>
                </a:lnTo>
                <a:lnTo>
                  <a:pt x="2835681" y="73520"/>
                </a:lnTo>
                <a:lnTo>
                  <a:pt x="2842857" y="22720"/>
                </a:lnTo>
                <a:lnTo>
                  <a:pt x="2845346" y="10020"/>
                </a:lnTo>
                <a:close/>
              </a:path>
              <a:path w="3693795" h="4721860">
                <a:moveTo>
                  <a:pt x="3506774" y="1344333"/>
                </a:moveTo>
                <a:lnTo>
                  <a:pt x="3503396" y="1297622"/>
                </a:lnTo>
                <a:lnTo>
                  <a:pt x="3493605" y="1253045"/>
                </a:lnTo>
                <a:lnTo>
                  <a:pt x="3477857" y="1211084"/>
                </a:lnTo>
                <a:lnTo>
                  <a:pt x="3456660" y="1172222"/>
                </a:lnTo>
                <a:lnTo>
                  <a:pt x="3430473" y="1136954"/>
                </a:lnTo>
                <a:lnTo>
                  <a:pt x="3399790" y="1105776"/>
                </a:lnTo>
                <a:lnTo>
                  <a:pt x="3365093" y="1079169"/>
                </a:lnTo>
                <a:lnTo>
                  <a:pt x="3326854" y="1057630"/>
                </a:lnTo>
                <a:lnTo>
                  <a:pt x="3285566" y="1041628"/>
                </a:lnTo>
                <a:lnTo>
                  <a:pt x="3241700" y="1031671"/>
                </a:lnTo>
                <a:lnTo>
                  <a:pt x="3195739" y="1028242"/>
                </a:lnTo>
                <a:lnTo>
                  <a:pt x="3149777" y="1031671"/>
                </a:lnTo>
                <a:lnTo>
                  <a:pt x="3105899" y="1041628"/>
                </a:lnTo>
                <a:lnTo>
                  <a:pt x="3064611" y="1057630"/>
                </a:lnTo>
                <a:lnTo>
                  <a:pt x="3026372" y="1079169"/>
                </a:lnTo>
                <a:lnTo>
                  <a:pt x="2991675" y="1105776"/>
                </a:lnTo>
                <a:lnTo>
                  <a:pt x="2960992" y="1136954"/>
                </a:lnTo>
                <a:lnTo>
                  <a:pt x="2934805" y="1172222"/>
                </a:lnTo>
                <a:lnTo>
                  <a:pt x="2913608" y="1211084"/>
                </a:lnTo>
                <a:lnTo>
                  <a:pt x="2897873" y="1253045"/>
                </a:lnTo>
                <a:lnTo>
                  <a:pt x="2888069" y="1297622"/>
                </a:lnTo>
                <a:lnTo>
                  <a:pt x="2884703" y="1344333"/>
                </a:lnTo>
                <a:lnTo>
                  <a:pt x="2888069" y="1391043"/>
                </a:lnTo>
                <a:lnTo>
                  <a:pt x="2897873" y="1435633"/>
                </a:lnTo>
                <a:lnTo>
                  <a:pt x="2913608" y="1477594"/>
                </a:lnTo>
                <a:lnTo>
                  <a:pt x="2934805" y="1516456"/>
                </a:lnTo>
                <a:lnTo>
                  <a:pt x="2960992" y="1551711"/>
                </a:lnTo>
                <a:lnTo>
                  <a:pt x="2991675" y="1582902"/>
                </a:lnTo>
                <a:lnTo>
                  <a:pt x="3026372" y="1609509"/>
                </a:lnTo>
                <a:lnTo>
                  <a:pt x="3064611" y="1631048"/>
                </a:lnTo>
                <a:lnTo>
                  <a:pt x="3105899" y="1647050"/>
                </a:lnTo>
                <a:lnTo>
                  <a:pt x="3149777" y="1657007"/>
                </a:lnTo>
                <a:lnTo>
                  <a:pt x="3195739" y="1660423"/>
                </a:lnTo>
                <a:lnTo>
                  <a:pt x="3241700" y="1657007"/>
                </a:lnTo>
                <a:lnTo>
                  <a:pt x="3285566" y="1647050"/>
                </a:lnTo>
                <a:lnTo>
                  <a:pt x="3326854" y="1631048"/>
                </a:lnTo>
                <a:lnTo>
                  <a:pt x="3365093" y="1609509"/>
                </a:lnTo>
                <a:lnTo>
                  <a:pt x="3399790" y="1582902"/>
                </a:lnTo>
                <a:lnTo>
                  <a:pt x="3430473" y="1551711"/>
                </a:lnTo>
                <a:lnTo>
                  <a:pt x="3456660" y="1516456"/>
                </a:lnTo>
                <a:lnTo>
                  <a:pt x="3477857" y="1477594"/>
                </a:lnTo>
                <a:lnTo>
                  <a:pt x="3493605" y="1435633"/>
                </a:lnTo>
                <a:lnTo>
                  <a:pt x="3503396" y="1391043"/>
                </a:lnTo>
                <a:lnTo>
                  <a:pt x="3506774" y="1344333"/>
                </a:lnTo>
                <a:close/>
              </a:path>
              <a:path w="3693795" h="4721860">
                <a:moveTo>
                  <a:pt x="3508527" y="2550566"/>
                </a:moveTo>
                <a:lnTo>
                  <a:pt x="3505873" y="2503855"/>
                </a:lnTo>
                <a:lnTo>
                  <a:pt x="3498113" y="2458732"/>
                </a:lnTo>
                <a:lnTo>
                  <a:pt x="3485540" y="2415476"/>
                </a:lnTo>
                <a:lnTo>
                  <a:pt x="3468459" y="2374417"/>
                </a:lnTo>
                <a:lnTo>
                  <a:pt x="3447161" y="2335834"/>
                </a:lnTo>
                <a:lnTo>
                  <a:pt x="3421938" y="2300046"/>
                </a:lnTo>
                <a:lnTo>
                  <a:pt x="3393084" y="2267331"/>
                </a:lnTo>
                <a:lnTo>
                  <a:pt x="3360890" y="2238006"/>
                </a:lnTo>
                <a:lnTo>
                  <a:pt x="3325672" y="2212378"/>
                </a:lnTo>
                <a:lnTo>
                  <a:pt x="3287712" y="2190724"/>
                </a:lnTo>
                <a:lnTo>
                  <a:pt x="3247301" y="2173363"/>
                </a:lnTo>
                <a:lnTo>
                  <a:pt x="3204756" y="2160587"/>
                </a:lnTo>
                <a:lnTo>
                  <a:pt x="3160344" y="2152713"/>
                </a:lnTo>
                <a:lnTo>
                  <a:pt x="3114383" y="2150008"/>
                </a:lnTo>
                <a:lnTo>
                  <a:pt x="3068409" y="2152713"/>
                </a:lnTo>
                <a:lnTo>
                  <a:pt x="3024009" y="2160587"/>
                </a:lnTo>
                <a:lnTo>
                  <a:pt x="2981452" y="2173363"/>
                </a:lnTo>
                <a:lnTo>
                  <a:pt x="2941040" y="2190724"/>
                </a:lnTo>
                <a:lnTo>
                  <a:pt x="2903080" y="2212378"/>
                </a:lnTo>
                <a:lnTo>
                  <a:pt x="2867863" y="2238006"/>
                </a:lnTo>
                <a:lnTo>
                  <a:pt x="2835681" y="2267331"/>
                </a:lnTo>
                <a:lnTo>
                  <a:pt x="2806827" y="2300046"/>
                </a:lnTo>
                <a:lnTo>
                  <a:pt x="2781604" y="2335834"/>
                </a:lnTo>
                <a:lnTo>
                  <a:pt x="2760294" y="2374417"/>
                </a:lnTo>
                <a:lnTo>
                  <a:pt x="2743212" y="2415476"/>
                </a:lnTo>
                <a:lnTo>
                  <a:pt x="2730639" y="2458732"/>
                </a:lnTo>
                <a:lnTo>
                  <a:pt x="2722880" y="2503855"/>
                </a:lnTo>
                <a:lnTo>
                  <a:pt x="2720238" y="2550566"/>
                </a:lnTo>
                <a:lnTo>
                  <a:pt x="2722880" y="2597289"/>
                </a:lnTo>
                <a:lnTo>
                  <a:pt x="2730639" y="2642412"/>
                </a:lnTo>
                <a:lnTo>
                  <a:pt x="2743212" y="2685669"/>
                </a:lnTo>
                <a:lnTo>
                  <a:pt x="2760294" y="2726728"/>
                </a:lnTo>
                <a:lnTo>
                  <a:pt x="2781604" y="2765310"/>
                </a:lnTo>
                <a:lnTo>
                  <a:pt x="2806827" y="2801099"/>
                </a:lnTo>
                <a:lnTo>
                  <a:pt x="2835681" y="2833814"/>
                </a:lnTo>
                <a:lnTo>
                  <a:pt x="2867863" y="2863126"/>
                </a:lnTo>
                <a:lnTo>
                  <a:pt x="2903080" y="2888767"/>
                </a:lnTo>
                <a:lnTo>
                  <a:pt x="2941040" y="2910421"/>
                </a:lnTo>
                <a:lnTo>
                  <a:pt x="2981452" y="2927781"/>
                </a:lnTo>
                <a:lnTo>
                  <a:pt x="3024009" y="2940545"/>
                </a:lnTo>
                <a:lnTo>
                  <a:pt x="3068409" y="2948432"/>
                </a:lnTo>
                <a:lnTo>
                  <a:pt x="3114383" y="2951124"/>
                </a:lnTo>
                <a:lnTo>
                  <a:pt x="3160344" y="2948432"/>
                </a:lnTo>
                <a:lnTo>
                  <a:pt x="3204756" y="2940545"/>
                </a:lnTo>
                <a:lnTo>
                  <a:pt x="3247301" y="2927781"/>
                </a:lnTo>
                <a:lnTo>
                  <a:pt x="3287712" y="2910421"/>
                </a:lnTo>
                <a:lnTo>
                  <a:pt x="3325672" y="2888767"/>
                </a:lnTo>
                <a:lnTo>
                  <a:pt x="3360890" y="2863126"/>
                </a:lnTo>
                <a:lnTo>
                  <a:pt x="3393084" y="2833814"/>
                </a:lnTo>
                <a:lnTo>
                  <a:pt x="3421938" y="2801099"/>
                </a:lnTo>
                <a:lnTo>
                  <a:pt x="3447161" y="2765310"/>
                </a:lnTo>
                <a:lnTo>
                  <a:pt x="3468459" y="2726728"/>
                </a:lnTo>
                <a:lnTo>
                  <a:pt x="3485540" y="2685669"/>
                </a:lnTo>
                <a:lnTo>
                  <a:pt x="3498113" y="2642412"/>
                </a:lnTo>
                <a:lnTo>
                  <a:pt x="3505873" y="2597289"/>
                </a:lnTo>
                <a:lnTo>
                  <a:pt x="3508527" y="2550566"/>
                </a:lnTo>
                <a:close/>
              </a:path>
              <a:path w="3693795" h="4721860">
                <a:moveTo>
                  <a:pt x="3693350" y="317944"/>
                </a:moveTo>
                <a:lnTo>
                  <a:pt x="3689007" y="268770"/>
                </a:lnTo>
                <a:lnTo>
                  <a:pt x="3676510" y="222491"/>
                </a:lnTo>
                <a:lnTo>
                  <a:pt x="3656596" y="179870"/>
                </a:lnTo>
                <a:lnTo>
                  <a:pt x="3630041" y="141693"/>
                </a:lnTo>
                <a:lnTo>
                  <a:pt x="3597592" y="108724"/>
                </a:lnTo>
                <a:lnTo>
                  <a:pt x="3560026" y="81737"/>
                </a:lnTo>
                <a:lnTo>
                  <a:pt x="3518090" y="61506"/>
                </a:lnTo>
                <a:lnTo>
                  <a:pt x="3472548" y="48793"/>
                </a:lnTo>
                <a:lnTo>
                  <a:pt x="3424161" y="44386"/>
                </a:lnTo>
                <a:lnTo>
                  <a:pt x="3375774" y="48793"/>
                </a:lnTo>
                <a:lnTo>
                  <a:pt x="3330232" y="61506"/>
                </a:lnTo>
                <a:lnTo>
                  <a:pt x="3288296" y="81737"/>
                </a:lnTo>
                <a:lnTo>
                  <a:pt x="3250730" y="108724"/>
                </a:lnTo>
                <a:lnTo>
                  <a:pt x="3218281" y="141693"/>
                </a:lnTo>
                <a:lnTo>
                  <a:pt x="3191726" y="179870"/>
                </a:lnTo>
                <a:lnTo>
                  <a:pt x="3171812" y="222491"/>
                </a:lnTo>
                <a:lnTo>
                  <a:pt x="3159315" y="268770"/>
                </a:lnTo>
                <a:lnTo>
                  <a:pt x="3154972" y="317944"/>
                </a:lnTo>
                <a:lnTo>
                  <a:pt x="3159315" y="367118"/>
                </a:lnTo>
                <a:lnTo>
                  <a:pt x="3171812" y="413397"/>
                </a:lnTo>
                <a:lnTo>
                  <a:pt x="3191726" y="456018"/>
                </a:lnTo>
                <a:lnTo>
                  <a:pt x="3218281" y="494207"/>
                </a:lnTo>
                <a:lnTo>
                  <a:pt x="3250730" y="527177"/>
                </a:lnTo>
                <a:lnTo>
                  <a:pt x="3288296" y="554164"/>
                </a:lnTo>
                <a:lnTo>
                  <a:pt x="3330232" y="574395"/>
                </a:lnTo>
                <a:lnTo>
                  <a:pt x="3375774" y="587108"/>
                </a:lnTo>
                <a:lnTo>
                  <a:pt x="3424161" y="591515"/>
                </a:lnTo>
                <a:lnTo>
                  <a:pt x="3472548" y="587108"/>
                </a:lnTo>
                <a:lnTo>
                  <a:pt x="3518090" y="574395"/>
                </a:lnTo>
                <a:lnTo>
                  <a:pt x="3560026" y="554164"/>
                </a:lnTo>
                <a:lnTo>
                  <a:pt x="3597592" y="527177"/>
                </a:lnTo>
                <a:lnTo>
                  <a:pt x="3630041" y="494207"/>
                </a:lnTo>
                <a:lnTo>
                  <a:pt x="3656596" y="456018"/>
                </a:lnTo>
                <a:lnTo>
                  <a:pt x="3676510" y="413397"/>
                </a:lnTo>
                <a:lnTo>
                  <a:pt x="3689007" y="367118"/>
                </a:lnTo>
                <a:lnTo>
                  <a:pt x="3693350" y="317944"/>
                </a:lnTo>
                <a:close/>
              </a:path>
            </a:pathLst>
          </a:custGeom>
          <a:solidFill>
            <a:srgbClr val="00A79D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7469030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Slide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4446D-3EC5-A487-67B6-AFE74A9C4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365125"/>
            <a:ext cx="6479308" cy="4355493"/>
          </a:xfrm>
        </p:spPr>
        <p:txBody>
          <a:bodyPr anchor="t" anchorCtr="0">
            <a:normAutofit/>
          </a:bodyPr>
          <a:lstStyle>
            <a:lvl1pPr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A96E9-5766-B813-ED3A-78756E2A6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1200" y="4862945"/>
            <a:ext cx="6479307" cy="50153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0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034B4-D92B-161B-41A1-3DE14A2FB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1680" y="6127750"/>
            <a:ext cx="89306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BACCD77F-6A9E-76FD-8A3A-2FBB9E8A1FB5}"/>
              </a:ext>
            </a:extLst>
          </p:cNvPr>
          <p:cNvSpPr/>
          <p:nvPr userDrawn="1"/>
        </p:nvSpPr>
        <p:spPr>
          <a:xfrm>
            <a:off x="7805550" y="0"/>
            <a:ext cx="4391193" cy="4355492"/>
          </a:xfrm>
          <a:custGeom>
            <a:avLst/>
            <a:gdLst/>
            <a:ahLst/>
            <a:cxnLst/>
            <a:rect l="l" t="t" r="r" b="b"/>
            <a:pathLst>
              <a:path w="4842509" h="4803140">
                <a:moveTo>
                  <a:pt x="747268" y="1282877"/>
                </a:moveTo>
                <a:lnTo>
                  <a:pt x="744347" y="1235252"/>
                </a:lnTo>
                <a:lnTo>
                  <a:pt x="735850" y="1189393"/>
                </a:lnTo>
                <a:lnTo>
                  <a:pt x="722109" y="1145654"/>
                </a:lnTo>
                <a:lnTo>
                  <a:pt x="703478" y="1104379"/>
                </a:lnTo>
                <a:lnTo>
                  <a:pt x="680313" y="1065949"/>
                </a:lnTo>
                <a:lnTo>
                  <a:pt x="652957" y="1030706"/>
                </a:lnTo>
                <a:lnTo>
                  <a:pt x="621766" y="999007"/>
                </a:lnTo>
                <a:lnTo>
                  <a:pt x="587095" y="971207"/>
                </a:lnTo>
                <a:lnTo>
                  <a:pt x="549275" y="947661"/>
                </a:lnTo>
                <a:lnTo>
                  <a:pt x="508673" y="928738"/>
                </a:lnTo>
                <a:lnTo>
                  <a:pt x="465620" y="914781"/>
                </a:lnTo>
                <a:lnTo>
                  <a:pt x="420497" y="906132"/>
                </a:lnTo>
                <a:lnTo>
                  <a:pt x="373634" y="903173"/>
                </a:lnTo>
                <a:lnTo>
                  <a:pt x="326758" y="906132"/>
                </a:lnTo>
                <a:lnTo>
                  <a:pt x="281635" y="914781"/>
                </a:lnTo>
                <a:lnTo>
                  <a:pt x="238582" y="928738"/>
                </a:lnTo>
                <a:lnTo>
                  <a:pt x="197980" y="947661"/>
                </a:lnTo>
                <a:lnTo>
                  <a:pt x="160159" y="971207"/>
                </a:lnTo>
                <a:lnTo>
                  <a:pt x="125488" y="999007"/>
                </a:lnTo>
                <a:lnTo>
                  <a:pt x="94297" y="1030706"/>
                </a:lnTo>
                <a:lnTo>
                  <a:pt x="66941" y="1065949"/>
                </a:lnTo>
                <a:lnTo>
                  <a:pt x="43776" y="1104379"/>
                </a:lnTo>
                <a:lnTo>
                  <a:pt x="25146" y="1145654"/>
                </a:lnTo>
                <a:lnTo>
                  <a:pt x="11404" y="1189393"/>
                </a:lnTo>
                <a:lnTo>
                  <a:pt x="2908" y="1235252"/>
                </a:lnTo>
                <a:lnTo>
                  <a:pt x="0" y="1282877"/>
                </a:lnTo>
                <a:lnTo>
                  <a:pt x="2908" y="1330515"/>
                </a:lnTo>
                <a:lnTo>
                  <a:pt x="11404" y="1376375"/>
                </a:lnTo>
                <a:lnTo>
                  <a:pt x="25146" y="1420126"/>
                </a:lnTo>
                <a:lnTo>
                  <a:pt x="43776" y="1461389"/>
                </a:lnTo>
                <a:lnTo>
                  <a:pt x="66941" y="1499819"/>
                </a:lnTo>
                <a:lnTo>
                  <a:pt x="94297" y="1535074"/>
                </a:lnTo>
                <a:lnTo>
                  <a:pt x="125488" y="1566773"/>
                </a:lnTo>
                <a:lnTo>
                  <a:pt x="160159" y="1594573"/>
                </a:lnTo>
                <a:lnTo>
                  <a:pt x="197980" y="1618107"/>
                </a:lnTo>
                <a:lnTo>
                  <a:pt x="238582" y="1637042"/>
                </a:lnTo>
                <a:lnTo>
                  <a:pt x="281635" y="1651000"/>
                </a:lnTo>
                <a:lnTo>
                  <a:pt x="326758" y="1659636"/>
                </a:lnTo>
                <a:lnTo>
                  <a:pt x="373634" y="1662595"/>
                </a:lnTo>
                <a:lnTo>
                  <a:pt x="420497" y="1659636"/>
                </a:lnTo>
                <a:lnTo>
                  <a:pt x="465620" y="1651000"/>
                </a:lnTo>
                <a:lnTo>
                  <a:pt x="508673" y="1637042"/>
                </a:lnTo>
                <a:lnTo>
                  <a:pt x="549275" y="1618107"/>
                </a:lnTo>
                <a:lnTo>
                  <a:pt x="587095" y="1594573"/>
                </a:lnTo>
                <a:lnTo>
                  <a:pt x="621766" y="1566773"/>
                </a:lnTo>
                <a:lnTo>
                  <a:pt x="652957" y="1535074"/>
                </a:lnTo>
                <a:lnTo>
                  <a:pt x="680313" y="1499819"/>
                </a:lnTo>
                <a:lnTo>
                  <a:pt x="703478" y="1461389"/>
                </a:lnTo>
                <a:lnTo>
                  <a:pt x="722109" y="1420126"/>
                </a:lnTo>
                <a:lnTo>
                  <a:pt x="735850" y="1376375"/>
                </a:lnTo>
                <a:lnTo>
                  <a:pt x="744347" y="1330515"/>
                </a:lnTo>
                <a:lnTo>
                  <a:pt x="747268" y="1282877"/>
                </a:lnTo>
                <a:close/>
              </a:path>
              <a:path w="4842509" h="4803140">
                <a:moveTo>
                  <a:pt x="1038237" y="2266010"/>
                </a:moveTo>
                <a:lnTo>
                  <a:pt x="1033195" y="2221458"/>
                </a:lnTo>
                <a:lnTo>
                  <a:pt x="1018806" y="2180552"/>
                </a:lnTo>
                <a:lnTo>
                  <a:pt x="996238" y="2144471"/>
                </a:lnTo>
                <a:lnTo>
                  <a:pt x="966635" y="2114385"/>
                </a:lnTo>
                <a:lnTo>
                  <a:pt x="931125" y="2091448"/>
                </a:lnTo>
                <a:lnTo>
                  <a:pt x="890879" y="2076831"/>
                </a:lnTo>
                <a:lnTo>
                  <a:pt x="847039" y="2071700"/>
                </a:lnTo>
                <a:lnTo>
                  <a:pt x="803198" y="2076831"/>
                </a:lnTo>
                <a:lnTo>
                  <a:pt x="762952" y="2091448"/>
                </a:lnTo>
                <a:lnTo>
                  <a:pt x="727456" y="2114385"/>
                </a:lnTo>
                <a:lnTo>
                  <a:pt x="697852" y="2144471"/>
                </a:lnTo>
                <a:lnTo>
                  <a:pt x="675284" y="2180552"/>
                </a:lnTo>
                <a:lnTo>
                  <a:pt x="660895" y="2221458"/>
                </a:lnTo>
                <a:lnTo>
                  <a:pt x="655840" y="2266010"/>
                </a:lnTo>
                <a:lnTo>
                  <a:pt x="660895" y="2310561"/>
                </a:lnTo>
                <a:lnTo>
                  <a:pt x="675284" y="2351455"/>
                </a:lnTo>
                <a:lnTo>
                  <a:pt x="697852" y="2387536"/>
                </a:lnTo>
                <a:lnTo>
                  <a:pt x="727456" y="2417635"/>
                </a:lnTo>
                <a:lnTo>
                  <a:pt x="762952" y="2440571"/>
                </a:lnTo>
                <a:lnTo>
                  <a:pt x="803198" y="2455189"/>
                </a:lnTo>
                <a:lnTo>
                  <a:pt x="847039" y="2460320"/>
                </a:lnTo>
                <a:lnTo>
                  <a:pt x="890879" y="2455189"/>
                </a:lnTo>
                <a:lnTo>
                  <a:pt x="931125" y="2440571"/>
                </a:lnTo>
                <a:lnTo>
                  <a:pt x="966635" y="2417635"/>
                </a:lnTo>
                <a:lnTo>
                  <a:pt x="996238" y="2387536"/>
                </a:lnTo>
                <a:lnTo>
                  <a:pt x="1018806" y="2351455"/>
                </a:lnTo>
                <a:lnTo>
                  <a:pt x="1033195" y="2310561"/>
                </a:lnTo>
                <a:lnTo>
                  <a:pt x="1038237" y="2266010"/>
                </a:lnTo>
                <a:close/>
              </a:path>
              <a:path w="4842509" h="4803140">
                <a:moveTo>
                  <a:pt x="1353693" y="196011"/>
                </a:moveTo>
                <a:lnTo>
                  <a:pt x="1349044" y="149148"/>
                </a:lnTo>
                <a:lnTo>
                  <a:pt x="1335709" y="105486"/>
                </a:lnTo>
                <a:lnTo>
                  <a:pt x="1314615" y="65989"/>
                </a:lnTo>
                <a:lnTo>
                  <a:pt x="1286675" y="31572"/>
                </a:lnTo>
                <a:lnTo>
                  <a:pt x="1252804" y="3175"/>
                </a:lnTo>
                <a:lnTo>
                  <a:pt x="1247063" y="0"/>
                </a:lnTo>
                <a:lnTo>
                  <a:pt x="1002677" y="0"/>
                </a:lnTo>
                <a:lnTo>
                  <a:pt x="963053" y="31572"/>
                </a:lnTo>
                <a:lnTo>
                  <a:pt x="935113" y="65989"/>
                </a:lnTo>
                <a:lnTo>
                  <a:pt x="914019" y="105486"/>
                </a:lnTo>
                <a:lnTo>
                  <a:pt x="900684" y="149148"/>
                </a:lnTo>
                <a:lnTo>
                  <a:pt x="896035" y="196011"/>
                </a:lnTo>
                <a:lnTo>
                  <a:pt x="900684" y="242874"/>
                </a:lnTo>
                <a:lnTo>
                  <a:pt x="914019" y="286524"/>
                </a:lnTo>
                <a:lnTo>
                  <a:pt x="935113" y="326034"/>
                </a:lnTo>
                <a:lnTo>
                  <a:pt x="963053" y="360451"/>
                </a:lnTo>
                <a:lnTo>
                  <a:pt x="996924" y="388848"/>
                </a:lnTo>
                <a:lnTo>
                  <a:pt x="1035799" y="410286"/>
                </a:lnTo>
                <a:lnTo>
                  <a:pt x="1078750" y="423837"/>
                </a:lnTo>
                <a:lnTo>
                  <a:pt x="1124864" y="428561"/>
                </a:lnTo>
                <a:lnTo>
                  <a:pt x="1170978" y="423837"/>
                </a:lnTo>
                <a:lnTo>
                  <a:pt x="1213929" y="410286"/>
                </a:lnTo>
                <a:lnTo>
                  <a:pt x="1252804" y="388848"/>
                </a:lnTo>
                <a:lnTo>
                  <a:pt x="1286675" y="360451"/>
                </a:lnTo>
                <a:lnTo>
                  <a:pt x="1314615" y="326034"/>
                </a:lnTo>
                <a:lnTo>
                  <a:pt x="1335709" y="286524"/>
                </a:lnTo>
                <a:lnTo>
                  <a:pt x="1349044" y="242874"/>
                </a:lnTo>
                <a:lnTo>
                  <a:pt x="1353693" y="196011"/>
                </a:lnTo>
                <a:close/>
              </a:path>
              <a:path w="4842509" h="4803140">
                <a:moveTo>
                  <a:pt x="2336165" y="3322891"/>
                </a:moveTo>
                <a:lnTo>
                  <a:pt x="2331415" y="3275126"/>
                </a:lnTo>
                <a:lnTo>
                  <a:pt x="2317826" y="3230638"/>
                </a:lnTo>
                <a:lnTo>
                  <a:pt x="2296325" y="3190392"/>
                </a:lnTo>
                <a:lnTo>
                  <a:pt x="2267851" y="3155315"/>
                </a:lnTo>
                <a:lnTo>
                  <a:pt x="2233333" y="3126371"/>
                </a:lnTo>
                <a:lnTo>
                  <a:pt x="2193721" y="3104527"/>
                </a:lnTo>
                <a:lnTo>
                  <a:pt x="2149945" y="3090710"/>
                </a:lnTo>
                <a:lnTo>
                  <a:pt x="2102954" y="3085896"/>
                </a:lnTo>
                <a:lnTo>
                  <a:pt x="2055952" y="3090710"/>
                </a:lnTo>
                <a:lnTo>
                  <a:pt x="2012175" y="3104527"/>
                </a:lnTo>
                <a:lnTo>
                  <a:pt x="1972564" y="3126371"/>
                </a:lnTo>
                <a:lnTo>
                  <a:pt x="1938058" y="3155315"/>
                </a:lnTo>
                <a:lnTo>
                  <a:pt x="1909572" y="3190392"/>
                </a:lnTo>
                <a:lnTo>
                  <a:pt x="1888070" y="3230638"/>
                </a:lnTo>
                <a:lnTo>
                  <a:pt x="1874494" y="3275126"/>
                </a:lnTo>
                <a:lnTo>
                  <a:pt x="1869757" y="3322891"/>
                </a:lnTo>
                <a:lnTo>
                  <a:pt x="1874494" y="3370656"/>
                </a:lnTo>
                <a:lnTo>
                  <a:pt x="1888070" y="3415144"/>
                </a:lnTo>
                <a:lnTo>
                  <a:pt x="1909572" y="3455403"/>
                </a:lnTo>
                <a:lnTo>
                  <a:pt x="1938058" y="3490480"/>
                </a:lnTo>
                <a:lnTo>
                  <a:pt x="1972564" y="3519424"/>
                </a:lnTo>
                <a:lnTo>
                  <a:pt x="2012175" y="3541280"/>
                </a:lnTo>
                <a:lnTo>
                  <a:pt x="2055952" y="3555085"/>
                </a:lnTo>
                <a:lnTo>
                  <a:pt x="2102954" y="3559899"/>
                </a:lnTo>
                <a:lnTo>
                  <a:pt x="2149945" y="3555085"/>
                </a:lnTo>
                <a:lnTo>
                  <a:pt x="2193721" y="3541280"/>
                </a:lnTo>
                <a:lnTo>
                  <a:pt x="2233333" y="3519424"/>
                </a:lnTo>
                <a:lnTo>
                  <a:pt x="2267851" y="3490480"/>
                </a:lnTo>
                <a:lnTo>
                  <a:pt x="2296325" y="3455403"/>
                </a:lnTo>
                <a:lnTo>
                  <a:pt x="2317826" y="3415144"/>
                </a:lnTo>
                <a:lnTo>
                  <a:pt x="2331415" y="3370656"/>
                </a:lnTo>
                <a:lnTo>
                  <a:pt x="2336165" y="3322891"/>
                </a:lnTo>
                <a:close/>
              </a:path>
              <a:path w="4842509" h="4803140">
                <a:moveTo>
                  <a:pt x="2815031" y="1449959"/>
                </a:moveTo>
                <a:lnTo>
                  <a:pt x="2805074" y="1400657"/>
                </a:lnTo>
                <a:lnTo>
                  <a:pt x="2777921" y="1360385"/>
                </a:lnTo>
                <a:lnTo>
                  <a:pt x="2737650" y="1333233"/>
                </a:lnTo>
                <a:lnTo>
                  <a:pt x="2688348" y="1323276"/>
                </a:lnTo>
                <a:lnTo>
                  <a:pt x="1587842" y="1323276"/>
                </a:lnTo>
                <a:lnTo>
                  <a:pt x="1594739" y="1293037"/>
                </a:lnTo>
                <a:lnTo>
                  <a:pt x="1611210" y="1231938"/>
                </a:lnTo>
                <a:lnTo>
                  <a:pt x="1635810" y="1161021"/>
                </a:lnTo>
                <a:lnTo>
                  <a:pt x="1653717" y="1120343"/>
                </a:lnTo>
                <a:lnTo>
                  <a:pt x="1674545" y="1079030"/>
                </a:lnTo>
                <a:lnTo>
                  <a:pt x="1698117" y="1037107"/>
                </a:lnTo>
                <a:lnTo>
                  <a:pt x="1724279" y="994613"/>
                </a:lnTo>
                <a:lnTo>
                  <a:pt x="1724837" y="994613"/>
                </a:lnTo>
                <a:lnTo>
                  <a:pt x="1725358" y="994778"/>
                </a:lnTo>
                <a:lnTo>
                  <a:pt x="2587726" y="994778"/>
                </a:lnTo>
                <a:lnTo>
                  <a:pt x="2588539" y="994613"/>
                </a:lnTo>
                <a:lnTo>
                  <a:pt x="2637028" y="984821"/>
                </a:lnTo>
                <a:lnTo>
                  <a:pt x="2677299" y="957668"/>
                </a:lnTo>
                <a:lnTo>
                  <a:pt x="2704452" y="917409"/>
                </a:lnTo>
                <a:lnTo>
                  <a:pt x="2714409" y="868095"/>
                </a:lnTo>
                <a:lnTo>
                  <a:pt x="2704452" y="818794"/>
                </a:lnTo>
                <a:lnTo>
                  <a:pt x="2677299" y="778522"/>
                </a:lnTo>
                <a:lnTo>
                  <a:pt x="2637028" y="751370"/>
                </a:lnTo>
                <a:lnTo>
                  <a:pt x="2587726" y="741413"/>
                </a:lnTo>
                <a:lnTo>
                  <a:pt x="1918449" y="741413"/>
                </a:lnTo>
                <a:lnTo>
                  <a:pt x="1948662" y="707326"/>
                </a:lnTo>
                <a:lnTo>
                  <a:pt x="1979866" y="672985"/>
                </a:lnTo>
                <a:lnTo>
                  <a:pt x="2012010" y="638390"/>
                </a:lnTo>
                <a:lnTo>
                  <a:pt x="2045055" y="603554"/>
                </a:lnTo>
                <a:lnTo>
                  <a:pt x="2078926" y="568502"/>
                </a:lnTo>
                <a:lnTo>
                  <a:pt x="2113610" y="533209"/>
                </a:lnTo>
                <a:lnTo>
                  <a:pt x="2149030" y="497700"/>
                </a:lnTo>
                <a:lnTo>
                  <a:pt x="2185162" y="461987"/>
                </a:lnTo>
                <a:lnTo>
                  <a:pt x="2221954" y="426072"/>
                </a:lnTo>
                <a:lnTo>
                  <a:pt x="2297303" y="353644"/>
                </a:lnTo>
                <a:lnTo>
                  <a:pt x="2414079" y="243662"/>
                </a:lnTo>
                <a:lnTo>
                  <a:pt x="2677630" y="12"/>
                </a:lnTo>
                <a:lnTo>
                  <a:pt x="2136800" y="12"/>
                </a:lnTo>
                <a:lnTo>
                  <a:pt x="2069376" y="63487"/>
                </a:lnTo>
                <a:lnTo>
                  <a:pt x="1987892" y="141401"/>
                </a:lnTo>
                <a:lnTo>
                  <a:pt x="1947964" y="180200"/>
                </a:lnTo>
                <a:lnTo>
                  <a:pt x="1908632" y="218884"/>
                </a:lnTo>
                <a:lnTo>
                  <a:pt x="1869922" y="257467"/>
                </a:lnTo>
                <a:lnTo>
                  <a:pt x="1831911" y="295948"/>
                </a:lnTo>
                <a:lnTo>
                  <a:pt x="1794637" y="334327"/>
                </a:lnTo>
                <a:lnTo>
                  <a:pt x="1758124" y="372618"/>
                </a:lnTo>
                <a:lnTo>
                  <a:pt x="1722450" y="410806"/>
                </a:lnTo>
                <a:lnTo>
                  <a:pt x="1687626" y="448906"/>
                </a:lnTo>
                <a:lnTo>
                  <a:pt x="1653730" y="486918"/>
                </a:lnTo>
                <a:lnTo>
                  <a:pt x="1620786" y="524840"/>
                </a:lnTo>
                <a:lnTo>
                  <a:pt x="1588846" y="562686"/>
                </a:lnTo>
                <a:lnTo>
                  <a:pt x="1557959" y="600443"/>
                </a:lnTo>
                <a:lnTo>
                  <a:pt x="1528152" y="638124"/>
                </a:lnTo>
                <a:lnTo>
                  <a:pt x="1499501" y="675716"/>
                </a:lnTo>
                <a:lnTo>
                  <a:pt x="1472018" y="713244"/>
                </a:lnTo>
                <a:lnTo>
                  <a:pt x="1445780" y="750697"/>
                </a:lnTo>
                <a:lnTo>
                  <a:pt x="1420812" y="788073"/>
                </a:lnTo>
                <a:lnTo>
                  <a:pt x="1397165" y="825385"/>
                </a:lnTo>
                <a:lnTo>
                  <a:pt x="1374889" y="862634"/>
                </a:lnTo>
                <a:lnTo>
                  <a:pt x="1354023" y="899820"/>
                </a:lnTo>
                <a:lnTo>
                  <a:pt x="1334604" y="936955"/>
                </a:lnTo>
                <a:lnTo>
                  <a:pt x="1316697" y="974013"/>
                </a:lnTo>
                <a:lnTo>
                  <a:pt x="1300340" y="1011021"/>
                </a:lnTo>
                <a:lnTo>
                  <a:pt x="1285570" y="1047978"/>
                </a:lnTo>
                <a:lnTo>
                  <a:pt x="1272451" y="1084884"/>
                </a:lnTo>
                <a:lnTo>
                  <a:pt x="1251242" y="1153655"/>
                </a:lnTo>
                <a:lnTo>
                  <a:pt x="1233639" y="1221536"/>
                </a:lnTo>
                <a:lnTo>
                  <a:pt x="1219492" y="1288491"/>
                </a:lnTo>
                <a:lnTo>
                  <a:pt x="1208646" y="1354493"/>
                </a:lnTo>
                <a:lnTo>
                  <a:pt x="1200962" y="1419517"/>
                </a:lnTo>
                <a:lnTo>
                  <a:pt x="1196276" y="1483499"/>
                </a:lnTo>
                <a:lnTo>
                  <a:pt x="1194447" y="1546440"/>
                </a:lnTo>
                <a:lnTo>
                  <a:pt x="1195324" y="1608264"/>
                </a:lnTo>
                <a:lnTo>
                  <a:pt x="1198753" y="1668970"/>
                </a:lnTo>
                <a:lnTo>
                  <a:pt x="1204595" y="1728508"/>
                </a:lnTo>
                <a:lnTo>
                  <a:pt x="1212684" y="1786839"/>
                </a:lnTo>
                <a:lnTo>
                  <a:pt x="1222870" y="1843925"/>
                </a:lnTo>
                <a:lnTo>
                  <a:pt x="1235024" y="1899742"/>
                </a:lnTo>
                <a:lnTo>
                  <a:pt x="1248981" y="1954237"/>
                </a:lnTo>
                <a:lnTo>
                  <a:pt x="1264589" y="2007400"/>
                </a:lnTo>
                <a:lnTo>
                  <a:pt x="1281709" y="2059178"/>
                </a:lnTo>
                <a:lnTo>
                  <a:pt x="1300175" y="2109533"/>
                </a:lnTo>
                <a:lnTo>
                  <a:pt x="1319860" y="2158441"/>
                </a:lnTo>
                <a:lnTo>
                  <a:pt x="1340586" y="2205863"/>
                </a:lnTo>
                <a:lnTo>
                  <a:pt x="1362227" y="2251748"/>
                </a:lnTo>
                <a:lnTo>
                  <a:pt x="1384617" y="2296083"/>
                </a:lnTo>
                <a:lnTo>
                  <a:pt x="1407617" y="2338819"/>
                </a:lnTo>
                <a:lnTo>
                  <a:pt x="1431074" y="2379916"/>
                </a:lnTo>
                <a:lnTo>
                  <a:pt x="1454835" y="2419350"/>
                </a:lnTo>
                <a:lnTo>
                  <a:pt x="1478749" y="2457081"/>
                </a:lnTo>
                <a:lnTo>
                  <a:pt x="1502676" y="2493073"/>
                </a:lnTo>
                <a:lnTo>
                  <a:pt x="1526451" y="2527300"/>
                </a:lnTo>
                <a:lnTo>
                  <a:pt x="1549946" y="2559710"/>
                </a:lnTo>
                <a:lnTo>
                  <a:pt x="1572983" y="2590266"/>
                </a:lnTo>
                <a:lnTo>
                  <a:pt x="1617141" y="2645714"/>
                </a:lnTo>
                <a:lnTo>
                  <a:pt x="1657718" y="2693352"/>
                </a:lnTo>
                <a:lnTo>
                  <a:pt x="1693532" y="2732887"/>
                </a:lnTo>
                <a:lnTo>
                  <a:pt x="1723364" y="2764040"/>
                </a:lnTo>
                <a:lnTo>
                  <a:pt x="1754289" y="2794431"/>
                </a:lnTo>
                <a:lnTo>
                  <a:pt x="1791779" y="2824124"/>
                </a:lnTo>
                <a:lnTo>
                  <a:pt x="1853996" y="2847721"/>
                </a:lnTo>
                <a:lnTo>
                  <a:pt x="1886724" y="2850654"/>
                </a:lnTo>
                <a:lnTo>
                  <a:pt x="1923973" y="2846857"/>
                </a:lnTo>
                <a:lnTo>
                  <a:pt x="1993277" y="2816644"/>
                </a:lnTo>
                <a:lnTo>
                  <a:pt x="2022830" y="2790367"/>
                </a:lnTo>
                <a:lnTo>
                  <a:pt x="2050745" y="2749880"/>
                </a:lnTo>
                <a:lnTo>
                  <a:pt x="2066505" y="2705011"/>
                </a:lnTo>
                <a:lnTo>
                  <a:pt x="2070239" y="2658224"/>
                </a:lnTo>
                <a:lnTo>
                  <a:pt x="2062073" y="2611996"/>
                </a:lnTo>
                <a:lnTo>
                  <a:pt x="2042134" y="2568778"/>
                </a:lnTo>
                <a:lnTo>
                  <a:pt x="2010562" y="2531059"/>
                </a:lnTo>
                <a:lnTo>
                  <a:pt x="2002307" y="2523312"/>
                </a:lnTo>
                <a:lnTo>
                  <a:pt x="1986203" y="2507475"/>
                </a:lnTo>
                <a:lnTo>
                  <a:pt x="1934933" y="2452725"/>
                </a:lnTo>
                <a:lnTo>
                  <a:pt x="1902015" y="2414397"/>
                </a:lnTo>
                <a:lnTo>
                  <a:pt x="1865718" y="2369159"/>
                </a:lnTo>
                <a:lnTo>
                  <a:pt x="1827174" y="2317305"/>
                </a:lnTo>
                <a:lnTo>
                  <a:pt x="1787486" y="2259114"/>
                </a:lnTo>
                <a:lnTo>
                  <a:pt x="1747786" y="2194903"/>
                </a:lnTo>
                <a:lnTo>
                  <a:pt x="1709204" y="2124951"/>
                </a:lnTo>
                <a:lnTo>
                  <a:pt x="2085060" y="2124951"/>
                </a:lnTo>
                <a:lnTo>
                  <a:pt x="2134362" y="2114994"/>
                </a:lnTo>
                <a:lnTo>
                  <a:pt x="2174633" y="2087841"/>
                </a:lnTo>
                <a:lnTo>
                  <a:pt x="2201786" y="2047582"/>
                </a:lnTo>
                <a:lnTo>
                  <a:pt x="2211743" y="1998268"/>
                </a:lnTo>
                <a:lnTo>
                  <a:pt x="2201786" y="1948967"/>
                </a:lnTo>
                <a:lnTo>
                  <a:pt x="2174633" y="1908695"/>
                </a:lnTo>
                <a:lnTo>
                  <a:pt x="2134362" y="1881543"/>
                </a:lnTo>
                <a:lnTo>
                  <a:pt x="2085060" y="1871586"/>
                </a:lnTo>
                <a:lnTo>
                  <a:pt x="1607959" y="1871586"/>
                </a:lnTo>
                <a:lnTo>
                  <a:pt x="1595729" y="1825244"/>
                </a:lnTo>
                <a:lnTo>
                  <a:pt x="1585214" y="1777720"/>
                </a:lnTo>
                <a:lnTo>
                  <a:pt x="1576565" y="1729054"/>
                </a:lnTo>
                <a:lnTo>
                  <a:pt x="1569910" y="1679295"/>
                </a:lnTo>
                <a:lnTo>
                  <a:pt x="1565402" y="1628482"/>
                </a:lnTo>
                <a:lnTo>
                  <a:pt x="1563192" y="1576641"/>
                </a:lnTo>
                <a:lnTo>
                  <a:pt x="2688348" y="1576641"/>
                </a:lnTo>
                <a:lnTo>
                  <a:pt x="2737650" y="1566697"/>
                </a:lnTo>
                <a:lnTo>
                  <a:pt x="2777921" y="1539544"/>
                </a:lnTo>
                <a:lnTo>
                  <a:pt x="2805074" y="1499273"/>
                </a:lnTo>
                <a:lnTo>
                  <a:pt x="2815031" y="1449959"/>
                </a:lnTo>
                <a:close/>
              </a:path>
              <a:path w="4842509" h="4803140">
                <a:moveTo>
                  <a:pt x="3022498" y="1998268"/>
                </a:moveTo>
                <a:lnTo>
                  <a:pt x="3012541" y="1948967"/>
                </a:lnTo>
                <a:lnTo>
                  <a:pt x="2985389" y="1908695"/>
                </a:lnTo>
                <a:lnTo>
                  <a:pt x="2945130" y="1881543"/>
                </a:lnTo>
                <a:lnTo>
                  <a:pt x="2895816" y="1871586"/>
                </a:lnTo>
                <a:lnTo>
                  <a:pt x="2492959" y="1871586"/>
                </a:lnTo>
                <a:lnTo>
                  <a:pt x="2443645" y="1881543"/>
                </a:lnTo>
                <a:lnTo>
                  <a:pt x="2403373" y="1908695"/>
                </a:lnTo>
                <a:lnTo>
                  <a:pt x="2376220" y="1948967"/>
                </a:lnTo>
                <a:lnTo>
                  <a:pt x="2366264" y="1998268"/>
                </a:lnTo>
                <a:lnTo>
                  <a:pt x="2376220" y="2047582"/>
                </a:lnTo>
                <a:lnTo>
                  <a:pt x="2403373" y="2087854"/>
                </a:lnTo>
                <a:lnTo>
                  <a:pt x="2443645" y="2114994"/>
                </a:lnTo>
                <a:lnTo>
                  <a:pt x="2492959" y="2124951"/>
                </a:lnTo>
                <a:lnTo>
                  <a:pt x="2895816" y="2124951"/>
                </a:lnTo>
                <a:lnTo>
                  <a:pt x="2945130" y="2114994"/>
                </a:lnTo>
                <a:lnTo>
                  <a:pt x="2985389" y="2087854"/>
                </a:lnTo>
                <a:lnTo>
                  <a:pt x="3012541" y="2047582"/>
                </a:lnTo>
                <a:lnTo>
                  <a:pt x="3022498" y="1998268"/>
                </a:lnTo>
                <a:close/>
              </a:path>
              <a:path w="4842509" h="4803140">
                <a:moveTo>
                  <a:pt x="3290455" y="860463"/>
                </a:moveTo>
                <a:lnTo>
                  <a:pt x="3285413" y="815911"/>
                </a:lnTo>
                <a:lnTo>
                  <a:pt x="3271024" y="775017"/>
                </a:lnTo>
                <a:lnTo>
                  <a:pt x="3248456" y="738936"/>
                </a:lnTo>
                <a:lnTo>
                  <a:pt x="3218853" y="708850"/>
                </a:lnTo>
                <a:lnTo>
                  <a:pt x="3183344" y="685914"/>
                </a:lnTo>
                <a:lnTo>
                  <a:pt x="3143097" y="671296"/>
                </a:lnTo>
                <a:lnTo>
                  <a:pt x="3099257" y="666165"/>
                </a:lnTo>
                <a:lnTo>
                  <a:pt x="3055429" y="671296"/>
                </a:lnTo>
                <a:lnTo>
                  <a:pt x="3015183" y="685914"/>
                </a:lnTo>
                <a:lnTo>
                  <a:pt x="2979674" y="708850"/>
                </a:lnTo>
                <a:lnTo>
                  <a:pt x="2950070" y="738936"/>
                </a:lnTo>
                <a:lnTo>
                  <a:pt x="2927502" y="775017"/>
                </a:lnTo>
                <a:lnTo>
                  <a:pt x="2913113" y="815911"/>
                </a:lnTo>
                <a:lnTo>
                  <a:pt x="2908058" y="860463"/>
                </a:lnTo>
                <a:lnTo>
                  <a:pt x="2913113" y="905027"/>
                </a:lnTo>
                <a:lnTo>
                  <a:pt x="2927502" y="945921"/>
                </a:lnTo>
                <a:lnTo>
                  <a:pt x="2950070" y="982002"/>
                </a:lnTo>
                <a:lnTo>
                  <a:pt x="2979674" y="1012088"/>
                </a:lnTo>
                <a:lnTo>
                  <a:pt x="3015183" y="1035024"/>
                </a:lnTo>
                <a:lnTo>
                  <a:pt x="3055429" y="1049642"/>
                </a:lnTo>
                <a:lnTo>
                  <a:pt x="3099257" y="1054773"/>
                </a:lnTo>
                <a:lnTo>
                  <a:pt x="3143097" y="1049642"/>
                </a:lnTo>
                <a:lnTo>
                  <a:pt x="3183344" y="1035024"/>
                </a:lnTo>
                <a:lnTo>
                  <a:pt x="3218853" y="1012088"/>
                </a:lnTo>
                <a:lnTo>
                  <a:pt x="3248456" y="982002"/>
                </a:lnTo>
                <a:lnTo>
                  <a:pt x="3271024" y="945921"/>
                </a:lnTo>
                <a:lnTo>
                  <a:pt x="3285413" y="905027"/>
                </a:lnTo>
                <a:lnTo>
                  <a:pt x="3290455" y="860463"/>
                </a:lnTo>
                <a:close/>
              </a:path>
              <a:path w="4842509" h="4803140">
                <a:moveTo>
                  <a:pt x="3455378" y="1436839"/>
                </a:moveTo>
                <a:lnTo>
                  <a:pt x="3449624" y="1393291"/>
                </a:lnTo>
                <a:lnTo>
                  <a:pt x="3433368" y="1354150"/>
                </a:lnTo>
                <a:lnTo>
                  <a:pt x="3408159" y="1320990"/>
                </a:lnTo>
                <a:lnTo>
                  <a:pt x="3375533" y="1295374"/>
                </a:lnTo>
                <a:lnTo>
                  <a:pt x="3337026" y="1278864"/>
                </a:lnTo>
                <a:lnTo>
                  <a:pt x="3294164" y="1273009"/>
                </a:lnTo>
                <a:lnTo>
                  <a:pt x="3251314" y="1278864"/>
                </a:lnTo>
                <a:lnTo>
                  <a:pt x="3212795" y="1295374"/>
                </a:lnTo>
                <a:lnTo>
                  <a:pt x="3180169" y="1320990"/>
                </a:lnTo>
                <a:lnTo>
                  <a:pt x="3154959" y="1354150"/>
                </a:lnTo>
                <a:lnTo>
                  <a:pt x="3138716" y="1393291"/>
                </a:lnTo>
                <a:lnTo>
                  <a:pt x="3132950" y="1436839"/>
                </a:lnTo>
                <a:lnTo>
                  <a:pt x="3138716" y="1480388"/>
                </a:lnTo>
                <a:lnTo>
                  <a:pt x="3154959" y="1519529"/>
                </a:lnTo>
                <a:lnTo>
                  <a:pt x="3180169" y="1552689"/>
                </a:lnTo>
                <a:lnTo>
                  <a:pt x="3212795" y="1578305"/>
                </a:lnTo>
                <a:lnTo>
                  <a:pt x="3251314" y="1594815"/>
                </a:lnTo>
                <a:lnTo>
                  <a:pt x="3294164" y="1600669"/>
                </a:lnTo>
                <a:lnTo>
                  <a:pt x="3337026" y="1594815"/>
                </a:lnTo>
                <a:lnTo>
                  <a:pt x="3375533" y="1578305"/>
                </a:lnTo>
                <a:lnTo>
                  <a:pt x="3408159" y="1552689"/>
                </a:lnTo>
                <a:lnTo>
                  <a:pt x="3433368" y="1519529"/>
                </a:lnTo>
                <a:lnTo>
                  <a:pt x="3449624" y="1480388"/>
                </a:lnTo>
                <a:lnTo>
                  <a:pt x="3455378" y="1436839"/>
                </a:lnTo>
                <a:close/>
              </a:path>
              <a:path w="4842509" h="4803140">
                <a:moveTo>
                  <a:pt x="3677882" y="141617"/>
                </a:moveTo>
                <a:lnTo>
                  <a:pt x="3669868" y="91109"/>
                </a:lnTo>
                <a:lnTo>
                  <a:pt x="3647541" y="47244"/>
                </a:lnTo>
                <a:lnTo>
                  <a:pt x="3613505" y="12661"/>
                </a:lnTo>
                <a:lnTo>
                  <a:pt x="3589439" y="0"/>
                </a:lnTo>
                <a:lnTo>
                  <a:pt x="3451847" y="0"/>
                </a:lnTo>
                <a:lnTo>
                  <a:pt x="3427780" y="12661"/>
                </a:lnTo>
                <a:lnTo>
                  <a:pt x="3393744" y="47244"/>
                </a:lnTo>
                <a:lnTo>
                  <a:pt x="3371418" y="91109"/>
                </a:lnTo>
                <a:lnTo>
                  <a:pt x="3363404" y="141617"/>
                </a:lnTo>
                <a:lnTo>
                  <a:pt x="3371418" y="192125"/>
                </a:lnTo>
                <a:lnTo>
                  <a:pt x="3393744" y="235991"/>
                </a:lnTo>
                <a:lnTo>
                  <a:pt x="3427780" y="270573"/>
                </a:lnTo>
                <a:lnTo>
                  <a:pt x="3470935" y="293268"/>
                </a:lnTo>
                <a:lnTo>
                  <a:pt x="3520643" y="301409"/>
                </a:lnTo>
                <a:lnTo>
                  <a:pt x="3570338" y="293268"/>
                </a:lnTo>
                <a:lnTo>
                  <a:pt x="3613505" y="270573"/>
                </a:lnTo>
                <a:lnTo>
                  <a:pt x="3647541" y="235991"/>
                </a:lnTo>
                <a:lnTo>
                  <a:pt x="3669868" y="192125"/>
                </a:lnTo>
                <a:lnTo>
                  <a:pt x="3677882" y="141617"/>
                </a:lnTo>
                <a:close/>
              </a:path>
              <a:path w="4842509" h="4803140">
                <a:moveTo>
                  <a:pt x="3887127" y="709460"/>
                </a:moveTo>
                <a:lnTo>
                  <a:pt x="3882085" y="664908"/>
                </a:lnTo>
                <a:lnTo>
                  <a:pt x="3867696" y="624001"/>
                </a:lnTo>
                <a:lnTo>
                  <a:pt x="3845128" y="587933"/>
                </a:lnTo>
                <a:lnTo>
                  <a:pt x="3815524" y="557834"/>
                </a:lnTo>
                <a:lnTo>
                  <a:pt x="3780015" y="534898"/>
                </a:lnTo>
                <a:lnTo>
                  <a:pt x="3739769" y="520280"/>
                </a:lnTo>
                <a:lnTo>
                  <a:pt x="3695928" y="515150"/>
                </a:lnTo>
                <a:lnTo>
                  <a:pt x="3652101" y="520280"/>
                </a:lnTo>
                <a:lnTo>
                  <a:pt x="3611854" y="534898"/>
                </a:lnTo>
                <a:lnTo>
                  <a:pt x="3576345" y="557834"/>
                </a:lnTo>
                <a:lnTo>
                  <a:pt x="3546741" y="587933"/>
                </a:lnTo>
                <a:lnTo>
                  <a:pt x="3524173" y="624001"/>
                </a:lnTo>
                <a:lnTo>
                  <a:pt x="3509784" y="664908"/>
                </a:lnTo>
                <a:lnTo>
                  <a:pt x="3504730" y="709460"/>
                </a:lnTo>
                <a:lnTo>
                  <a:pt x="3509784" y="754011"/>
                </a:lnTo>
                <a:lnTo>
                  <a:pt x="3524173" y="794918"/>
                </a:lnTo>
                <a:lnTo>
                  <a:pt x="3546741" y="830986"/>
                </a:lnTo>
                <a:lnTo>
                  <a:pt x="3576345" y="861085"/>
                </a:lnTo>
                <a:lnTo>
                  <a:pt x="3611854" y="884021"/>
                </a:lnTo>
                <a:lnTo>
                  <a:pt x="3652101" y="898639"/>
                </a:lnTo>
                <a:lnTo>
                  <a:pt x="3695928" y="903770"/>
                </a:lnTo>
                <a:lnTo>
                  <a:pt x="3739769" y="898639"/>
                </a:lnTo>
                <a:lnTo>
                  <a:pt x="3780015" y="884021"/>
                </a:lnTo>
                <a:lnTo>
                  <a:pt x="3815524" y="861085"/>
                </a:lnTo>
                <a:lnTo>
                  <a:pt x="3845128" y="830986"/>
                </a:lnTo>
                <a:lnTo>
                  <a:pt x="3867696" y="794918"/>
                </a:lnTo>
                <a:lnTo>
                  <a:pt x="3882085" y="754011"/>
                </a:lnTo>
                <a:lnTo>
                  <a:pt x="3887127" y="709460"/>
                </a:lnTo>
                <a:close/>
              </a:path>
              <a:path w="4842509" h="4803140">
                <a:moveTo>
                  <a:pt x="4802949" y="2817431"/>
                </a:moveTo>
                <a:lnTo>
                  <a:pt x="4797895" y="2772880"/>
                </a:lnTo>
                <a:lnTo>
                  <a:pt x="4783518" y="2731973"/>
                </a:lnTo>
                <a:lnTo>
                  <a:pt x="4760950" y="2695892"/>
                </a:lnTo>
                <a:lnTo>
                  <a:pt x="4731334" y="2665806"/>
                </a:lnTo>
                <a:lnTo>
                  <a:pt x="4695837" y="2642870"/>
                </a:lnTo>
                <a:lnTo>
                  <a:pt x="4655591" y="2628252"/>
                </a:lnTo>
                <a:lnTo>
                  <a:pt x="4611751" y="2623121"/>
                </a:lnTo>
                <a:lnTo>
                  <a:pt x="4567910" y="2628252"/>
                </a:lnTo>
                <a:lnTo>
                  <a:pt x="4527664" y="2642870"/>
                </a:lnTo>
                <a:lnTo>
                  <a:pt x="4492168" y="2665806"/>
                </a:lnTo>
                <a:lnTo>
                  <a:pt x="4462551" y="2695892"/>
                </a:lnTo>
                <a:lnTo>
                  <a:pt x="4439983" y="2731973"/>
                </a:lnTo>
                <a:lnTo>
                  <a:pt x="4425607" y="2772880"/>
                </a:lnTo>
                <a:lnTo>
                  <a:pt x="4420552" y="2817431"/>
                </a:lnTo>
                <a:lnTo>
                  <a:pt x="4425607" y="2861983"/>
                </a:lnTo>
                <a:lnTo>
                  <a:pt x="4439983" y="2902877"/>
                </a:lnTo>
                <a:lnTo>
                  <a:pt x="4462551" y="2938957"/>
                </a:lnTo>
                <a:lnTo>
                  <a:pt x="4492168" y="2969056"/>
                </a:lnTo>
                <a:lnTo>
                  <a:pt x="4527664" y="2991993"/>
                </a:lnTo>
                <a:lnTo>
                  <a:pt x="4567910" y="3006610"/>
                </a:lnTo>
                <a:lnTo>
                  <a:pt x="4611751" y="3011741"/>
                </a:lnTo>
                <a:lnTo>
                  <a:pt x="4655591" y="3006610"/>
                </a:lnTo>
                <a:lnTo>
                  <a:pt x="4695837" y="2991993"/>
                </a:lnTo>
                <a:lnTo>
                  <a:pt x="4731334" y="2969056"/>
                </a:lnTo>
                <a:lnTo>
                  <a:pt x="4760950" y="2938957"/>
                </a:lnTo>
                <a:lnTo>
                  <a:pt x="4783518" y="2902877"/>
                </a:lnTo>
                <a:lnTo>
                  <a:pt x="4797895" y="2861983"/>
                </a:lnTo>
                <a:lnTo>
                  <a:pt x="4802949" y="2817431"/>
                </a:lnTo>
                <a:close/>
              </a:path>
              <a:path w="4842509" h="4803140">
                <a:moveTo>
                  <a:pt x="4841951" y="3202800"/>
                </a:moveTo>
                <a:lnTo>
                  <a:pt x="4773104" y="3204997"/>
                </a:lnTo>
                <a:lnTo>
                  <a:pt x="4732858" y="3219615"/>
                </a:lnTo>
                <a:lnTo>
                  <a:pt x="4697349" y="3242551"/>
                </a:lnTo>
                <a:lnTo>
                  <a:pt x="4667745" y="3272650"/>
                </a:lnTo>
                <a:lnTo>
                  <a:pt x="4645177" y="3308718"/>
                </a:lnTo>
                <a:lnTo>
                  <a:pt x="4630788" y="3349625"/>
                </a:lnTo>
                <a:lnTo>
                  <a:pt x="4625746" y="3394176"/>
                </a:lnTo>
                <a:lnTo>
                  <a:pt x="4630788" y="3438728"/>
                </a:lnTo>
                <a:lnTo>
                  <a:pt x="4645177" y="3479635"/>
                </a:lnTo>
                <a:lnTo>
                  <a:pt x="4667745" y="3515703"/>
                </a:lnTo>
                <a:lnTo>
                  <a:pt x="4697349" y="3545802"/>
                </a:lnTo>
                <a:lnTo>
                  <a:pt x="4732858" y="3568738"/>
                </a:lnTo>
                <a:lnTo>
                  <a:pt x="4773104" y="3583355"/>
                </a:lnTo>
                <a:lnTo>
                  <a:pt x="4816945" y="3588486"/>
                </a:lnTo>
                <a:lnTo>
                  <a:pt x="4841951" y="3585553"/>
                </a:lnTo>
                <a:lnTo>
                  <a:pt x="4841951" y="3202800"/>
                </a:lnTo>
                <a:close/>
              </a:path>
              <a:path w="4842509" h="4803140">
                <a:moveTo>
                  <a:pt x="4841951" y="1842350"/>
                </a:moveTo>
                <a:lnTo>
                  <a:pt x="4807712" y="1875828"/>
                </a:lnTo>
                <a:lnTo>
                  <a:pt x="4783315" y="1910905"/>
                </a:lnTo>
                <a:lnTo>
                  <a:pt x="4765014" y="1950059"/>
                </a:lnTo>
                <a:lnTo>
                  <a:pt x="4753534" y="1992579"/>
                </a:lnTo>
                <a:lnTo>
                  <a:pt x="4749546" y="2037765"/>
                </a:lnTo>
                <a:lnTo>
                  <a:pt x="4753534" y="2082939"/>
                </a:lnTo>
                <a:lnTo>
                  <a:pt x="4765014" y="2125459"/>
                </a:lnTo>
                <a:lnTo>
                  <a:pt x="4783315" y="2164626"/>
                </a:lnTo>
                <a:lnTo>
                  <a:pt x="4807712" y="2199703"/>
                </a:lnTo>
                <a:lnTo>
                  <a:pt x="4837519" y="2229993"/>
                </a:lnTo>
                <a:lnTo>
                  <a:pt x="4841951" y="2233180"/>
                </a:lnTo>
                <a:lnTo>
                  <a:pt x="4841951" y="1842350"/>
                </a:lnTo>
                <a:close/>
              </a:path>
              <a:path w="4842509" h="4803140">
                <a:moveTo>
                  <a:pt x="4841951" y="573493"/>
                </a:moveTo>
                <a:lnTo>
                  <a:pt x="4189387" y="573493"/>
                </a:lnTo>
                <a:lnTo>
                  <a:pt x="4140073" y="583450"/>
                </a:lnTo>
                <a:lnTo>
                  <a:pt x="4099814" y="610603"/>
                </a:lnTo>
                <a:lnTo>
                  <a:pt x="4072674" y="650875"/>
                </a:lnTo>
                <a:lnTo>
                  <a:pt x="4062730" y="700176"/>
                </a:lnTo>
                <a:lnTo>
                  <a:pt x="4072674" y="749490"/>
                </a:lnTo>
                <a:lnTo>
                  <a:pt x="4099814" y="789749"/>
                </a:lnTo>
                <a:lnTo>
                  <a:pt x="4140073" y="816902"/>
                </a:lnTo>
                <a:lnTo>
                  <a:pt x="4189387" y="826858"/>
                </a:lnTo>
                <a:lnTo>
                  <a:pt x="4767542" y="826858"/>
                </a:lnTo>
                <a:lnTo>
                  <a:pt x="4736668" y="864552"/>
                </a:lnTo>
                <a:lnTo>
                  <a:pt x="4705045" y="902195"/>
                </a:lnTo>
                <a:lnTo>
                  <a:pt x="4672723" y="939787"/>
                </a:lnTo>
                <a:lnTo>
                  <a:pt x="4639742" y="977303"/>
                </a:lnTo>
                <a:lnTo>
                  <a:pt x="4606137" y="1014742"/>
                </a:lnTo>
                <a:lnTo>
                  <a:pt x="4571949" y="1052106"/>
                </a:lnTo>
                <a:lnTo>
                  <a:pt x="4537214" y="1089380"/>
                </a:lnTo>
                <a:lnTo>
                  <a:pt x="4501985" y="1126578"/>
                </a:lnTo>
                <a:lnTo>
                  <a:pt x="4466285" y="1163675"/>
                </a:lnTo>
                <a:lnTo>
                  <a:pt x="4430166" y="1200658"/>
                </a:lnTo>
                <a:lnTo>
                  <a:pt x="4393654" y="1237538"/>
                </a:lnTo>
                <a:lnTo>
                  <a:pt x="4356811" y="1274305"/>
                </a:lnTo>
                <a:lnTo>
                  <a:pt x="4319663" y="1310957"/>
                </a:lnTo>
                <a:lnTo>
                  <a:pt x="4282249" y="1347470"/>
                </a:lnTo>
                <a:lnTo>
                  <a:pt x="4206786" y="1420114"/>
                </a:lnTo>
                <a:lnTo>
                  <a:pt x="4092625" y="1527962"/>
                </a:lnTo>
                <a:lnTo>
                  <a:pt x="3735552" y="1858314"/>
                </a:lnTo>
                <a:lnTo>
                  <a:pt x="3567468" y="2015528"/>
                </a:lnTo>
                <a:lnTo>
                  <a:pt x="3485985" y="2093442"/>
                </a:lnTo>
                <a:lnTo>
                  <a:pt x="3446056" y="2132241"/>
                </a:lnTo>
                <a:lnTo>
                  <a:pt x="3406711" y="2170925"/>
                </a:lnTo>
                <a:lnTo>
                  <a:pt x="3368014" y="2209508"/>
                </a:lnTo>
                <a:lnTo>
                  <a:pt x="3330003" y="2247989"/>
                </a:lnTo>
                <a:lnTo>
                  <a:pt x="3292716" y="2286381"/>
                </a:lnTo>
                <a:lnTo>
                  <a:pt x="3256216" y="2324658"/>
                </a:lnTo>
                <a:lnTo>
                  <a:pt x="3220529" y="2362860"/>
                </a:lnTo>
                <a:lnTo>
                  <a:pt x="3185718" y="2400960"/>
                </a:lnTo>
                <a:lnTo>
                  <a:pt x="3151809" y="2438971"/>
                </a:lnTo>
                <a:lnTo>
                  <a:pt x="3118866" y="2476893"/>
                </a:lnTo>
                <a:lnTo>
                  <a:pt x="3086925" y="2514727"/>
                </a:lnTo>
                <a:lnTo>
                  <a:pt x="3056039" y="2552484"/>
                </a:lnTo>
                <a:lnTo>
                  <a:pt x="3026245" y="2590165"/>
                </a:lnTo>
                <a:lnTo>
                  <a:pt x="2997581" y="2627757"/>
                </a:lnTo>
                <a:lnTo>
                  <a:pt x="2970111" y="2665285"/>
                </a:lnTo>
                <a:lnTo>
                  <a:pt x="2943860" y="2702737"/>
                </a:lnTo>
                <a:lnTo>
                  <a:pt x="2918904" y="2740126"/>
                </a:lnTo>
                <a:lnTo>
                  <a:pt x="2895257" y="2777439"/>
                </a:lnTo>
                <a:lnTo>
                  <a:pt x="2872981" y="2814688"/>
                </a:lnTo>
                <a:lnTo>
                  <a:pt x="2852102" y="2851874"/>
                </a:lnTo>
                <a:lnTo>
                  <a:pt x="2832697" y="2888996"/>
                </a:lnTo>
                <a:lnTo>
                  <a:pt x="2814790" y="2926054"/>
                </a:lnTo>
                <a:lnTo>
                  <a:pt x="2798432" y="2963075"/>
                </a:lnTo>
                <a:lnTo>
                  <a:pt x="2783662" y="3000032"/>
                </a:lnTo>
                <a:lnTo>
                  <a:pt x="2770543" y="3036938"/>
                </a:lnTo>
                <a:lnTo>
                  <a:pt x="2749334" y="3105696"/>
                </a:lnTo>
                <a:lnTo>
                  <a:pt x="2731732" y="3173577"/>
                </a:lnTo>
                <a:lnTo>
                  <a:pt x="2717584" y="3240532"/>
                </a:lnTo>
                <a:lnTo>
                  <a:pt x="2706751" y="3306546"/>
                </a:lnTo>
                <a:lnTo>
                  <a:pt x="2699054" y="3371558"/>
                </a:lnTo>
                <a:lnTo>
                  <a:pt x="2694368" y="3435553"/>
                </a:lnTo>
                <a:lnTo>
                  <a:pt x="2692539" y="3498481"/>
                </a:lnTo>
                <a:lnTo>
                  <a:pt x="2693416" y="3560318"/>
                </a:lnTo>
                <a:lnTo>
                  <a:pt x="2696845" y="3621024"/>
                </a:lnTo>
                <a:lnTo>
                  <a:pt x="2702687" y="3680549"/>
                </a:lnTo>
                <a:lnTo>
                  <a:pt x="2710777" y="3738880"/>
                </a:lnTo>
                <a:lnTo>
                  <a:pt x="2720975" y="3795979"/>
                </a:lnTo>
                <a:lnTo>
                  <a:pt x="2733116" y="3851795"/>
                </a:lnTo>
                <a:lnTo>
                  <a:pt x="2747073" y="3906291"/>
                </a:lnTo>
                <a:lnTo>
                  <a:pt x="2762681" y="3959453"/>
                </a:lnTo>
                <a:lnTo>
                  <a:pt x="2779801" y="4011231"/>
                </a:lnTo>
                <a:lnTo>
                  <a:pt x="2798267" y="4061587"/>
                </a:lnTo>
                <a:lnTo>
                  <a:pt x="2817952" y="4110494"/>
                </a:lnTo>
                <a:lnTo>
                  <a:pt x="2838678" y="4157903"/>
                </a:lnTo>
                <a:lnTo>
                  <a:pt x="2860319" y="4203801"/>
                </a:lnTo>
                <a:lnTo>
                  <a:pt x="2882709" y="4248137"/>
                </a:lnTo>
                <a:lnTo>
                  <a:pt x="2905709" y="4290860"/>
                </a:lnTo>
                <a:lnTo>
                  <a:pt x="2929166" y="4331970"/>
                </a:lnTo>
                <a:lnTo>
                  <a:pt x="2952927" y="4371403"/>
                </a:lnTo>
                <a:lnTo>
                  <a:pt x="2976854" y="4409135"/>
                </a:lnTo>
                <a:lnTo>
                  <a:pt x="3000768" y="4445127"/>
                </a:lnTo>
                <a:lnTo>
                  <a:pt x="3024555" y="4479353"/>
                </a:lnTo>
                <a:lnTo>
                  <a:pt x="3048038" y="4511764"/>
                </a:lnTo>
                <a:lnTo>
                  <a:pt x="3071076" y="4542320"/>
                </a:lnTo>
                <a:lnTo>
                  <a:pt x="3115233" y="4597768"/>
                </a:lnTo>
                <a:lnTo>
                  <a:pt x="3155810" y="4645406"/>
                </a:lnTo>
                <a:lnTo>
                  <a:pt x="3191624" y="4684941"/>
                </a:lnTo>
                <a:lnTo>
                  <a:pt x="3221456" y="4716094"/>
                </a:lnTo>
                <a:lnTo>
                  <a:pt x="3252393" y="4746498"/>
                </a:lnTo>
                <a:lnTo>
                  <a:pt x="3289871" y="4776190"/>
                </a:lnTo>
                <a:lnTo>
                  <a:pt x="3352101" y="4799800"/>
                </a:lnTo>
                <a:lnTo>
                  <a:pt x="3384816" y="4802733"/>
                </a:lnTo>
                <a:lnTo>
                  <a:pt x="3422065" y="4798923"/>
                </a:lnTo>
                <a:lnTo>
                  <a:pt x="3491369" y="4768710"/>
                </a:lnTo>
                <a:lnTo>
                  <a:pt x="3520922" y="4742446"/>
                </a:lnTo>
                <a:lnTo>
                  <a:pt x="3548837" y="4701959"/>
                </a:lnTo>
                <a:lnTo>
                  <a:pt x="3564598" y="4657090"/>
                </a:lnTo>
                <a:lnTo>
                  <a:pt x="3568331" y="4610303"/>
                </a:lnTo>
                <a:lnTo>
                  <a:pt x="3560165" y="4564062"/>
                </a:lnTo>
                <a:lnTo>
                  <a:pt x="3540239" y="4520857"/>
                </a:lnTo>
                <a:lnTo>
                  <a:pt x="3508654" y="4483138"/>
                </a:lnTo>
                <a:lnTo>
                  <a:pt x="3500399" y="4475378"/>
                </a:lnTo>
                <a:lnTo>
                  <a:pt x="3484295" y="4459541"/>
                </a:lnTo>
                <a:lnTo>
                  <a:pt x="3433026" y="4404792"/>
                </a:lnTo>
                <a:lnTo>
                  <a:pt x="3400107" y="4366463"/>
                </a:lnTo>
                <a:lnTo>
                  <a:pt x="3363798" y="4321213"/>
                </a:lnTo>
                <a:lnTo>
                  <a:pt x="3325253" y="4269359"/>
                </a:lnTo>
                <a:lnTo>
                  <a:pt x="3285566" y="4211167"/>
                </a:lnTo>
                <a:lnTo>
                  <a:pt x="3245878" y="4146956"/>
                </a:lnTo>
                <a:lnTo>
                  <a:pt x="3207283" y="4077004"/>
                </a:lnTo>
                <a:lnTo>
                  <a:pt x="3803065" y="4077004"/>
                </a:lnTo>
                <a:lnTo>
                  <a:pt x="3852380" y="4067048"/>
                </a:lnTo>
                <a:lnTo>
                  <a:pt x="3892639" y="4039895"/>
                </a:lnTo>
                <a:lnTo>
                  <a:pt x="3919766" y="3999623"/>
                </a:lnTo>
                <a:lnTo>
                  <a:pt x="3929723" y="3950322"/>
                </a:lnTo>
                <a:lnTo>
                  <a:pt x="3919766" y="3901008"/>
                </a:lnTo>
                <a:lnTo>
                  <a:pt x="3892639" y="3860736"/>
                </a:lnTo>
                <a:lnTo>
                  <a:pt x="3852380" y="3833596"/>
                </a:lnTo>
                <a:lnTo>
                  <a:pt x="3803065" y="3823639"/>
                </a:lnTo>
                <a:lnTo>
                  <a:pt x="3106051" y="3823639"/>
                </a:lnTo>
                <a:lnTo>
                  <a:pt x="3093821" y="3777284"/>
                </a:lnTo>
                <a:lnTo>
                  <a:pt x="3083318" y="3729761"/>
                </a:lnTo>
                <a:lnTo>
                  <a:pt x="3074657" y="3681095"/>
                </a:lnTo>
                <a:lnTo>
                  <a:pt x="3068002" y="3631336"/>
                </a:lnTo>
                <a:lnTo>
                  <a:pt x="3063494" y="3580523"/>
                </a:lnTo>
                <a:lnTo>
                  <a:pt x="3061284" y="3528695"/>
                </a:lnTo>
                <a:lnTo>
                  <a:pt x="4186415" y="3528695"/>
                </a:lnTo>
                <a:lnTo>
                  <a:pt x="4235729" y="3518738"/>
                </a:lnTo>
                <a:lnTo>
                  <a:pt x="4275988" y="3491585"/>
                </a:lnTo>
                <a:lnTo>
                  <a:pt x="4303128" y="3451326"/>
                </a:lnTo>
                <a:lnTo>
                  <a:pt x="4313072" y="3402012"/>
                </a:lnTo>
                <a:lnTo>
                  <a:pt x="4303128" y="3352711"/>
                </a:lnTo>
                <a:lnTo>
                  <a:pt x="4275988" y="3312439"/>
                </a:lnTo>
                <a:lnTo>
                  <a:pt x="4235729" y="3285286"/>
                </a:lnTo>
                <a:lnTo>
                  <a:pt x="4186415" y="3275330"/>
                </a:lnTo>
                <a:lnTo>
                  <a:pt x="3085935" y="3275330"/>
                </a:lnTo>
                <a:lnTo>
                  <a:pt x="3092831" y="3245078"/>
                </a:lnTo>
                <a:lnTo>
                  <a:pt x="3109315" y="3183979"/>
                </a:lnTo>
                <a:lnTo>
                  <a:pt x="3133902" y="3113087"/>
                </a:lnTo>
                <a:lnTo>
                  <a:pt x="3151809" y="3072396"/>
                </a:lnTo>
                <a:lnTo>
                  <a:pt x="3172637" y="3031083"/>
                </a:lnTo>
                <a:lnTo>
                  <a:pt x="3196209" y="2989161"/>
                </a:lnTo>
                <a:lnTo>
                  <a:pt x="3222371" y="2946666"/>
                </a:lnTo>
                <a:lnTo>
                  <a:pt x="3222929" y="2946666"/>
                </a:lnTo>
                <a:lnTo>
                  <a:pt x="3223450" y="2946831"/>
                </a:lnTo>
                <a:lnTo>
                  <a:pt x="4085818" y="2946831"/>
                </a:lnTo>
                <a:lnTo>
                  <a:pt x="4086631" y="2946666"/>
                </a:lnTo>
                <a:lnTo>
                  <a:pt x="4135132" y="2936875"/>
                </a:lnTo>
                <a:lnTo>
                  <a:pt x="4175391" y="2909722"/>
                </a:lnTo>
                <a:lnTo>
                  <a:pt x="4202519" y="2869450"/>
                </a:lnTo>
                <a:lnTo>
                  <a:pt x="4212475" y="2820149"/>
                </a:lnTo>
                <a:lnTo>
                  <a:pt x="4202519" y="2770835"/>
                </a:lnTo>
                <a:lnTo>
                  <a:pt x="4175391" y="2730563"/>
                </a:lnTo>
                <a:lnTo>
                  <a:pt x="4135132" y="2703423"/>
                </a:lnTo>
                <a:lnTo>
                  <a:pt x="4085818" y="2693466"/>
                </a:lnTo>
                <a:lnTo>
                  <a:pt x="3416541" y="2693466"/>
                </a:lnTo>
                <a:lnTo>
                  <a:pt x="3446754" y="2659380"/>
                </a:lnTo>
                <a:lnTo>
                  <a:pt x="3477958" y="2625026"/>
                </a:lnTo>
                <a:lnTo>
                  <a:pt x="3510102" y="2590444"/>
                </a:lnTo>
                <a:lnTo>
                  <a:pt x="3543135" y="2555608"/>
                </a:lnTo>
                <a:lnTo>
                  <a:pt x="3577018" y="2520543"/>
                </a:lnTo>
                <a:lnTo>
                  <a:pt x="3611702" y="2485263"/>
                </a:lnTo>
                <a:lnTo>
                  <a:pt x="3647122" y="2449753"/>
                </a:lnTo>
                <a:lnTo>
                  <a:pt x="3683254" y="2414041"/>
                </a:lnTo>
                <a:lnTo>
                  <a:pt x="3720046" y="2378125"/>
                </a:lnTo>
                <a:lnTo>
                  <a:pt x="3795395" y="2305697"/>
                </a:lnTo>
                <a:lnTo>
                  <a:pt x="3912184" y="2195715"/>
                </a:lnTo>
                <a:lnTo>
                  <a:pt x="4351325" y="1789176"/>
                </a:lnTo>
                <a:lnTo>
                  <a:pt x="4468863" y="1678254"/>
                </a:lnTo>
                <a:lnTo>
                  <a:pt x="4546206" y="1603908"/>
                </a:lnTo>
                <a:lnTo>
                  <a:pt x="4584484" y="1566621"/>
                </a:lnTo>
                <a:lnTo>
                  <a:pt x="4622444" y="1529245"/>
                </a:lnTo>
                <a:lnTo>
                  <a:pt x="4660087" y="1491767"/>
                </a:lnTo>
                <a:lnTo>
                  <a:pt x="4697361" y="1454213"/>
                </a:lnTo>
                <a:lnTo>
                  <a:pt x="4734242" y="1416545"/>
                </a:lnTo>
                <a:lnTo>
                  <a:pt x="4770691" y="1378788"/>
                </a:lnTo>
                <a:lnTo>
                  <a:pt x="4806696" y="1340929"/>
                </a:lnTo>
                <a:lnTo>
                  <a:pt x="4841951" y="1303248"/>
                </a:lnTo>
                <a:lnTo>
                  <a:pt x="4841951" y="573493"/>
                </a:lnTo>
                <a:close/>
              </a:path>
              <a:path w="4842509" h="4803140">
                <a:moveTo>
                  <a:pt x="4841951" y="12"/>
                </a:moveTo>
                <a:lnTo>
                  <a:pt x="4128516" y="12"/>
                </a:lnTo>
                <a:lnTo>
                  <a:pt x="4084472" y="8902"/>
                </a:lnTo>
                <a:lnTo>
                  <a:pt x="4044213" y="36055"/>
                </a:lnTo>
                <a:lnTo>
                  <a:pt x="4017073" y="76327"/>
                </a:lnTo>
                <a:lnTo>
                  <a:pt x="4007129" y="125628"/>
                </a:lnTo>
                <a:lnTo>
                  <a:pt x="4017073" y="174942"/>
                </a:lnTo>
                <a:lnTo>
                  <a:pt x="4044213" y="215214"/>
                </a:lnTo>
                <a:lnTo>
                  <a:pt x="4084472" y="242366"/>
                </a:lnTo>
                <a:lnTo>
                  <a:pt x="4133786" y="252323"/>
                </a:lnTo>
                <a:lnTo>
                  <a:pt x="4841951" y="252323"/>
                </a:lnTo>
                <a:lnTo>
                  <a:pt x="4841951" y="12"/>
                </a:lnTo>
                <a:close/>
              </a:path>
            </a:pathLst>
          </a:custGeom>
          <a:solidFill>
            <a:srgbClr val="9D62E2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5815516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735724" y="809298"/>
            <a:ext cx="4351283" cy="33643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FC349D-7459-4846-947D-CBE48ADB0FFC}"/>
              </a:ext>
            </a:extLst>
          </p:cNvPr>
          <p:cNvGrpSpPr/>
          <p:nvPr userDrawn="1"/>
        </p:nvGrpSpPr>
        <p:grpSpPr>
          <a:xfrm>
            <a:off x="9597" y="4222076"/>
            <a:ext cx="5495304" cy="2633814"/>
            <a:chOff x="9597" y="4222076"/>
            <a:chExt cx="5495304" cy="2633814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A1C7CB09-C480-93D4-4E86-80749DC8482D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500E5BE-1EAF-781E-4732-256336562279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704A627A-3432-816F-D27C-B13AF7896B4A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E3117CA8-C356-BDA9-FD85-2EB03B137EEA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>
              <a:extLst>
                <a:ext uri="{FF2B5EF4-FFF2-40B4-BE49-F238E27FC236}">
                  <a16:creationId xmlns:a16="http://schemas.microsoft.com/office/drawing/2014/main" id="{D63CF557-1D03-CF27-546B-1151257DE682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>
              <a:extLst>
                <a:ext uri="{FF2B5EF4-FFF2-40B4-BE49-F238E27FC236}">
                  <a16:creationId xmlns:a16="http://schemas.microsoft.com/office/drawing/2014/main" id="{E6538FF3-DDE2-42CC-7C40-B64B8CC9397A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>
              <a:extLst>
                <a:ext uri="{FF2B5EF4-FFF2-40B4-BE49-F238E27FC236}">
                  <a16:creationId xmlns:a16="http://schemas.microsoft.com/office/drawing/2014/main" id="{E0B7C2DB-A4D1-95C8-95C5-D97562B895E0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8C7B287D-6B69-02D5-6050-7FEFF483FD0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254500" y="624086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4777240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-121920" y="-4957"/>
            <a:ext cx="1231976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D4B2F3-8059-DBA5-4D44-29894B41DAB0}"/>
              </a:ext>
            </a:extLst>
          </p:cNvPr>
          <p:cNvGrpSpPr/>
          <p:nvPr userDrawn="1"/>
        </p:nvGrpSpPr>
        <p:grpSpPr>
          <a:xfrm>
            <a:off x="-121920" y="-389572"/>
            <a:ext cx="5429576" cy="1714213"/>
            <a:chOff x="9598" y="0"/>
            <a:chExt cx="5429576" cy="1714213"/>
          </a:xfrm>
        </p:grpSpPr>
        <p:sp>
          <p:nvSpPr>
            <p:cNvPr id="4" name="object 3">
              <a:extLst>
                <a:ext uri="{FF2B5EF4-FFF2-40B4-BE49-F238E27FC236}">
                  <a16:creationId xmlns:a16="http://schemas.microsoft.com/office/drawing/2014/main" id="{E252FAA9-4B96-7A6B-6755-5360E5145F5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4">
              <a:extLst>
                <a:ext uri="{FF2B5EF4-FFF2-40B4-BE49-F238E27FC236}">
                  <a16:creationId xmlns:a16="http://schemas.microsoft.com/office/drawing/2014/main" id="{56DD7027-7ED1-92CB-BE49-E54EC1CD9B2F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574E6B3C-9B13-98CF-F82C-2B284F58AF9D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E9FF9299-C740-B26B-8D45-170AAA2348AC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2B962E37-FE51-2FC3-86B1-3D569395D98C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9B2A4857-919E-A8C5-E6FC-67973FDB4AF1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735724" y="1521898"/>
            <a:ext cx="4351283" cy="369230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E6294C19-5D10-1A71-B204-31C0C2A5477A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169931" y="-897413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0267896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735724" y="809298"/>
            <a:ext cx="4351283" cy="33643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4FC349D-7459-4846-947D-CBE48ADB0FFC}"/>
              </a:ext>
            </a:extLst>
          </p:cNvPr>
          <p:cNvGrpSpPr/>
          <p:nvPr userDrawn="1"/>
        </p:nvGrpSpPr>
        <p:grpSpPr>
          <a:xfrm>
            <a:off x="9597" y="4222076"/>
            <a:ext cx="5495304" cy="2633814"/>
            <a:chOff x="9597" y="4222076"/>
            <a:chExt cx="5495304" cy="2633814"/>
          </a:xfrm>
        </p:grpSpPr>
        <p:sp>
          <p:nvSpPr>
            <p:cNvPr id="6" name="object 4">
              <a:extLst>
                <a:ext uri="{FF2B5EF4-FFF2-40B4-BE49-F238E27FC236}">
                  <a16:creationId xmlns:a16="http://schemas.microsoft.com/office/drawing/2014/main" id="{A1C7CB09-C480-93D4-4E86-80749DC8482D}"/>
                </a:ext>
              </a:extLst>
            </p:cNvPr>
            <p:cNvSpPr/>
            <p:nvPr/>
          </p:nvSpPr>
          <p:spPr>
            <a:xfrm>
              <a:off x="440952" y="436456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5">
              <a:extLst>
                <a:ext uri="{FF2B5EF4-FFF2-40B4-BE49-F238E27FC236}">
                  <a16:creationId xmlns:a16="http://schemas.microsoft.com/office/drawing/2014/main" id="{3500E5BE-1EAF-781E-4732-256336562279}"/>
                </a:ext>
              </a:extLst>
            </p:cNvPr>
            <p:cNvSpPr/>
            <p:nvPr/>
          </p:nvSpPr>
          <p:spPr>
            <a:xfrm>
              <a:off x="1338685" y="5086553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20">
                  <a:moveTo>
                    <a:pt x="251434" y="0"/>
                  </a:moveTo>
                  <a:lnTo>
                    <a:pt x="206239" y="4051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4"/>
                  </a:lnTo>
                  <a:lnTo>
                    <a:pt x="59134" y="89439"/>
                  </a:lnTo>
                  <a:lnTo>
                    <a:pt x="34328" y="124531"/>
                  </a:lnTo>
                  <a:lnTo>
                    <a:pt x="15730" y="163701"/>
                  </a:lnTo>
                  <a:lnTo>
                    <a:pt x="4051" y="206239"/>
                  </a:lnTo>
                  <a:lnTo>
                    <a:pt x="0" y="251434"/>
                  </a:lnTo>
                  <a:lnTo>
                    <a:pt x="4051" y="296626"/>
                  </a:lnTo>
                  <a:lnTo>
                    <a:pt x="15730" y="339160"/>
                  </a:lnTo>
                  <a:lnTo>
                    <a:pt x="34328" y="378328"/>
                  </a:lnTo>
                  <a:lnTo>
                    <a:pt x="59134" y="413419"/>
                  </a:lnTo>
                  <a:lnTo>
                    <a:pt x="89439" y="443722"/>
                  </a:lnTo>
                  <a:lnTo>
                    <a:pt x="124531" y="468528"/>
                  </a:lnTo>
                  <a:lnTo>
                    <a:pt x="163701" y="487126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6"/>
                  </a:lnTo>
                  <a:lnTo>
                    <a:pt x="378337" y="468528"/>
                  </a:lnTo>
                  <a:lnTo>
                    <a:pt x="413430" y="443722"/>
                  </a:lnTo>
                  <a:lnTo>
                    <a:pt x="443734" y="413419"/>
                  </a:lnTo>
                  <a:lnTo>
                    <a:pt x="468540" y="378328"/>
                  </a:lnTo>
                  <a:lnTo>
                    <a:pt x="487138" y="339160"/>
                  </a:lnTo>
                  <a:lnTo>
                    <a:pt x="498818" y="296626"/>
                  </a:lnTo>
                  <a:lnTo>
                    <a:pt x="502869" y="251434"/>
                  </a:lnTo>
                  <a:lnTo>
                    <a:pt x="498818" y="206239"/>
                  </a:lnTo>
                  <a:lnTo>
                    <a:pt x="487138" y="163701"/>
                  </a:lnTo>
                  <a:lnTo>
                    <a:pt x="468540" y="124531"/>
                  </a:lnTo>
                  <a:lnTo>
                    <a:pt x="443734" y="89439"/>
                  </a:lnTo>
                  <a:lnTo>
                    <a:pt x="413430" y="59134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1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6">
              <a:extLst>
                <a:ext uri="{FF2B5EF4-FFF2-40B4-BE49-F238E27FC236}">
                  <a16:creationId xmlns:a16="http://schemas.microsoft.com/office/drawing/2014/main" id="{704A627A-3432-816F-D27C-B13AF7896B4A}"/>
                </a:ext>
              </a:extLst>
            </p:cNvPr>
            <p:cNvSpPr/>
            <p:nvPr/>
          </p:nvSpPr>
          <p:spPr>
            <a:xfrm>
              <a:off x="2992604" y="4222076"/>
              <a:ext cx="2512297" cy="2223236"/>
            </a:xfrm>
            <a:custGeom>
              <a:avLst/>
              <a:gdLst/>
              <a:ahLst/>
              <a:cxnLst/>
              <a:rect l="l" t="t" r="r" b="b"/>
              <a:pathLst>
                <a:path w="2770504" h="2451734">
                  <a:moveTo>
                    <a:pt x="2293239" y="1146619"/>
                  </a:moveTo>
                  <a:lnTo>
                    <a:pt x="2292235" y="1098156"/>
                  </a:lnTo>
                  <a:lnTo>
                    <a:pt x="2289238" y="1050201"/>
                  </a:lnTo>
                  <a:lnTo>
                    <a:pt x="2284298" y="1002792"/>
                  </a:lnTo>
                  <a:lnTo>
                    <a:pt x="2277465" y="955979"/>
                  </a:lnTo>
                  <a:lnTo>
                    <a:pt x="2268753" y="909802"/>
                  </a:lnTo>
                  <a:lnTo>
                    <a:pt x="2258212" y="864298"/>
                  </a:lnTo>
                  <a:lnTo>
                    <a:pt x="2245893" y="819492"/>
                  </a:lnTo>
                  <a:lnTo>
                    <a:pt x="2231834" y="775449"/>
                  </a:lnTo>
                  <a:lnTo>
                    <a:pt x="2216061" y="732205"/>
                  </a:lnTo>
                  <a:lnTo>
                    <a:pt x="2198611" y="689775"/>
                  </a:lnTo>
                  <a:lnTo>
                    <a:pt x="2179548" y="648233"/>
                  </a:lnTo>
                  <a:lnTo>
                    <a:pt x="2158885" y="607593"/>
                  </a:lnTo>
                  <a:lnTo>
                    <a:pt x="2136686" y="567905"/>
                  </a:lnTo>
                  <a:lnTo>
                    <a:pt x="2112975" y="529196"/>
                  </a:lnTo>
                  <a:lnTo>
                    <a:pt x="2087803" y="491528"/>
                  </a:lnTo>
                  <a:lnTo>
                    <a:pt x="2061197" y="454939"/>
                  </a:lnTo>
                  <a:lnTo>
                    <a:pt x="2033193" y="419442"/>
                  </a:lnTo>
                  <a:lnTo>
                    <a:pt x="2003856" y="385102"/>
                  </a:lnTo>
                  <a:lnTo>
                    <a:pt x="1973199" y="351955"/>
                  </a:lnTo>
                  <a:lnTo>
                    <a:pt x="1941283" y="320040"/>
                  </a:lnTo>
                  <a:lnTo>
                    <a:pt x="1908136" y="289382"/>
                  </a:lnTo>
                  <a:lnTo>
                    <a:pt x="1873796" y="260045"/>
                  </a:lnTo>
                  <a:lnTo>
                    <a:pt x="1838299" y="232041"/>
                  </a:lnTo>
                  <a:lnTo>
                    <a:pt x="1801710" y="205435"/>
                  </a:lnTo>
                  <a:lnTo>
                    <a:pt x="1764042" y="180263"/>
                  </a:lnTo>
                  <a:lnTo>
                    <a:pt x="1725333" y="156552"/>
                  </a:lnTo>
                  <a:lnTo>
                    <a:pt x="1685645" y="134353"/>
                  </a:lnTo>
                  <a:lnTo>
                    <a:pt x="1645005" y="113690"/>
                  </a:lnTo>
                  <a:lnTo>
                    <a:pt x="1603463" y="94627"/>
                  </a:lnTo>
                  <a:lnTo>
                    <a:pt x="1561033" y="77177"/>
                  </a:lnTo>
                  <a:lnTo>
                    <a:pt x="1517789" y="61404"/>
                  </a:lnTo>
                  <a:lnTo>
                    <a:pt x="1473746" y="47345"/>
                  </a:lnTo>
                  <a:lnTo>
                    <a:pt x="1428940" y="35026"/>
                  </a:lnTo>
                  <a:lnTo>
                    <a:pt x="1383436" y="24485"/>
                  </a:lnTo>
                  <a:lnTo>
                    <a:pt x="1337259" y="15773"/>
                  </a:lnTo>
                  <a:lnTo>
                    <a:pt x="1290447" y="8940"/>
                  </a:lnTo>
                  <a:lnTo>
                    <a:pt x="1243037" y="4000"/>
                  </a:lnTo>
                  <a:lnTo>
                    <a:pt x="1195082" y="1003"/>
                  </a:lnTo>
                  <a:lnTo>
                    <a:pt x="1146619" y="0"/>
                  </a:lnTo>
                  <a:lnTo>
                    <a:pt x="1098143" y="1003"/>
                  </a:lnTo>
                  <a:lnTo>
                    <a:pt x="1050188" y="4000"/>
                  </a:lnTo>
                  <a:lnTo>
                    <a:pt x="1002792" y="8940"/>
                  </a:lnTo>
                  <a:lnTo>
                    <a:pt x="955979" y="15773"/>
                  </a:lnTo>
                  <a:lnTo>
                    <a:pt x="909802" y="24485"/>
                  </a:lnTo>
                  <a:lnTo>
                    <a:pt x="864285" y="35026"/>
                  </a:lnTo>
                  <a:lnTo>
                    <a:pt x="819492" y="47345"/>
                  </a:lnTo>
                  <a:lnTo>
                    <a:pt x="775449" y="61404"/>
                  </a:lnTo>
                  <a:lnTo>
                    <a:pt x="732193" y="77177"/>
                  </a:lnTo>
                  <a:lnTo>
                    <a:pt x="689775" y="94627"/>
                  </a:lnTo>
                  <a:lnTo>
                    <a:pt x="648220" y="113690"/>
                  </a:lnTo>
                  <a:lnTo>
                    <a:pt x="607580" y="134353"/>
                  </a:lnTo>
                  <a:lnTo>
                    <a:pt x="567893" y="156552"/>
                  </a:lnTo>
                  <a:lnTo>
                    <a:pt x="529196" y="180263"/>
                  </a:lnTo>
                  <a:lnTo>
                    <a:pt x="491528" y="205435"/>
                  </a:lnTo>
                  <a:lnTo>
                    <a:pt x="454926" y="232041"/>
                  </a:lnTo>
                  <a:lnTo>
                    <a:pt x="419442" y="260045"/>
                  </a:lnTo>
                  <a:lnTo>
                    <a:pt x="385102" y="289382"/>
                  </a:lnTo>
                  <a:lnTo>
                    <a:pt x="351955" y="320040"/>
                  </a:lnTo>
                  <a:lnTo>
                    <a:pt x="320027" y="351955"/>
                  </a:lnTo>
                  <a:lnTo>
                    <a:pt x="289382" y="385102"/>
                  </a:lnTo>
                  <a:lnTo>
                    <a:pt x="260032" y="419442"/>
                  </a:lnTo>
                  <a:lnTo>
                    <a:pt x="232041" y="454939"/>
                  </a:lnTo>
                  <a:lnTo>
                    <a:pt x="205435" y="491528"/>
                  </a:lnTo>
                  <a:lnTo>
                    <a:pt x="180251" y="529196"/>
                  </a:lnTo>
                  <a:lnTo>
                    <a:pt x="156540" y="567905"/>
                  </a:lnTo>
                  <a:lnTo>
                    <a:pt x="134340" y="607593"/>
                  </a:lnTo>
                  <a:lnTo>
                    <a:pt x="113690" y="648233"/>
                  </a:lnTo>
                  <a:lnTo>
                    <a:pt x="94615" y="689775"/>
                  </a:lnTo>
                  <a:lnTo>
                    <a:pt x="77177" y="732205"/>
                  </a:lnTo>
                  <a:lnTo>
                    <a:pt x="61404" y="775449"/>
                  </a:lnTo>
                  <a:lnTo>
                    <a:pt x="47332" y="819492"/>
                  </a:lnTo>
                  <a:lnTo>
                    <a:pt x="35013" y="864298"/>
                  </a:lnTo>
                  <a:lnTo>
                    <a:pt x="24485" y="909802"/>
                  </a:lnTo>
                  <a:lnTo>
                    <a:pt x="15773" y="955979"/>
                  </a:lnTo>
                  <a:lnTo>
                    <a:pt x="8928" y="1002792"/>
                  </a:lnTo>
                  <a:lnTo>
                    <a:pt x="4000" y="1050201"/>
                  </a:lnTo>
                  <a:lnTo>
                    <a:pt x="1003" y="1098156"/>
                  </a:lnTo>
                  <a:lnTo>
                    <a:pt x="0" y="1146619"/>
                  </a:lnTo>
                  <a:lnTo>
                    <a:pt x="1003" y="1195095"/>
                  </a:lnTo>
                  <a:lnTo>
                    <a:pt x="4000" y="1243050"/>
                  </a:lnTo>
                  <a:lnTo>
                    <a:pt x="8928" y="1290447"/>
                  </a:lnTo>
                  <a:lnTo>
                    <a:pt x="15773" y="1337259"/>
                  </a:lnTo>
                  <a:lnTo>
                    <a:pt x="24485" y="1383436"/>
                  </a:lnTo>
                  <a:lnTo>
                    <a:pt x="35013" y="1428953"/>
                  </a:lnTo>
                  <a:lnTo>
                    <a:pt x="47332" y="1473746"/>
                  </a:lnTo>
                  <a:lnTo>
                    <a:pt x="61404" y="1517789"/>
                  </a:lnTo>
                  <a:lnTo>
                    <a:pt x="77177" y="1561045"/>
                  </a:lnTo>
                  <a:lnTo>
                    <a:pt x="94615" y="1603463"/>
                  </a:lnTo>
                  <a:lnTo>
                    <a:pt x="113690" y="1645018"/>
                  </a:lnTo>
                  <a:lnTo>
                    <a:pt x="134340" y="1685658"/>
                  </a:lnTo>
                  <a:lnTo>
                    <a:pt x="156540" y="1725345"/>
                  </a:lnTo>
                  <a:lnTo>
                    <a:pt x="180251" y="1764042"/>
                  </a:lnTo>
                  <a:lnTo>
                    <a:pt x="205435" y="1801710"/>
                  </a:lnTo>
                  <a:lnTo>
                    <a:pt x="232041" y="1838312"/>
                  </a:lnTo>
                  <a:lnTo>
                    <a:pt x="260032" y="1873796"/>
                  </a:lnTo>
                  <a:lnTo>
                    <a:pt x="289382" y="1908136"/>
                  </a:lnTo>
                  <a:lnTo>
                    <a:pt x="320027" y="1941283"/>
                  </a:lnTo>
                  <a:lnTo>
                    <a:pt x="351955" y="1973211"/>
                  </a:lnTo>
                  <a:lnTo>
                    <a:pt x="385102" y="2003856"/>
                  </a:lnTo>
                  <a:lnTo>
                    <a:pt x="419442" y="2033206"/>
                  </a:lnTo>
                  <a:lnTo>
                    <a:pt x="454926" y="2061197"/>
                  </a:lnTo>
                  <a:lnTo>
                    <a:pt x="491528" y="2087803"/>
                  </a:lnTo>
                  <a:lnTo>
                    <a:pt x="529196" y="2112988"/>
                  </a:lnTo>
                  <a:lnTo>
                    <a:pt x="567893" y="2136698"/>
                  </a:lnTo>
                  <a:lnTo>
                    <a:pt x="607580" y="2158898"/>
                  </a:lnTo>
                  <a:lnTo>
                    <a:pt x="648220" y="2179548"/>
                  </a:lnTo>
                  <a:lnTo>
                    <a:pt x="689775" y="2198624"/>
                  </a:lnTo>
                  <a:lnTo>
                    <a:pt x="732193" y="2216061"/>
                  </a:lnTo>
                  <a:lnTo>
                    <a:pt x="775449" y="2231834"/>
                  </a:lnTo>
                  <a:lnTo>
                    <a:pt x="819492" y="2245906"/>
                  </a:lnTo>
                  <a:lnTo>
                    <a:pt x="864285" y="2258225"/>
                  </a:lnTo>
                  <a:lnTo>
                    <a:pt x="909802" y="2268753"/>
                  </a:lnTo>
                  <a:lnTo>
                    <a:pt x="955979" y="2277465"/>
                  </a:lnTo>
                  <a:lnTo>
                    <a:pt x="1002792" y="2284311"/>
                  </a:lnTo>
                  <a:lnTo>
                    <a:pt x="1050188" y="2289238"/>
                  </a:lnTo>
                  <a:lnTo>
                    <a:pt x="1098143" y="2292235"/>
                  </a:lnTo>
                  <a:lnTo>
                    <a:pt x="1146619" y="2293239"/>
                  </a:lnTo>
                  <a:lnTo>
                    <a:pt x="1195082" y="2292235"/>
                  </a:lnTo>
                  <a:lnTo>
                    <a:pt x="1243037" y="2289238"/>
                  </a:lnTo>
                  <a:lnTo>
                    <a:pt x="1290447" y="2284311"/>
                  </a:lnTo>
                  <a:lnTo>
                    <a:pt x="1337259" y="2277465"/>
                  </a:lnTo>
                  <a:lnTo>
                    <a:pt x="1383436" y="2268753"/>
                  </a:lnTo>
                  <a:lnTo>
                    <a:pt x="1428940" y="2258225"/>
                  </a:lnTo>
                  <a:lnTo>
                    <a:pt x="1473746" y="2245906"/>
                  </a:lnTo>
                  <a:lnTo>
                    <a:pt x="1517789" y="2231834"/>
                  </a:lnTo>
                  <a:lnTo>
                    <a:pt x="1561033" y="2216061"/>
                  </a:lnTo>
                  <a:lnTo>
                    <a:pt x="1603463" y="2198624"/>
                  </a:lnTo>
                  <a:lnTo>
                    <a:pt x="1645005" y="2179548"/>
                  </a:lnTo>
                  <a:lnTo>
                    <a:pt x="1685645" y="2158898"/>
                  </a:lnTo>
                  <a:lnTo>
                    <a:pt x="1725333" y="2136698"/>
                  </a:lnTo>
                  <a:lnTo>
                    <a:pt x="1764042" y="2112988"/>
                  </a:lnTo>
                  <a:lnTo>
                    <a:pt x="1801710" y="2087803"/>
                  </a:lnTo>
                  <a:lnTo>
                    <a:pt x="1838299" y="2061197"/>
                  </a:lnTo>
                  <a:lnTo>
                    <a:pt x="1873796" y="2033206"/>
                  </a:lnTo>
                  <a:lnTo>
                    <a:pt x="1908136" y="2003856"/>
                  </a:lnTo>
                  <a:lnTo>
                    <a:pt x="1941283" y="1973211"/>
                  </a:lnTo>
                  <a:lnTo>
                    <a:pt x="1973199" y="1941283"/>
                  </a:lnTo>
                  <a:lnTo>
                    <a:pt x="2003856" y="1908136"/>
                  </a:lnTo>
                  <a:lnTo>
                    <a:pt x="2033193" y="1873796"/>
                  </a:lnTo>
                  <a:lnTo>
                    <a:pt x="2061197" y="1838312"/>
                  </a:lnTo>
                  <a:lnTo>
                    <a:pt x="2087803" y="1801710"/>
                  </a:lnTo>
                  <a:lnTo>
                    <a:pt x="2112975" y="1764042"/>
                  </a:lnTo>
                  <a:lnTo>
                    <a:pt x="2136686" y="1725345"/>
                  </a:lnTo>
                  <a:lnTo>
                    <a:pt x="2158885" y="1685658"/>
                  </a:lnTo>
                  <a:lnTo>
                    <a:pt x="2179548" y="1645018"/>
                  </a:lnTo>
                  <a:lnTo>
                    <a:pt x="2198611" y="1603463"/>
                  </a:lnTo>
                  <a:lnTo>
                    <a:pt x="2216061" y="1561045"/>
                  </a:lnTo>
                  <a:lnTo>
                    <a:pt x="2231834" y="1517789"/>
                  </a:lnTo>
                  <a:lnTo>
                    <a:pt x="2245893" y="1473746"/>
                  </a:lnTo>
                  <a:lnTo>
                    <a:pt x="2258212" y="1428953"/>
                  </a:lnTo>
                  <a:lnTo>
                    <a:pt x="2268753" y="1383436"/>
                  </a:lnTo>
                  <a:lnTo>
                    <a:pt x="2277465" y="1337259"/>
                  </a:lnTo>
                  <a:lnTo>
                    <a:pt x="2284298" y="1290447"/>
                  </a:lnTo>
                  <a:lnTo>
                    <a:pt x="2289238" y="1243050"/>
                  </a:lnTo>
                  <a:lnTo>
                    <a:pt x="2292235" y="1195095"/>
                  </a:lnTo>
                  <a:lnTo>
                    <a:pt x="2293239" y="1146619"/>
                  </a:lnTo>
                  <a:close/>
                </a:path>
                <a:path w="2770504" h="2451734">
                  <a:moveTo>
                    <a:pt x="2769895" y="2200008"/>
                  </a:moveTo>
                  <a:lnTo>
                    <a:pt x="2765844" y="2154809"/>
                  </a:lnTo>
                  <a:lnTo>
                    <a:pt x="2754172" y="2112276"/>
                  </a:lnTo>
                  <a:lnTo>
                    <a:pt x="2735580" y="2073109"/>
                  </a:lnTo>
                  <a:lnTo>
                    <a:pt x="2710777" y="2038007"/>
                  </a:lnTo>
                  <a:lnTo>
                    <a:pt x="2680474" y="2007704"/>
                  </a:lnTo>
                  <a:lnTo>
                    <a:pt x="2645384" y="1982901"/>
                  </a:lnTo>
                  <a:lnTo>
                    <a:pt x="2606205" y="1964309"/>
                  </a:lnTo>
                  <a:lnTo>
                    <a:pt x="2563672" y="1952625"/>
                  </a:lnTo>
                  <a:lnTo>
                    <a:pt x="2518473" y="1948573"/>
                  </a:lnTo>
                  <a:lnTo>
                    <a:pt x="2473287" y="1952625"/>
                  </a:lnTo>
                  <a:lnTo>
                    <a:pt x="2430742" y="1964309"/>
                  </a:lnTo>
                  <a:lnTo>
                    <a:pt x="2391575" y="1982901"/>
                  </a:lnTo>
                  <a:lnTo>
                    <a:pt x="2356485" y="2007704"/>
                  </a:lnTo>
                  <a:lnTo>
                    <a:pt x="2326182" y="2038007"/>
                  </a:lnTo>
                  <a:lnTo>
                    <a:pt x="2301367" y="2073109"/>
                  </a:lnTo>
                  <a:lnTo>
                    <a:pt x="2282774" y="2112276"/>
                  </a:lnTo>
                  <a:lnTo>
                    <a:pt x="2271090" y="2154809"/>
                  </a:lnTo>
                  <a:lnTo>
                    <a:pt x="2267039" y="2200008"/>
                  </a:lnTo>
                  <a:lnTo>
                    <a:pt x="2271090" y="2245195"/>
                  </a:lnTo>
                  <a:lnTo>
                    <a:pt x="2282774" y="2287727"/>
                  </a:lnTo>
                  <a:lnTo>
                    <a:pt x="2301367" y="2326906"/>
                  </a:lnTo>
                  <a:lnTo>
                    <a:pt x="2326182" y="2361996"/>
                  </a:lnTo>
                  <a:lnTo>
                    <a:pt x="2356485" y="2392299"/>
                  </a:lnTo>
                  <a:lnTo>
                    <a:pt x="2391575" y="2417102"/>
                  </a:lnTo>
                  <a:lnTo>
                    <a:pt x="2430742" y="2435695"/>
                  </a:lnTo>
                  <a:lnTo>
                    <a:pt x="2473287" y="2447379"/>
                  </a:lnTo>
                  <a:lnTo>
                    <a:pt x="2518473" y="2451430"/>
                  </a:lnTo>
                  <a:lnTo>
                    <a:pt x="2563672" y="2447379"/>
                  </a:lnTo>
                  <a:lnTo>
                    <a:pt x="2606205" y="2435695"/>
                  </a:lnTo>
                  <a:lnTo>
                    <a:pt x="2645384" y="2417102"/>
                  </a:lnTo>
                  <a:lnTo>
                    <a:pt x="2680474" y="2392299"/>
                  </a:lnTo>
                  <a:lnTo>
                    <a:pt x="2710777" y="2361996"/>
                  </a:lnTo>
                  <a:lnTo>
                    <a:pt x="2735580" y="2326906"/>
                  </a:lnTo>
                  <a:lnTo>
                    <a:pt x="2754172" y="2287727"/>
                  </a:lnTo>
                  <a:lnTo>
                    <a:pt x="2765844" y="2245195"/>
                  </a:lnTo>
                  <a:lnTo>
                    <a:pt x="2769895" y="2200008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7">
              <a:extLst>
                <a:ext uri="{FF2B5EF4-FFF2-40B4-BE49-F238E27FC236}">
                  <a16:creationId xmlns:a16="http://schemas.microsoft.com/office/drawing/2014/main" id="{E3117CA8-C356-BDA9-FD85-2EB03B137EEA}"/>
                </a:ext>
              </a:extLst>
            </p:cNvPr>
            <p:cNvSpPr/>
            <p:nvPr/>
          </p:nvSpPr>
          <p:spPr>
            <a:xfrm>
              <a:off x="9597" y="4925061"/>
              <a:ext cx="1272559" cy="1930720"/>
            </a:xfrm>
            <a:custGeom>
              <a:avLst/>
              <a:gdLst/>
              <a:ahLst/>
              <a:cxnLst/>
              <a:rect l="l" t="t" r="r" b="b"/>
              <a:pathLst>
                <a:path w="1403350" h="2129154">
                  <a:moveTo>
                    <a:pt x="256217" y="0"/>
                  </a:moveTo>
                  <a:lnTo>
                    <a:pt x="207748" y="1005"/>
                  </a:lnTo>
                  <a:lnTo>
                    <a:pt x="159791" y="3997"/>
                  </a:lnTo>
                  <a:lnTo>
                    <a:pt x="112387" y="8933"/>
                  </a:lnTo>
                  <a:lnTo>
                    <a:pt x="65576" y="15776"/>
                  </a:lnTo>
                  <a:lnTo>
                    <a:pt x="19397" y="24484"/>
                  </a:lnTo>
                  <a:lnTo>
                    <a:pt x="0" y="28974"/>
                  </a:lnTo>
                  <a:lnTo>
                    <a:pt x="0" y="2128758"/>
                  </a:lnTo>
                  <a:lnTo>
                    <a:pt x="847885" y="2128758"/>
                  </a:lnTo>
                  <a:lnTo>
                    <a:pt x="873636" y="2112981"/>
                  </a:lnTo>
                  <a:lnTo>
                    <a:pt x="911305" y="2087802"/>
                  </a:lnTo>
                  <a:lnTo>
                    <a:pt x="947904" y="2061196"/>
                  </a:lnTo>
                  <a:lnTo>
                    <a:pt x="983393" y="2033201"/>
                  </a:lnTo>
                  <a:lnTo>
                    <a:pt x="1017732" y="2003858"/>
                  </a:lnTo>
                  <a:lnTo>
                    <a:pt x="1050883" y="1973206"/>
                  </a:lnTo>
                  <a:lnTo>
                    <a:pt x="1082804" y="1941285"/>
                  </a:lnTo>
                  <a:lnTo>
                    <a:pt x="1113456" y="1908135"/>
                  </a:lnTo>
                  <a:lnTo>
                    <a:pt x="1142799" y="1873795"/>
                  </a:lnTo>
                  <a:lnTo>
                    <a:pt x="1170794" y="1838306"/>
                  </a:lnTo>
                  <a:lnTo>
                    <a:pt x="1197400" y="1801707"/>
                  </a:lnTo>
                  <a:lnTo>
                    <a:pt x="1222579" y="1764039"/>
                  </a:lnTo>
                  <a:lnTo>
                    <a:pt x="1246289" y="1725340"/>
                  </a:lnTo>
                  <a:lnTo>
                    <a:pt x="1268492" y="1685650"/>
                  </a:lnTo>
                  <a:lnTo>
                    <a:pt x="1289147" y="1645011"/>
                  </a:lnTo>
                  <a:lnTo>
                    <a:pt x="1308215" y="1603460"/>
                  </a:lnTo>
                  <a:lnTo>
                    <a:pt x="1325656" y="1561039"/>
                  </a:lnTo>
                  <a:lnTo>
                    <a:pt x="1341430" y="1517786"/>
                  </a:lnTo>
                  <a:lnTo>
                    <a:pt x="1355497" y="1473742"/>
                  </a:lnTo>
                  <a:lnTo>
                    <a:pt x="1367818" y="1428947"/>
                  </a:lnTo>
                  <a:lnTo>
                    <a:pt x="1378352" y="1383439"/>
                  </a:lnTo>
                  <a:lnTo>
                    <a:pt x="1387060" y="1337260"/>
                  </a:lnTo>
                  <a:lnTo>
                    <a:pt x="1393903" y="1290448"/>
                  </a:lnTo>
                  <a:lnTo>
                    <a:pt x="1398839" y="1243045"/>
                  </a:lnTo>
                  <a:lnTo>
                    <a:pt x="1401831" y="1195088"/>
                  </a:lnTo>
                  <a:lnTo>
                    <a:pt x="1402836" y="1146619"/>
                  </a:lnTo>
                  <a:lnTo>
                    <a:pt x="1401831" y="1098150"/>
                  </a:lnTo>
                  <a:lnTo>
                    <a:pt x="1398839" y="1050193"/>
                  </a:lnTo>
                  <a:lnTo>
                    <a:pt x="1393903" y="1002790"/>
                  </a:lnTo>
                  <a:lnTo>
                    <a:pt x="1387060" y="955978"/>
                  </a:lnTo>
                  <a:lnTo>
                    <a:pt x="1378352" y="909799"/>
                  </a:lnTo>
                  <a:lnTo>
                    <a:pt x="1367818" y="864291"/>
                  </a:lnTo>
                  <a:lnTo>
                    <a:pt x="1355497" y="819496"/>
                  </a:lnTo>
                  <a:lnTo>
                    <a:pt x="1341430" y="775452"/>
                  </a:lnTo>
                  <a:lnTo>
                    <a:pt x="1325656" y="732199"/>
                  </a:lnTo>
                  <a:lnTo>
                    <a:pt x="1308215" y="689778"/>
                  </a:lnTo>
                  <a:lnTo>
                    <a:pt x="1289147" y="648227"/>
                  </a:lnTo>
                  <a:lnTo>
                    <a:pt x="1268492" y="607588"/>
                  </a:lnTo>
                  <a:lnTo>
                    <a:pt x="1246289" y="567898"/>
                  </a:lnTo>
                  <a:lnTo>
                    <a:pt x="1222579" y="529199"/>
                  </a:lnTo>
                  <a:lnTo>
                    <a:pt x="1197400" y="491531"/>
                  </a:lnTo>
                  <a:lnTo>
                    <a:pt x="1170794" y="454932"/>
                  </a:lnTo>
                  <a:lnTo>
                    <a:pt x="1142799" y="419443"/>
                  </a:lnTo>
                  <a:lnTo>
                    <a:pt x="1113456" y="385103"/>
                  </a:lnTo>
                  <a:lnTo>
                    <a:pt x="1082804" y="351953"/>
                  </a:lnTo>
                  <a:lnTo>
                    <a:pt x="1050883" y="320032"/>
                  </a:lnTo>
                  <a:lnTo>
                    <a:pt x="1017732" y="289380"/>
                  </a:lnTo>
                  <a:lnTo>
                    <a:pt x="983393" y="260037"/>
                  </a:lnTo>
                  <a:lnTo>
                    <a:pt x="947904" y="232042"/>
                  </a:lnTo>
                  <a:lnTo>
                    <a:pt x="911305" y="205436"/>
                  </a:lnTo>
                  <a:lnTo>
                    <a:pt x="873636" y="180257"/>
                  </a:lnTo>
                  <a:lnTo>
                    <a:pt x="834938" y="156547"/>
                  </a:lnTo>
                  <a:lnTo>
                    <a:pt x="795248" y="134344"/>
                  </a:lnTo>
                  <a:lnTo>
                    <a:pt x="754609" y="113689"/>
                  </a:lnTo>
                  <a:lnTo>
                    <a:pt x="713058" y="94621"/>
                  </a:lnTo>
                  <a:lnTo>
                    <a:pt x="670637" y="77180"/>
                  </a:lnTo>
                  <a:lnTo>
                    <a:pt x="627384" y="61406"/>
                  </a:lnTo>
                  <a:lnTo>
                    <a:pt x="583340" y="47339"/>
                  </a:lnTo>
                  <a:lnTo>
                    <a:pt x="538544" y="35018"/>
                  </a:lnTo>
                  <a:lnTo>
                    <a:pt x="493037" y="24484"/>
                  </a:lnTo>
                  <a:lnTo>
                    <a:pt x="446858" y="15776"/>
                  </a:lnTo>
                  <a:lnTo>
                    <a:pt x="400046" y="8933"/>
                  </a:lnTo>
                  <a:lnTo>
                    <a:pt x="352643" y="3997"/>
                  </a:lnTo>
                  <a:lnTo>
                    <a:pt x="304686" y="1005"/>
                  </a:lnTo>
                  <a:lnTo>
                    <a:pt x="25621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>
              <a:extLst>
                <a:ext uri="{FF2B5EF4-FFF2-40B4-BE49-F238E27FC236}">
                  <a16:creationId xmlns:a16="http://schemas.microsoft.com/office/drawing/2014/main" id="{D63CF557-1D03-CF27-546B-1151257DE682}"/>
                </a:ext>
              </a:extLst>
            </p:cNvPr>
            <p:cNvSpPr/>
            <p:nvPr/>
          </p:nvSpPr>
          <p:spPr>
            <a:xfrm>
              <a:off x="1438442" y="5634837"/>
              <a:ext cx="1580045" cy="1220736"/>
            </a:xfrm>
            <a:custGeom>
              <a:avLst/>
              <a:gdLst/>
              <a:ahLst/>
              <a:cxnLst/>
              <a:rect l="l" t="t" r="r" b="b"/>
              <a:pathLst>
                <a:path w="1742439" h="1346200">
                  <a:moveTo>
                    <a:pt x="871016" y="0"/>
                  </a:moveTo>
                  <a:lnTo>
                    <a:pt x="823226" y="1288"/>
                  </a:lnTo>
                  <a:lnTo>
                    <a:pt x="776109" y="5110"/>
                  </a:lnTo>
                  <a:lnTo>
                    <a:pt x="729733" y="11400"/>
                  </a:lnTo>
                  <a:lnTo>
                    <a:pt x="684162" y="20089"/>
                  </a:lnTo>
                  <a:lnTo>
                    <a:pt x="639465" y="31113"/>
                  </a:lnTo>
                  <a:lnTo>
                    <a:pt x="595707" y="44404"/>
                  </a:lnTo>
                  <a:lnTo>
                    <a:pt x="552955" y="59897"/>
                  </a:lnTo>
                  <a:lnTo>
                    <a:pt x="511275" y="77525"/>
                  </a:lnTo>
                  <a:lnTo>
                    <a:pt x="470733" y="97221"/>
                  </a:lnTo>
                  <a:lnTo>
                    <a:pt x="431397" y="118919"/>
                  </a:lnTo>
                  <a:lnTo>
                    <a:pt x="393332" y="142552"/>
                  </a:lnTo>
                  <a:lnTo>
                    <a:pt x="356605" y="168055"/>
                  </a:lnTo>
                  <a:lnTo>
                    <a:pt x="321282" y="195360"/>
                  </a:lnTo>
                  <a:lnTo>
                    <a:pt x="287429" y="224402"/>
                  </a:lnTo>
                  <a:lnTo>
                    <a:pt x="255114" y="255114"/>
                  </a:lnTo>
                  <a:lnTo>
                    <a:pt x="224402" y="287429"/>
                  </a:lnTo>
                  <a:lnTo>
                    <a:pt x="195360" y="321282"/>
                  </a:lnTo>
                  <a:lnTo>
                    <a:pt x="168055" y="356605"/>
                  </a:lnTo>
                  <a:lnTo>
                    <a:pt x="142552" y="393332"/>
                  </a:lnTo>
                  <a:lnTo>
                    <a:pt x="118919" y="431397"/>
                  </a:lnTo>
                  <a:lnTo>
                    <a:pt x="97221" y="470733"/>
                  </a:lnTo>
                  <a:lnTo>
                    <a:pt x="77525" y="511275"/>
                  </a:lnTo>
                  <a:lnTo>
                    <a:pt x="59897" y="552955"/>
                  </a:lnTo>
                  <a:lnTo>
                    <a:pt x="44404" y="595707"/>
                  </a:lnTo>
                  <a:lnTo>
                    <a:pt x="31113" y="639465"/>
                  </a:lnTo>
                  <a:lnTo>
                    <a:pt x="20089" y="684162"/>
                  </a:lnTo>
                  <a:lnTo>
                    <a:pt x="11400" y="729733"/>
                  </a:lnTo>
                  <a:lnTo>
                    <a:pt x="5110" y="776109"/>
                  </a:lnTo>
                  <a:lnTo>
                    <a:pt x="1288" y="823226"/>
                  </a:lnTo>
                  <a:lnTo>
                    <a:pt x="0" y="871016"/>
                  </a:lnTo>
                  <a:lnTo>
                    <a:pt x="1288" y="918807"/>
                  </a:lnTo>
                  <a:lnTo>
                    <a:pt x="5110" y="965923"/>
                  </a:lnTo>
                  <a:lnTo>
                    <a:pt x="11400" y="1012300"/>
                  </a:lnTo>
                  <a:lnTo>
                    <a:pt x="20089" y="1057870"/>
                  </a:lnTo>
                  <a:lnTo>
                    <a:pt x="31113" y="1102568"/>
                  </a:lnTo>
                  <a:lnTo>
                    <a:pt x="44404" y="1146325"/>
                  </a:lnTo>
                  <a:lnTo>
                    <a:pt x="59897" y="1189078"/>
                  </a:lnTo>
                  <a:lnTo>
                    <a:pt x="77525" y="1230758"/>
                  </a:lnTo>
                  <a:lnTo>
                    <a:pt x="97221" y="1271299"/>
                  </a:lnTo>
                  <a:lnTo>
                    <a:pt x="118919" y="1310636"/>
                  </a:lnTo>
                  <a:lnTo>
                    <a:pt x="140895" y="1346032"/>
                  </a:lnTo>
                  <a:lnTo>
                    <a:pt x="1601138" y="1346032"/>
                  </a:lnTo>
                  <a:lnTo>
                    <a:pt x="1623114" y="1310636"/>
                  </a:lnTo>
                  <a:lnTo>
                    <a:pt x="1644812" y="1271299"/>
                  </a:lnTo>
                  <a:lnTo>
                    <a:pt x="1664508" y="1230758"/>
                  </a:lnTo>
                  <a:lnTo>
                    <a:pt x="1682136" y="1189078"/>
                  </a:lnTo>
                  <a:lnTo>
                    <a:pt x="1697628" y="1146325"/>
                  </a:lnTo>
                  <a:lnTo>
                    <a:pt x="1710920" y="1102568"/>
                  </a:lnTo>
                  <a:lnTo>
                    <a:pt x="1721943" y="1057870"/>
                  </a:lnTo>
                  <a:lnTo>
                    <a:pt x="1730633" y="1012300"/>
                  </a:lnTo>
                  <a:lnTo>
                    <a:pt x="1736922" y="965923"/>
                  </a:lnTo>
                  <a:lnTo>
                    <a:pt x="1740744" y="918807"/>
                  </a:lnTo>
                  <a:lnTo>
                    <a:pt x="1742033" y="871016"/>
                  </a:lnTo>
                  <a:lnTo>
                    <a:pt x="1740744" y="823226"/>
                  </a:lnTo>
                  <a:lnTo>
                    <a:pt x="1736922" y="776109"/>
                  </a:lnTo>
                  <a:lnTo>
                    <a:pt x="1730633" y="729733"/>
                  </a:lnTo>
                  <a:lnTo>
                    <a:pt x="1721943" y="684162"/>
                  </a:lnTo>
                  <a:lnTo>
                    <a:pt x="1710920" y="639465"/>
                  </a:lnTo>
                  <a:lnTo>
                    <a:pt x="1697628" y="595707"/>
                  </a:lnTo>
                  <a:lnTo>
                    <a:pt x="1682136" y="552955"/>
                  </a:lnTo>
                  <a:lnTo>
                    <a:pt x="1664508" y="511275"/>
                  </a:lnTo>
                  <a:lnTo>
                    <a:pt x="1644812" y="470733"/>
                  </a:lnTo>
                  <a:lnTo>
                    <a:pt x="1623114" y="431397"/>
                  </a:lnTo>
                  <a:lnTo>
                    <a:pt x="1599480" y="393332"/>
                  </a:lnTo>
                  <a:lnTo>
                    <a:pt x="1573978" y="356605"/>
                  </a:lnTo>
                  <a:lnTo>
                    <a:pt x="1546672" y="321282"/>
                  </a:lnTo>
                  <a:lnTo>
                    <a:pt x="1517630" y="287429"/>
                  </a:lnTo>
                  <a:lnTo>
                    <a:pt x="1486919" y="255114"/>
                  </a:lnTo>
                  <a:lnTo>
                    <a:pt x="1454603" y="224402"/>
                  </a:lnTo>
                  <a:lnTo>
                    <a:pt x="1420751" y="195360"/>
                  </a:lnTo>
                  <a:lnTo>
                    <a:pt x="1385428" y="168055"/>
                  </a:lnTo>
                  <a:lnTo>
                    <a:pt x="1348701" y="142552"/>
                  </a:lnTo>
                  <a:lnTo>
                    <a:pt x="1310636" y="118919"/>
                  </a:lnTo>
                  <a:lnTo>
                    <a:pt x="1271299" y="97221"/>
                  </a:lnTo>
                  <a:lnTo>
                    <a:pt x="1230758" y="77525"/>
                  </a:lnTo>
                  <a:lnTo>
                    <a:pt x="1189078" y="59897"/>
                  </a:lnTo>
                  <a:lnTo>
                    <a:pt x="1146325" y="44404"/>
                  </a:lnTo>
                  <a:lnTo>
                    <a:pt x="1102568" y="31113"/>
                  </a:lnTo>
                  <a:lnTo>
                    <a:pt x="1057870" y="20089"/>
                  </a:lnTo>
                  <a:lnTo>
                    <a:pt x="1012300" y="11400"/>
                  </a:lnTo>
                  <a:lnTo>
                    <a:pt x="965923" y="5110"/>
                  </a:lnTo>
                  <a:lnTo>
                    <a:pt x="918807" y="1288"/>
                  </a:lnTo>
                  <a:lnTo>
                    <a:pt x="871016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9">
              <a:extLst>
                <a:ext uri="{FF2B5EF4-FFF2-40B4-BE49-F238E27FC236}">
                  <a16:creationId xmlns:a16="http://schemas.microsoft.com/office/drawing/2014/main" id="{E6538FF3-DDE2-42CC-7C40-B64B8CC9397A}"/>
                </a:ext>
              </a:extLst>
            </p:cNvPr>
            <p:cNvSpPr/>
            <p:nvPr/>
          </p:nvSpPr>
          <p:spPr>
            <a:xfrm>
              <a:off x="4273152" y="6359534"/>
              <a:ext cx="726683" cy="496356"/>
            </a:xfrm>
            <a:custGeom>
              <a:avLst/>
              <a:gdLst/>
              <a:ahLst/>
              <a:cxnLst/>
              <a:rect l="l" t="t" r="r" b="b"/>
              <a:pathLst>
                <a:path w="801370" h="547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1"/>
                  </a:lnTo>
                  <a:lnTo>
                    <a:pt x="265542" y="23357"/>
                  </a:lnTo>
                  <a:lnTo>
                    <a:pt x="224466" y="40722"/>
                  </a:lnTo>
                  <a:lnTo>
                    <a:pt x="185876" y="62376"/>
                  </a:lnTo>
                  <a:lnTo>
                    <a:pt x="150072" y="88018"/>
                  </a:lnTo>
                  <a:lnTo>
                    <a:pt x="117354" y="117348"/>
                  </a:lnTo>
                  <a:lnTo>
                    <a:pt x="88023" y="150064"/>
                  </a:lnTo>
                  <a:lnTo>
                    <a:pt x="62379" y="185867"/>
                  </a:lnTo>
                  <a:lnTo>
                    <a:pt x="40724" y="224456"/>
                  </a:lnTo>
                  <a:lnTo>
                    <a:pt x="23358" y="265531"/>
                  </a:lnTo>
                  <a:lnTo>
                    <a:pt x="10582" y="308789"/>
                  </a:lnTo>
                  <a:lnTo>
                    <a:pt x="2695" y="353933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28035" y="546851"/>
                  </a:lnTo>
                  <a:lnTo>
                    <a:pt x="773308" y="546851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3"/>
                  </a:lnTo>
                  <a:lnTo>
                    <a:pt x="790762" y="308789"/>
                  </a:lnTo>
                  <a:lnTo>
                    <a:pt x="777985" y="265531"/>
                  </a:lnTo>
                  <a:lnTo>
                    <a:pt x="760619" y="224456"/>
                  </a:lnTo>
                  <a:lnTo>
                    <a:pt x="738964" y="185867"/>
                  </a:lnTo>
                  <a:lnTo>
                    <a:pt x="713321" y="150064"/>
                  </a:lnTo>
                  <a:lnTo>
                    <a:pt x="683990" y="117348"/>
                  </a:lnTo>
                  <a:lnTo>
                    <a:pt x="651272" y="88018"/>
                  </a:lnTo>
                  <a:lnTo>
                    <a:pt x="615467" y="62376"/>
                  </a:lnTo>
                  <a:lnTo>
                    <a:pt x="576877" y="40722"/>
                  </a:lnTo>
                  <a:lnTo>
                    <a:pt x="535802" y="23357"/>
                  </a:lnTo>
                  <a:lnTo>
                    <a:pt x="492542" y="10581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0">
              <a:extLst>
                <a:ext uri="{FF2B5EF4-FFF2-40B4-BE49-F238E27FC236}">
                  <a16:creationId xmlns:a16="http://schemas.microsoft.com/office/drawing/2014/main" id="{E0B7C2DB-A4D1-95C8-95C5-D97562B895E0}"/>
                </a:ext>
              </a:extLst>
            </p:cNvPr>
            <p:cNvSpPr/>
            <p:nvPr/>
          </p:nvSpPr>
          <p:spPr>
            <a:xfrm>
              <a:off x="1979925" y="4720897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69" h="801370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2"/>
                  </a:lnTo>
                  <a:lnTo>
                    <a:pt x="117354" y="117352"/>
                  </a:lnTo>
                  <a:lnTo>
                    <a:pt x="88023" y="150070"/>
                  </a:lnTo>
                  <a:lnTo>
                    <a:pt x="62379" y="185873"/>
                  </a:lnTo>
                  <a:lnTo>
                    <a:pt x="40724" y="224462"/>
                  </a:lnTo>
                  <a:lnTo>
                    <a:pt x="23358" y="265536"/>
                  </a:lnTo>
                  <a:lnTo>
                    <a:pt x="10582" y="308793"/>
                  </a:lnTo>
                  <a:lnTo>
                    <a:pt x="2695" y="353935"/>
                  </a:lnTo>
                  <a:lnTo>
                    <a:pt x="0" y="400659"/>
                  </a:lnTo>
                  <a:lnTo>
                    <a:pt x="2695" y="447386"/>
                  </a:lnTo>
                  <a:lnTo>
                    <a:pt x="10582" y="492529"/>
                  </a:lnTo>
                  <a:lnTo>
                    <a:pt x="23358" y="535789"/>
                  </a:lnTo>
                  <a:lnTo>
                    <a:pt x="40724" y="576864"/>
                  </a:lnTo>
                  <a:lnTo>
                    <a:pt x="62379" y="615455"/>
                  </a:lnTo>
                  <a:lnTo>
                    <a:pt x="88023" y="651259"/>
                  </a:lnTo>
                  <a:lnTo>
                    <a:pt x="117354" y="683977"/>
                  </a:lnTo>
                  <a:lnTo>
                    <a:pt x="150072" y="713308"/>
                  </a:lnTo>
                  <a:lnTo>
                    <a:pt x="185876" y="738951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1"/>
                  </a:lnTo>
                  <a:lnTo>
                    <a:pt x="651272" y="713308"/>
                  </a:lnTo>
                  <a:lnTo>
                    <a:pt x="683990" y="683977"/>
                  </a:lnTo>
                  <a:lnTo>
                    <a:pt x="713321" y="651259"/>
                  </a:lnTo>
                  <a:lnTo>
                    <a:pt x="738964" y="615455"/>
                  </a:lnTo>
                  <a:lnTo>
                    <a:pt x="760619" y="576864"/>
                  </a:lnTo>
                  <a:lnTo>
                    <a:pt x="777985" y="535789"/>
                  </a:lnTo>
                  <a:lnTo>
                    <a:pt x="790762" y="492529"/>
                  </a:lnTo>
                  <a:lnTo>
                    <a:pt x="798648" y="447386"/>
                  </a:lnTo>
                  <a:lnTo>
                    <a:pt x="801344" y="400659"/>
                  </a:lnTo>
                  <a:lnTo>
                    <a:pt x="798648" y="353935"/>
                  </a:lnTo>
                  <a:lnTo>
                    <a:pt x="790762" y="308793"/>
                  </a:lnTo>
                  <a:lnTo>
                    <a:pt x="777985" y="265536"/>
                  </a:lnTo>
                  <a:lnTo>
                    <a:pt x="760619" y="224462"/>
                  </a:lnTo>
                  <a:lnTo>
                    <a:pt x="738964" y="185873"/>
                  </a:lnTo>
                  <a:lnTo>
                    <a:pt x="713321" y="150070"/>
                  </a:lnTo>
                  <a:lnTo>
                    <a:pt x="683990" y="117352"/>
                  </a:lnTo>
                  <a:lnTo>
                    <a:pt x="651272" y="88022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40C06F99-8172-DCE1-7EFE-FF4F105EC10F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937730" y="-624301"/>
            <a:ext cx="8682510" cy="8565938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3246770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Ne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38F56F-30C0-B8AE-9A2D-75D458292098}"/>
              </a:ext>
            </a:extLst>
          </p:cNvPr>
          <p:cNvGrpSpPr/>
          <p:nvPr userDrawn="1"/>
        </p:nvGrpSpPr>
        <p:grpSpPr>
          <a:xfrm>
            <a:off x="6109850" y="-1"/>
            <a:ext cx="6097260" cy="1857721"/>
            <a:chOff x="6613002" y="0"/>
            <a:chExt cx="5573326" cy="1698088"/>
          </a:xfrm>
        </p:grpSpPr>
        <p:sp>
          <p:nvSpPr>
            <p:cNvPr id="21" name="object 3">
              <a:extLst>
                <a:ext uri="{FF2B5EF4-FFF2-40B4-BE49-F238E27FC236}">
                  <a16:creationId xmlns:a16="http://schemas.microsoft.com/office/drawing/2014/main" id="{17BFCD84-F3D5-2D67-1EF1-6EA656954F92}"/>
                </a:ext>
              </a:extLst>
            </p:cNvPr>
            <p:cNvSpPr/>
            <p:nvPr/>
          </p:nvSpPr>
          <p:spPr>
            <a:xfrm>
              <a:off x="7850787" y="1099048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DC5B7BD2-C012-045B-C0AE-20165117D00C}"/>
                </a:ext>
              </a:extLst>
            </p:cNvPr>
            <p:cNvSpPr/>
            <p:nvPr/>
          </p:nvSpPr>
          <p:spPr>
            <a:xfrm>
              <a:off x="8748519" y="377061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20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5" y="487125"/>
                  </a:lnTo>
                  <a:lnTo>
                    <a:pt x="378334" y="468527"/>
                  </a:lnTo>
                  <a:lnTo>
                    <a:pt x="413424" y="443721"/>
                  </a:lnTo>
                  <a:lnTo>
                    <a:pt x="443726" y="413417"/>
                  </a:lnTo>
                  <a:lnTo>
                    <a:pt x="468531" y="378325"/>
                  </a:lnTo>
                  <a:lnTo>
                    <a:pt x="487127" y="339154"/>
                  </a:lnTo>
                  <a:lnTo>
                    <a:pt x="498805" y="296617"/>
                  </a:lnTo>
                  <a:lnTo>
                    <a:pt x="502856" y="251421"/>
                  </a:lnTo>
                  <a:lnTo>
                    <a:pt x="498805" y="206230"/>
                  </a:lnTo>
                  <a:lnTo>
                    <a:pt x="487127" y="163695"/>
                  </a:lnTo>
                  <a:lnTo>
                    <a:pt x="468531" y="124527"/>
                  </a:lnTo>
                  <a:lnTo>
                    <a:pt x="443726" y="89437"/>
                  </a:lnTo>
                  <a:lnTo>
                    <a:pt x="413424" y="59133"/>
                  </a:lnTo>
                  <a:lnTo>
                    <a:pt x="378334" y="34328"/>
                  </a:lnTo>
                  <a:lnTo>
                    <a:pt x="339165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46C39FBD-DAAB-94DF-35DC-C352F1542076}"/>
                </a:ext>
              </a:extLst>
            </p:cNvPr>
            <p:cNvSpPr/>
            <p:nvPr/>
          </p:nvSpPr>
          <p:spPr>
            <a:xfrm>
              <a:off x="10402442" y="0"/>
              <a:ext cx="1783886" cy="1698088"/>
            </a:xfrm>
            <a:custGeom>
              <a:avLst/>
              <a:gdLst/>
              <a:ahLst/>
              <a:cxnLst/>
              <a:rect l="l" t="t" r="r" b="b"/>
              <a:pathLst>
                <a:path w="1967230" h="1872614">
                  <a:moveTo>
                    <a:pt x="1966964" y="0"/>
                  </a:moveTo>
                  <a:lnTo>
                    <a:pt x="258627" y="0"/>
                  </a:lnTo>
                  <a:lnTo>
                    <a:pt x="232042" y="33701"/>
                  </a:lnTo>
                  <a:lnTo>
                    <a:pt x="205436" y="70300"/>
                  </a:lnTo>
                  <a:lnTo>
                    <a:pt x="180257" y="107969"/>
                  </a:lnTo>
                  <a:lnTo>
                    <a:pt x="156547" y="146667"/>
                  </a:lnTo>
                  <a:lnTo>
                    <a:pt x="134344" y="186357"/>
                  </a:lnTo>
                  <a:lnTo>
                    <a:pt x="113689" y="226996"/>
                  </a:lnTo>
                  <a:lnTo>
                    <a:pt x="94621" y="268547"/>
                  </a:lnTo>
                  <a:lnTo>
                    <a:pt x="77180" y="310968"/>
                  </a:lnTo>
                  <a:lnTo>
                    <a:pt x="61406" y="354221"/>
                  </a:lnTo>
                  <a:lnTo>
                    <a:pt x="47339" y="398265"/>
                  </a:lnTo>
                  <a:lnTo>
                    <a:pt x="35018" y="443061"/>
                  </a:lnTo>
                  <a:lnTo>
                    <a:pt x="24484" y="488568"/>
                  </a:lnTo>
                  <a:lnTo>
                    <a:pt x="15776" y="534747"/>
                  </a:lnTo>
                  <a:lnTo>
                    <a:pt x="8933" y="581559"/>
                  </a:lnTo>
                  <a:lnTo>
                    <a:pt x="3997" y="628963"/>
                  </a:lnTo>
                  <a:lnTo>
                    <a:pt x="1005" y="676919"/>
                  </a:lnTo>
                  <a:lnTo>
                    <a:pt x="0" y="725388"/>
                  </a:lnTo>
                  <a:lnTo>
                    <a:pt x="1005" y="773857"/>
                  </a:lnTo>
                  <a:lnTo>
                    <a:pt x="3997" y="821814"/>
                  </a:lnTo>
                  <a:lnTo>
                    <a:pt x="8933" y="869218"/>
                  </a:lnTo>
                  <a:lnTo>
                    <a:pt x="15776" y="916029"/>
                  </a:lnTo>
                  <a:lnTo>
                    <a:pt x="24484" y="962208"/>
                  </a:lnTo>
                  <a:lnTo>
                    <a:pt x="35018" y="1007716"/>
                  </a:lnTo>
                  <a:lnTo>
                    <a:pt x="47339" y="1052511"/>
                  </a:lnTo>
                  <a:lnTo>
                    <a:pt x="61406" y="1096555"/>
                  </a:lnTo>
                  <a:lnTo>
                    <a:pt x="77180" y="1139808"/>
                  </a:lnTo>
                  <a:lnTo>
                    <a:pt x="94621" y="1182229"/>
                  </a:lnTo>
                  <a:lnTo>
                    <a:pt x="113689" y="1223780"/>
                  </a:lnTo>
                  <a:lnTo>
                    <a:pt x="134344" y="1264420"/>
                  </a:lnTo>
                  <a:lnTo>
                    <a:pt x="156547" y="1304109"/>
                  </a:lnTo>
                  <a:lnTo>
                    <a:pt x="180257" y="1342808"/>
                  </a:lnTo>
                  <a:lnTo>
                    <a:pt x="205436" y="1380476"/>
                  </a:lnTo>
                  <a:lnTo>
                    <a:pt x="232042" y="1417075"/>
                  </a:lnTo>
                  <a:lnTo>
                    <a:pt x="260037" y="1452564"/>
                  </a:lnTo>
                  <a:lnTo>
                    <a:pt x="289380" y="1486904"/>
                  </a:lnTo>
                  <a:lnTo>
                    <a:pt x="320032" y="1520054"/>
                  </a:lnTo>
                  <a:lnTo>
                    <a:pt x="351953" y="1551975"/>
                  </a:lnTo>
                  <a:lnTo>
                    <a:pt x="385103" y="1582627"/>
                  </a:lnTo>
                  <a:lnTo>
                    <a:pt x="419443" y="1611970"/>
                  </a:lnTo>
                  <a:lnTo>
                    <a:pt x="454932" y="1639965"/>
                  </a:lnTo>
                  <a:lnTo>
                    <a:pt x="491531" y="1666572"/>
                  </a:lnTo>
                  <a:lnTo>
                    <a:pt x="529199" y="1691750"/>
                  </a:lnTo>
                  <a:lnTo>
                    <a:pt x="567898" y="1715460"/>
                  </a:lnTo>
                  <a:lnTo>
                    <a:pt x="607588" y="1737663"/>
                  </a:lnTo>
                  <a:lnTo>
                    <a:pt x="648227" y="1758318"/>
                  </a:lnTo>
                  <a:lnTo>
                    <a:pt x="689778" y="1777386"/>
                  </a:lnTo>
                  <a:lnTo>
                    <a:pt x="732199" y="1794827"/>
                  </a:lnTo>
                  <a:lnTo>
                    <a:pt x="775452" y="1810601"/>
                  </a:lnTo>
                  <a:lnTo>
                    <a:pt x="819496" y="1824668"/>
                  </a:lnTo>
                  <a:lnTo>
                    <a:pt x="864291" y="1836989"/>
                  </a:lnTo>
                  <a:lnTo>
                    <a:pt x="909799" y="1847523"/>
                  </a:lnTo>
                  <a:lnTo>
                    <a:pt x="955978" y="1856231"/>
                  </a:lnTo>
                  <a:lnTo>
                    <a:pt x="1002790" y="1863074"/>
                  </a:lnTo>
                  <a:lnTo>
                    <a:pt x="1050193" y="1868011"/>
                  </a:lnTo>
                  <a:lnTo>
                    <a:pt x="1098150" y="1871002"/>
                  </a:lnTo>
                  <a:lnTo>
                    <a:pt x="1146619" y="1872008"/>
                  </a:lnTo>
                  <a:lnTo>
                    <a:pt x="1195088" y="1871002"/>
                  </a:lnTo>
                  <a:lnTo>
                    <a:pt x="1243045" y="1868011"/>
                  </a:lnTo>
                  <a:lnTo>
                    <a:pt x="1290448" y="1863074"/>
                  </a:lnTo>
                  <a:lnTo>
                    <a:pt x="1337260" y="1856231"/>
                  </a:lnTo>
                  <a:lnTo>
                    <a:pt x="1383439" y="1847523"/>
                  </a:lnTo>
                  <a:lnTo>
                    <a:pt x="1428947" y="1836989"/>
                  </a:lnTo>
                  <a:lnTo>
                    <a:pt x="1473742" y="1824668"/>
                  </a:lnTo>
                  <a:lnTo>
                    <a:pt x="1517786" y="1810601"/>
                  </a:lnTo>
                  <a:lnTo>
                    <a:pt x="1561039" y="1794827"/>
                  </a:lnTo>
                  <a:lnTo>
                    <a:pt x="1603460" y="1777386"/>
                  </a:lnTo>
                  <a:lnTo>
                    <a:pt x="1645011" y="1758318"/>
                  </a:lnTo>
                  <a:lnTo>
                    <a:pt x="1685650" y="1737663"/>
                  </a:lnTo>
                  <a:lnTo>
                    <a:pt x="1725340" y="1715460"/>
                  </a:lnTo>
                  <a:lnTo>
                    <a:pt x="1764039" y="1691750"/>
                  </a:lnTo>
                  <a:lnTo>
                    <a:pt x="1801707" y="1666572"/>
                  </a:lnTo>
                  <a:lnTo>
                    <a:pt x="1838306" y="1639965"/>
                  </a:lnTo>
                  <a:lnTo>
                    <a:pt x="1873795" y="1611970"/>
                  </a:lnTo>
                  <a:lnTo>
                    <a:pt x="1908135" y="1582627"/>
                  </a:lnTo>
                  <a:lnTo>
                    <a:pt x="1941285" y="1551975"/>
                  </a:lnTo>
                  <a:lnTo>
                    <a:pt x="1966964" y="1526295"/>
                  </a:lnTo>
                  <a:lnTo>
                    <a:pt x="196696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5658E3DE-4D80-E3F3-9EBE-7C75B09AA30F}"/>
                </a:ext>
              </a:extLst>
            </p:cNvPr>
            <p:cNvSpPr/>
            <p:nvPr/>
          </p:nvSpPr>
          <p:spPr>
            <a:xfrm>
              <a:off x="6613002" y="0"/>
              <a:ext cx="2077554" cy="995015"/>
            </a:xfrm>
            <a:custGeom>
              <a:avLst/>
              <a:gdLst/>
              <a:ahLst/>
              <a:cxnLst/>
              <a:rect l="l" t="t" r="r" b="b"/>
              <a:pathLst>
                <a:path w="2291079" h="1097280">
                  <a:moveTo>
                    <a:pt x="2291054" y="0"/>
                  </a:moveTo>
                  <a:lnTo>
                    <a:pt x="0" y="0"/>
                  </a:lnTo>
                  <a:lnTo>
                    <a:pt x="2904" y="46573"/>
                  </a:lnTo>
                  <a:lnTo>
                    <a:pt x="7841" y="93977"/>
                  </a:lnTo>
                  <a:lnTo>
                    <a:pt x="14684" y="140789"/>
                  </a:lnTo>
                  <a:lnTo>
                    <a:pt x="23392" y="186968"/>
                  </a:lnTo>
                  <a:lnTo>
                    <a:pt x="33926" y="232475"/>
                  </a:lnTo>
                  <a:lnTo>
                    <a:pt x="46247" y="277271"/>
                  </a:lnTo>
                  <a:lnTo>
                    <a:pt x="60314" y="321315"/>
                  </a:lnTo>
                  <a:lnTo>
                    <a:pt x="76088" y="364568"/>
                  </a:lnTo>
                  <a:lnTo>
                    <a:pt x="93529" y="406989"/>
                  </a:lnTo>
                  <a:lnTo>
                    <a:pt x="112597" y="448540"/>
                  </a:lnTo>
                  <a:lnTo>
                    <a:pt x="133252" y="489179"/>
                  </a:lnTo>
                  <a:lnTo>
                    <a:pt x="155455" y="528868"/>
                  </a:lnTo>
                  <a:lnTo>
                    <a:pt x="179165" y="567567"/>
                  </a:lnTo>
                  <a:lnTo>
                    <a:pt x="204343" y="605236"/>
                  </a:lnTo>
                  <a:lnTo>
                    <a:pt x="230950" y="641835"/>
                  </a:lnTo>
                  <a:lnTo>
                    <a:pt x="258945" y="677324"/>
                  </a:lnTo>
                  <a:lnTo>
                    <a:pt x="288288" y="711663"/>
                  </a:lnTo>
                  <a:lnTo>
                    <a:pt x="318940" y="744813"/>
                  </a:lnTo>
                  <a:lnTo>
                    <a:pt x="350861" y="776734"/>
                  </a:lnTo>
                  <a:lnTo>
                    <a:pt x="384011" y="807387"/>
                  </a:lnTo>
                  <a:lnTo>
                    <a:pt x="418351" y="836730"/>
                  </a:lnTo>
                  <a:lnTo>
                    <a:pt x="453840" y="864725"/>
                  </a:lnTo>
                  <a:lnTo>
                    <a:pt x="490439" y="891331"/>
                  </a:lnTo>
                  <a:lnTo>
                    <a:pt x="528107" y="916510"/>
                  </a:lnTo>
                  <a:lnTo>
                    <a:pt x="566806" y="940220"/>
                  </a:lnTo>
                  <a:lnTo>
                    <a:pt x="606495" y="962423"/>
                  </a:lnTo>
                  <a:lnTo>
                    <a:pt x="647135" y="983078"/>
                  </a:lnTo>
                  <a:lnTo>
                    <a:pt x="688686" y="1002146"/>
                  </a:lnTo>
                  <a:lnTo>
                    <a:pt x="731107" y="1019587"/>
                  </a:lnTo>
                  <a:lnTo>
                    <a:pt x="774360" y="1035361"/>
                  </a:lnTo>
                  <a:lnTo>
                    <a:pt x="818404" y="1049428"/>
                  </a:lnTo>
                  <a:lnTo>
                    <a:pt x="863199" y="1061748"/>
                  </a:lnTo>
                  <a:lnTo>
                    <a:pt x="908707" y="1072283"/>
                  </a:lnTo>
                  <a:lnTo>
                    <a:pt x="954886" y="1080991"/>
                  </a:lnTo>
                  <a:lnTo>
                    <a:pt x="1001697" y="1087834"/>
                  </a:lnTo>
                  <a:lnTo>
                    <a:pt x="1049101" y="1092770"/>
                  </a:lnTo>
                  <a:lnTo>
                    <a:pt x="1097058" y="1095761"/>
                  </a:lnTo>
                  <a:lnTo>
                    <a:pt x="1145527" y="1096767"/>
                  </a:lnTo>
                  <a:lnTo>
                    <a:pt x="1193996" y="1095761"/>
                  </a:lnTo>
                  <a:lnTo>
                    <a:pt x="1241952" y="1092770"/>
                  </a:lnTo>
                  <a:lnTo>
                    <a:pt x="1289356" y="1087834"/>
                  </a:lnTo>
                  <a:lnTo>
                    <a:pt x="1336168" y="1080991"/>
                  </a:lnTo>
                  <a:lnTo>
                    <a:pt x="1382347" y="1072283"/>
                  </a:lnTo>
                  <a:lnTo>
                    <a:pt x="1427854" y="1061748"/>
                  </a:lnTo>
                  <a:lnTo>
                    <a:pt x="1472650" y="1049428"/>
                  </a:lnTo>
                  <a:lnTo>
                    <a:pt x="1516694" y="1035361"/>
                  </a:lnTo>
                  <a:lnTo>
                    <a:pt x="1559947" y="1019587"/>
                  </a:lnTo>
                  <a:lnTo>
                    <a:pt x="1602368" y="1002146"/>
                  </a:lnTo>
                  <a:lnTo>
                    <a:pt x="1643919" y="983078"/>
                  </a:lnTo>
                  <a:lnTo>
                    <a:pt x="1684558" y="962423"/>
                  </a:lnTo>
                  <a:lnTo>
                    <a:pt x="1724248" y="940220"/>
                  </a:lnTo>
                  <a:lnTo>
                    <a:pt x="1762946" y="916510"/>
                  </a:lnTo>
                  <a:lnTo>
                    <a:pt x="1800615" y="891331"/>
                  </a:lnTo>
                  <a:lnTo>
                    <a:pt x="1837214" y="864725"/>
                  </a:lnTo>
                  <a:lnTo>
                    <a:pt x="1872703" y="836730"/>
                  </a:lnTo>
                  <a:lnTo>
                    <a:pt x="1907042" y="807387"/>
                  </a:lnTo>
                  <a:lnTo>
                    <a:pt x="1940193" y="776734"/>
                  </a:lnTo>
                  <a:lnTo>
                    <a:pt x="1972114" y="744813"/>
                  </a:lnTo>
                  <a:lnTo>
                    <a:pt x="2002766" y="711663"/>
                  </a:lnTo>
                  <a:lnTo>
                    <a:pt x="2032109" y="677324"/>
                  </a:lnTo>
                  <a:lnTo>
                    <a:pt x="2060104" y="641835"/>
                  </a:lnTo>
                  <a:lnTo>
                    <a:pt x="2086710" y="605236"/>
                  </a:lnTo>
                  <a:lnTo>
                    <a:pt x="2111889" y="567567"/>
                  </a:lnTo>
                  <a:lnTo>
                    <a:pt x="2135599" y="528868"/>
                  </a:lnTo>
                  <a:lnTo>
                    <a:pt x="2157802" y="489179"/>
                  </a:lnTo>
                  <a:lnTo>
                    <a:pt x="2178457" y="448540"/>
                  </a:lnTo>
                  <a:lnTo>
                    <a:pt x="2197525" y="406989"/>
                  </a:lnTo>
                  <a:lnTo>
                    <a:pt x="2214966" y="364568"/>
                  </a:lnTo>
                  <a:lnTo>
                    <a:pt x="2230740" y="321315"/>
                  </a:lnTo>
                  <a:lnTo>
                    <a:pt x="2244807" y="277271"/>
                  </a:lnTo>
                  <a:lnTo>
                    <a:pt x="2257128" y="232475"/>
                  </a:lnTo>
                  <a:lnTo>
                    <a:pt x="2267662" y="186968"/>
                  </a:lnTo>
                  <a:lnTo>
                    <a:pt x="2276370" y="140789"/>
                  </a:lnTo>
                  <a:lnTo>
                    <a:pt x="2283213" y="93977"/>
                  </a:lnTo>
                  <a:lnTo>
                    <a:pt x="2288149" y="46573"/>
                  </a:lnTo>
                  <a:lnTo>
                    <a:pt x="2291054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591B4FBF-72FE-5A76-77F5-9B370934F24C}"/>
                </a:ext>
              </a:extLst>
            </p:cNvPr>
            <p:cNvSpPr/>
            <p:nvPr/>
          </p:nvSpPr>
          <p:spPr>
            <a:xfrm>
              <a:off x="9031060" y="1"/>
              <a:ext cx="1214402" cy="285030"/>
            </a:xfrm>
            <a:custGeom>
              <a:avLst/>
              <a:gdLst/>
              <a:ahLst/>
              <a:cxnLst/>
              <a:rect l="l" t="t" r="r" b="b"/>
              <a:pathLst>
                <a:path w="1339215" h="314325">
                  <a:moveTo>
                    <a:pt x="1338888" y="0"/>
                  </a:moveTo>
                  <a:lnTo>
                    <a:pt x="0" y="0"/>
                  </a:lnTo>
                  <a:lnTo>
                    <a:pt x="22830" y="26611"/>
                  </a:lnTo>
                  <a:lnTo>
                    <a:pt x="53542" y="58927"/>
                  </a:lnTo>
                  <a:lnTo>
                    <a:pt x="85857" y="89639"/>
                  </a:lnTo>
                  <a:lnTo>
                    <a:pt x="119709" y="118680"/>
                  </a:lnTo>
                  <a:lnTo>
                    <a:pt x="155032" y="145986"/>
                  </a:lnTo>
                  <a:lnTo>
                    <a:pt x="191759" y="171489"/>
                  </a:lnTo>
                  <a:lnTo>
                    <a:pt x="229825" y="195122"/>
                  </a:lnTo>
                  <a:lnTo>
                    <a:pt x="269161" y="216820"/>
                  </a:lnTo>
                  <a:lnTo>
                    <a:pt x="309703" y="236516"/>
                  </a:lnTo>
                  <a:lnTo>
                    <a:pt x="351383" y="254144"/>
                  </a:lnTo>
                  <a:lnTo>
                    <a:pt x="394135" y="269636"/>
                  </a:lnTo>
                  <a:lnTo>
                    <a:pt x="437893" y="282928"/>
                  </a:lnTo>
                  <a:lnTo>
                    <a:pt x="482590" y="293951"/>
                  </a:lnTo>
                  <a:lnTo>
                    <a:pt x="528160" y="302641"/>
                  </a:lnTo>
                  <a:lnTo>
                    <a:pt x="574537" y="308930"/>
                  </a:lnTo>
                  <a:lnTo>
                    <a:pt x="621654" y="312752"/>
                  </a:lnTo>
                  <a:lnTo>
                    <a:pt x="669444" y="314041"/>
                  </a:lnTo>
                  <a:lnTo>
                    <a:pt x="717234" y="312752"/>
                  </a:lnTo>
                  <a:lnTo>
                    <a:pt x="764351" y="308930"/>
                  </a:lnTo>
                  <a:lnTo>
                    <a:pt x="810728" y="302641"/>
                  </a:lnTo>
                  <a:lnTo>
                    <a:pt x="856298" y="293951"/>
                  </a:lnTo>
                  <a:lnTo>
                    <a:pt x="900995" y="282928"/>
                  </a:lnTo>
                  <a:lnTo>
                    <a:pt x="944753" y="269636"/>
                  </a:lnTo>
                  <a:lnTo>
                    <a:pt x="987505" y="254144"/>
                  </a:lnTo>
                  <a:lnTo>
                    <a:pt x="1029185" y="236516"/>
                  </a:lnTo>
                  <a:lnTo>
                    <a:pt x="1069727" y="216820"/>
                  </a:lnTo>
                  <a:lnTo>
                    <a:pt x="1109063" y="195122"/>
                  </a:lnTo>
                  <a:lnTo>
                    <a:pt x="1147129" y="171489"/>
                  </a:lnTo>
                  <a:lnTo>
                    <a:pt x="1183856" y="145986"/>
                  </a:lnTo>
                  <a:lnTo>
                    <a:pt x="1219179" y="118680"/>
                  </a:lnTo>
                  <a:lnTo>
                    <a:pt x="1253031" y="89639"/>
                  </a:lnTo>
                  <a:lnTo>
                    <a:pt x="1285346" y="58927"/>
                  </a:lnTo>
                  <a:lnTo>
                    <a:pt x="1316058" y="26611"/>
                  </a:lnTo>
                  <a:lnTo>
                    <a:pt x="1338888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A151A684-DA1D-804F-5426-4B4A7A6B4C86}"/>
                </a:ext>
              </a:extLst>
            </p:cNvPr>
            <p:cNvSpPr/>
            <p:nvPr/>
          </p:nvSpPr>
          <p:spPr>
            <a:xfrm>
              <a:off x="9389760" y="472058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FFF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474373" y="2074718"/>
            <a:ext cx="4857818" cy="3466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6A941DA-EEFE-1DF4-35CF-14C8B0F4F254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-1635760" y="-683147"/>
            <a:ext cx="7573873" cy="721259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451163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- Whit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-4957"/>
            <a:ext cx="12197847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735724" y="6114954"/>
            <a:ext cx="4929352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D4B2F3-8059-DBA5-4D44-29894B41DAB0}"/>
              </a:ext>
            </a:extLst>
          </p:cNvPr>
          <p:cNvGrpSpPr/>
          <p:nvPr userDrawn="1"/>
        </p:nvGrpSpPr>
        <p:grpSpPr>
          <a:xfrm>
            <a:off x="9598" y="0"/>
            <a:ext cx="5429576" cy="1714213"/>
            <a:chOff x="9598" y="0"/>
            <a:chExt cx="5429576" cy="1714213"/>
          </a:xfrm>
        </p:grpSpPr>
        <p:sp>
          <p:nvSpPr>
            <p:cNvPr id="4" name="object 3">
              <a:extLst>
                <a:ext uri="{FF2B5EF4-FFF2-40B4-BE49-F238E27FC236}">
                  <a16:creationId xmlns:a16="http://schemas.microsoft.com/office/drawing/2014/main" id="{E252FAA9-4B96-7A6B-6755-5360E5145F52}"/>
                </a:ext>
              </a:extLst>
            </p:cNvPr>
            <p:cNvSpPr/>
            <p:nvPr/>
          </p:nvSpPr>
          <p:spPr>
            <a:xfrm>
              <a:off x="807663" y="1115370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4">
              <a:extLst>
                <a:ext uri="{FF2B5EF4-FFF2-40B4-BE49-F238E27FC236}">
                  <a16:creationId xmlns:a16="http://schemas.microsoft.com/office/drawing/2014/main" id="{56DD7027-7ED1-92CB-BE49-E54EC1CD9B2F}"/>
                </a:ext>
              </a:extLst>
            </p:cNvPr>
            <p:cNvSpPr/>
            <p:nvPr/>
          </p:nvSpPr>
          <p:spPr>
            <a:xfrm>
              <a:off x="1705395" y="393384"/>
              <a:ext cx="456048" cy="456048"/>
            </a:xfrm>
            <a:custGeom>
              <a:avLst/>
              <a:gdLst/>
              <a:ahLst/>
              <a:cxnLst/>
              <a:rect l="l" t="t" r="r" b="b"/>
              <a:pathLst>
                <a:path w="502919" h="502919">
                  <a:moveTo>
                    <a:pt x="251434" y="0"/>
                  </a:moveTo>
                  <a:lnTo>
                    <a:pt x="206239" y="4050"/>
                  </a:lnTo>
                  <a:lnTo>
                    <a:pt x="163701" y="15730"/>
                  </a:lnTo>
                  <a:lnTo>
                    <a:pt x="124531" y="34328"/>
                  </a:lnTo>
                  <a:lnTo>
                    <a:pt x="89439" y="59133"/>
                  </a:lnTo>
                  <a:lnTo>
                    <a:pt x="59134" y="89437"/>
                  </a:lnTo>
                  <a:lnTo>
                    <a:pt x="34328" y="124527"/>
                  </a:lnTo>
                  <a:lnTo>
                    <a:pt x="15730" y="163695"/>
                  </a:lnTo>
                  <a:lnTo>
                    <a:pt x="4051" y="206230"/>
                  </a:lnTo>
                  <a:lnTo>
                    <a:pt x="0" y="251421"/>
                  </a:lnTo>
                  <a:lnTo>
                    <a:pt x="4051" y="296617"/>
                  </a:lnTo>
                  <a:lnTo>
                    <a:pt x="15730" y="339154"/>
                  </a:lnTo>
                  <a:lnTo>
                    <a:pt x="34328" y="378325"/>
                  </a:lnTo>
                  <a:lnTo>
                    <a:pt x="59134" y="413417"/>
                  </a:lnTo>
                  <a:lnTo>
                    <a:pt x="89439" y="443721"/>
                  </a:lnTo>
                  <a:lnTo>
                    <a:pt x="124531" y="468527"/>
                  </a:lnTo>
                  <a:lnTo>
                    <a:pt x="163701" y="487125"/>
                  </a:lnTo>
                  <a:lnTo>
                    <a:pt x="206239" y="498805"/>
                  </a:lnTo>
                  <a:lnTo>
                    <a:pt x="251434" y="502856"/>
                  </a:lnTo>
                  <a:lnTo>
                    <a:pt x="296629" y="498805"/>
                  </a:lnTo>
                  <a:lnTo>
                    <a:pt x="339167" y="487125"/>
                  </a:lnTo>
                  <a:lnTo>
                    <a:pt x="378337" y="468527"/>
                  </a:lnTo>
                  <a:lnTo>
                    <a:pt x="413430" y="443721"/>
                  </a:lnTo>
                  <a:lnTo>
                    <a:pt x="443734" y="413417"/>
                  </a:lnTo>
                  <a:lnTo>
                    <a:pt x="468540" y="378325"/>
                  </a:lnTo>
                  <a:lnTo>
                    <a:pt x="487138" y="339154"/>
                  </a:lnTo>
                  <a:lnTo>
                    <a:pt x="498818" y="296617"/>
                  </a:lnTo>
                  <a:lnTo>
                    <a:pt x="502869" y="251421"/>
                  </a:lnTo>
                  <a:lnTo>
                    <a:pt x="498818" y="206230"/>
                  </a:lnTo>
                  <a:lnTo>
                    <a:pt x="487138" y="163695"/>
                  </a:lnTo>
                  <a:lnTo>
                    <a:pt x="468540" y="124527"/>
                  </a:lnTo>
                  <a:lnTo>
                    <a:pt x="443734" y="89437"/>
                  </a:lnTo>
                  <a:lnTo>
                    <a:pt x="413430" y="59133"/>
                  </a:lnTo>
                  <a:lnTo>
                    <a:pt x="378337" y="34328"/>
                  </a:lnTo>
                  <a:lnTo>
                    <a:pt x="339167" y="15730"/>
                  </a:lnTo>
                  <a:lnTo>
                    <a:pt x="296629" y="4050"/>
                  </a:lnTo>
                  <a:lnTo>
                    <a:pt x="251434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5">
              <a:extLst>
                <a:ext uri="{FF2B5EF4-FFF2-40B4-BE49-F238E27FC236}">
                  <a16:creationId xmlns:a16="http://schemas.microsoft.com/office/drawing/2014/main" id="{574E6B3C-9B13-98CF-F82C-2B284F58AF9D}"/>
                </a:ext>
              </a:extLst>
            </p:cNvPr>
            <p:cNvSpPr/>
            <p:nvPr/>
          </p:nvSpPr>
          <p:spPr>
            <a:xfrm>
              <a:off x="3359317" y="1"/>
              <a:ext cx="2079857" cy="1714212"/>
            </a:xfrm>
            <a:custGeom>
              <a:avLst/>
              <a:gdLst/>
              <a:ahLst/>
              <a:cxnLst/>
              <a:rect l="l" t="t" r="r" b="b"/>
              <a:pathLst>
                <a:path w="2293620" h="1890395">
                  <a:moveTo>
                    <a:pt x="2019352" y="0"/>
                  </a:moveTo>
                  <a:lnTo>
                    <a:pt x="273886" y="0"/>
                  </a:lnTo>
                  <a:lnTo>
                    <a:pt x="260037" y="16206"/>
                  </a:lnTo>
                  <a:lnTo>
                    <a:pt x="232042" y="51695"/>
                  </a:lnTo>
                  <a:lnTo>
                    <a:pt x="205436" y="88294"/>
                  </a:lnTo>
                  <a:lnTo>
                    <a:pt x="180257" y="125963"/>
                  </a:lnTo>
                  <a:lnTo>
                    <a:pt x="156547" y="164662"/>
                  </a:lnTo>
                  <a:lnTo>
                    <a:pt x="134344" y="204351"/>
                  </a:lnTo>
                  <a:lnTo>
                    <a:pt x="113689" y="244991"/>
                  </a:lnTo>
                  <a:lnTo>
                    <a:pt x="94621" y="286541"/>
                  </a:lnTo>
                  <a:lnTo>
                    <a:pt x="77180" y="328963"/>
                  </a:lnTo>
                  <a:lnTo>
                    <a:pt x="61406" y="372215"/>
                  </a:lnTo>
                  <a:lnTo>
                    <a:pt x="47339" y="416259"/>
                  </a:lnTo>
                  <a:lnTo>
                    <a:pt x="35018" y="461055"/>
                  </a:lnTo>
                  <a:lnTo>
                    <a:pt x="24484" y="506562"/>
                  </a:lnTo>
                  <a:lnTo>
                    <a:pt x="15776" y="552741"/>
                  </a:lnTo>
                  <a:lnTo>
                    <a:pt x="8933" y="599553"/>
                  </a:lnTo>
                  <a:lnTo>
                    <a:pt x="3997" y="646957"/>
                  </a:lnTo>
                  <a:lnTo>
                    <a:pt x="1005" y="694913"/>
                  </a:lnTo>
                  <a:lnTo>
                    <a:pt x="0" y="743382"/>
                  </a:lnTo>
                  <a:lnTo>
                    <a:pt x="1005" y="791852"/>
                  </a:lnTo>
                  <a:lnTo>
                    <a:pt x="3997" y="839808"/>
                  </a:lnTo>
                  <a:lnTo>
                    <a:pt x="8933" y="887212"/>
                  </a:lnTo>
                  <a:lnTo>
                    <a:pt x="15776" y="934023"/>
                  </a:lnTo>
                  <a:lnTo>
                    <a:pt x="24484" y="980203"/>
                  </a:lnTo>
                  <a:lnTo>
                    <a:pt x="35018" y="1025710"/>
                  </a:lnTo>
                  <a:lnTo>
                    <a:pt x="47339" y="1070505"/>
                  </a:lnTo>
                  <a:lnTo>
                    <a:pt x="61406" y="1114549"/>
                  </a:lnTo>
                  <a:lnTo>
                    <a:pt x="77180" y="1157802"/>
                  </a:lnTo>
                  <a:lnTo>
                    <a:pt x="94621" y="1200224"/>
                  </a:lnTo>
                  <a:lnTo>
                    <a:pt x="113689" y="1241774"/>
                  </a:lnTo>
                  <a:lnTo>
                    <a:pt x="134344" y="1282414"/>
                  </a:lnTo>
                  <a:lnTo>
                    <a:pt x="156547" y="1322103"/>
                  </a:lnTo>
                  <a:lnTo>
                    <a:pt x="180257" y="1360802"/>
                  </a:lnTo>
                  <a:lnTo>
                    <a:pt x="205436" y="1398471"/>
                  </a:lnTo>
                  <a:lnTo>
                    <a:pt x="232042" y="1435069"/>
                  </a:lnTo>
                  <a:lnTo>
                    <a:pt x="260037" y="1470558"/>
                  </a:lnTo>
                  <a:lnTo>
                    <a:pt x="289380" y="1504898"/>
                  </a:lnTo>
                  <a:lnTo>
                    <a:pt x="320032" y="1538048"/>
                  </a:lnTo>
                  <a:lnTo>
                    <a:pt x="351953" y="1569969"/>
                  </a:lnTo>
                  <a:lnTo>
                    <a:pt x="385103" y="1600621"/>
                  </a:lnTo>
                  <a:lnTo>
                    <a:pt x="419443" y="1629964"/>
                  </a:lnTo>
                  <a:lnTo>
                    <a:pt x="454932" y="1657959"/>
                  </a:lnTo>
                  <a:lnTo>
                    <a:pt x="491531" y="1684566"/>
                  </a:lnTo>
                  <a:lnTo>
                    <a:pt x="529199" y="1709744"/>
                  </a:lnTo>
                  <a:lnTo>
                    <a:pt x="567898" y="1733455"/>
                  </a:lnTo>
                  <a:lnTo>
                    <a:pt x="607588" y="1755657"/>
                  </a:lnTo>
                  <a:lnTo>
                    <a:pt x="648227" y="1776313"/>
                  </a:lnTo>
                  <a:lnTo>
                    <a:pt x="689778" y="1795380"/>
                  </a:lnTo>
                  <a:lnTo>
                    <a:pt x="732199" y="1812821"/>
                  </a:lnTo>
                  <a:lnTo>
                    <a:pt x="775452" y="1828595"/>
                  </a:lnTo>
                  <a:lnTo>
                    <a:pt x="819496" y="1842662"/>
                  </a:lnTo>
                  <a:lnTo>
                    <a:pt x="864291" y="1854983"/>
                  </a:lnTo>
                  <a:lnTo>
                    <a:pt x="909799" y="1865517"/>
                  </a:lnTo>
                  <a:lnTo>
                    <a:pt x="955978" y="1874226"/>
                  </a:lnTo>
                  <a:lnTo>
                    <a:pt x="1002790" y="1881068"/>
                  </a:lnTo>
                  <a:lnTo>
                    <a:pt x="1050193" y="1886005"/>
                  </a:lnTo>
                  <a:lnTo>
                    <a:pt x="1098150" y="1888996"/>
                  </a:lnTo>
                  <a:lnTo>
                    <a:pt x="1146619" y="1890002"/>
                  </a:lnTo>
                  <a:lnTo>
                    <a:pt x="1195088" y="1888996"/>
                  </a:lnTo>
                  <a:lnTo>
                    <a:pt x="1243045" y="1886005"/>
                  </a:lnTo>
                  <a:lnTo>
                    <a:pt x="1290448" y="1881068"/>
                  </a:lnTo>
                  <a:lnTo>
                    <a:pt x="1337260" y="1874226"/>
                  </a:lnTo>
                  <a:lnTo>
                    <a:pt x="1383439" y="1865517"/>
                  </a:lnTo>
                  <a:lnTo>
                    <a:pt x="1428947" y="1854983"/>
                  </a:lnTo>
                  <a:lnTo>
                    <a:pt x="1473742" y="1842662"/>
                  </a:lnTo>
                  <a:lnTo>
                    <a:pt x="1517786" y="1828595"/>
                  </a:lnTo>
                  <a:lnTo>
                    <a:pt x="1561039" y="1812821"/>
                  </a:lnTo>
                  <a:lnTo>
                    <a:pt x="1603460" y="1795380"/>
                  </a:lnTo>
                  <a:lnTo>
                    <a:pt x="1645011" y="1776313"/>
                  </a:lnTo>
                  <a:lnTo>
                    <a:pt x="1685650" y="1755657"/>
                  </a:lnTo>
                  <a:lnTo>
                    <a:pt x="1725340" y="1733455"/>
                  </a:lnTo>
                  <a:lnTo>
                    <a:pt x="1764039" y="1709744"/>
                  </a:lnTo>
                  <a:lnTo>
                    <a:pt x="1801707" y="1684566"/>
                  </a:lnTo>
                  <a:lnTo>
                    <a:pt x="1838306" y="1657959"/>
                  </a:lnTo>
                  <a:lnTo>
                    <a:pt x="1873795" y="1629964"/>
                  </a:lnTo>
                  <a:lnTo>
                    <a:pt x="1908135" y="1600621"/>
                  </a:lnTo>
                  <a:lnTo>
                    <a:pt x="1941285" y="1569969"/>
                  </a:lnTo>
                  <a:lnTo>
                    <a:pt x="1973206" y="1538048"/>
                  </a:lnTo>
                  <a:lnTo>
                    <a:pt x="2003858" y="1504898"/>
                  </a:lnTo>
                  <a:lnTo>
                    <a:pt x="2033201" y="1470558"/>
                  </a:lnTo>
                  <a:lnTo>
                    <a:pt x="2061196" y="1435069"/>
                  </a:lnTo>
                  <a:lnTo>
                    <a:pt x="2087802" y="1398471"/>
                  </a:lnTo>
                  <a:lnTo>
                    <a:pt x="2112981" y="1360802"/>
                  </a:lnTo>
                  <a:lnTo>
                    <a:pt x="2136691" y="1322103"/>
                  </a:lnTo>
                  <a:lnTo>
                    <a:pt x="2158894" y="1282414"/>
                  </a:lnTo>
                  <a:lnTo>
                    <a:pt x="2179549" y="1241774"/>
                  </a:lnTo>
                  <a:lnTo>
                    <a:pt x="2198617" y="1200224"/>
                  </a:lnTo>
                  <a:lnTo>
                    <a:pt x="2216058" y="1157802"/>
                  </a:lnTo>
                  <a:lnTo>
                    <a:pt x="2231832" y="1114549"/>
                  </a:lnTo>
                  <a:lnTo>
                    <a:pt x="2245899" y="1070505"/>
                  </a:lnTo>
                  <a:lnTo>
                    <a:pt x="2258220" y="1025710"/>
                  </a:lnTo>
                  <a:lnTo>
                    <a:pt x="2268754" y="980203"/>
                  </a:lnTo>
                  <a:lnTo>
                    <a:pt x="2277462" y="934023"/>
                  </a:lnTo>
                  <a:lnTo>
                    <a:pt x="2284305" y="887212"/>
                  </a:lnTo>
                  <a:lnTo>
                    <a:pt x="2289241" y="839808"/>
                  </a:lnTo>
                  <a:lnTo>
                    <a:pt x="2292233" y="791852"/>
                  </a:lnTo>
                  <a:lnTo>
                    <a:pt x="2293238" y="743382"/>
                  </a:lnTo>
                  <a:lnTo>
                    <a:pt x="2292233" y="694913"/>
                  </a:lnTo>
                  <a:lnTo>
                    <a:pt x="2289241" y="646957"/>
                  </a:lnTo>
                  <a:lnTo>
                    <a:pt x="2284305" y="599553"/>
                  </a:lnTo>
                  <a:lnTo>
                    <a:pt x="2277462" y="552741"/>
                  </a:lnTo>
                  <a:lnTo>
                    <a:pt x="2268754" y="506562"/>
                  </a:lnTo>
                  <a:lnTo>
                    <a:pt x="2258220" y="461055"/>
                  </a:lnTo>
                  <a:lnTo>
                    <a:pt x="2245899" y="416259"/>
                  </a:lnTo>
                  <a:lnTo>
                    <a:pt x="2231832" y="372215"/>
                  </a:lnTo>
                  <a:lnTo>
                    <a:pt x="2216058" y="328963"/>
                  </a:lnTo>
                  <a:lnTo>
                    <a:pt x="2198617" y="286541"/>
                  </a:lnTo>
                  <a:lnTo>
                    <a:pt x="2179549" y="244991"/>
                  </a:lnTo>
                  <a:lnTo>
                    <a:pt x="2158894" y="204351"/>
                  </a:lnTo>
                  <a:lnTo>
                    <a:pt x="2136691" y="164662"/>
                  </a:lnTo>
                  <a:lnTo>
                    <a:pt x="2112981" y="125963"/>
                  </a:lnTo>
                  <a:lnTo>
                    <a:pt x="2087802" y="88294"/>
                  </a:lnTo>
                  <a:lnTo>
                    <a:pt x="2061196" y="51695"/>
                  </a:lnTo>
                  <a:lnTo>
                    <a:pt x="2033201" y="16206"/>
                  </a:lnTo>
                  <a:lnTo>
                    <a:pt x="201935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>
              <a:extLst>
                <a:ext uri="{FF2B5EF4-FFF2-40B4-BE49-F238E27FC236}">
                  <a16:creationId xmlns:a16="http://schemas.microsoft.com/office/drawing/2014/main" id="{E9FF9299-C740-B26B-8D45-170AAA2348AC}"/>
                </a:ext>
              </a:extLst>
            </p:cNvPr>
            <p:cNvSpPr/>
            <p:nvPr/>
          </p:nvSpPr>
          <p:spPr>
            <a:xfrm>
              <a:off x="9598" y="0"/>
              <a:ext cx="1638204" cy="1011138"/>
            </a:xfrm>
            <a:custGeom>
              <a:avLst/>
              <a:gdLst/>
              <a:ahLst/>
              <a:cxnLst/>
              <a:rect l="l" t="t" r="r" b="b"/>
              <a:pathLst>
                <a:path w="1806575" h="1115060">
                  <a:moveTo>
                    <a:pt x="1806575" y="0"/>
                  </a:moveTo>
                  <a:lnTo>
                    <a:pt x="0" y="0"/>
                  </a:lnTo>
                  <a:lnTo>
                    <a:pt x="0" y="905315"/>
                  </a:lnTo>
                  <a:lnTo>
                    <a:pt x="43197" y="934512"/>
                  </a:lnTo>
                  <a:lnTo>
                    <a:pt x="81896" y="958223"/>
                  </a:lnTo>
                  <a:lnTo>
                    <a:pt x="121585" y="980426"/>
                  </a:lnTo>
                  <a:lnTo>
                    <a:pt x="162225" y="1001081"/>
                  </a:lnTo>
                  <a:lnTo>
                    <a:pt x="203776" y="1020149"/>
                  </a:lnTo>
                  <a:lnTo>
                    <a:pt x="246197" y="1037590"/>
                  </a:lnTo>
                  <a:lnTo>
                    <a:pt x="289450" y="1053363"/>
                  </a:lnTo>
                  <a:lnTo>
                    <a:pt x="333494" y="1067431"/>
                  </a:lnTo>
                  <a:lnTo>
                    <a:pt x="378289" y="1079751"/>
                  </a:lnTo>
                  <a:lnTo>
                    <a:pt x="423796" y="1090286"/>
                  </a:lnTo>
                  <a:lnTo>
                    <a:pt x="469976" y="1098994"/>
                  </a:lnTo>
                  <a:lnTo>
                    <a:pt x="516787" y="1105836"/>
                  </a:lnTo>
                  <a:lnTo>
                    <a:pt x="564191" y="1110773"/>
                  </a:lnTo>
                  <a:lnTo>
                    <a:pt x="612147" y="1113764"/>
                  </a:lnTo>
                  <a:lnTo>
                    <a:pt x="660617" y="1114770"/>
                  </a:lnTo>
                  <a:lnTo>
                    <a:pt x="709086" y="1113764"/>
                  </a:lnTo>
                  <a:lnTo>
                    <a:pt x="757042" y="1110773"/>
                  </a:lnTo>
                  <a:lnTo>
                    <a:pt x="804446" y="1105836"/>
                  </a:lnTo>
                  <a:lnTo>
                    <a:pt x="851258" y="1098994"/>
                  </a:lnTo>
                  <a:lnTo>
                    <a:pt x="897437" y="1090286"/>
                  </a:lnTo>
                  <a:lnTo>
                    <a:pt x="942944" y="1079751"/>
                  </a:lnTo>
                  <a:lnTo>
                    <a:pt x="987740" y="1067431"/>
                  </a:lnTo>
                  <a:lnTo>
                    <a:pt x="1031784" y="1053363"/>
                  </a:lnTo>
                  <a:lnTo>
                    <a:pt x="1075036" y="1037590"/>
                  </a:lnTo>
                  <a:lnTo>
                    <a:pt x="1117458" y="1020149"/>
                  </a:lnTo>
                  <a:lnTo>
                    <a:pt x="1159008" y="1001081"/>
                  </a:lnTo>
                  <a:lnTo>
                    <a:pt x="1199648" y="980426"/>
                  </a:lnTo>
                  <a:lnTo>
                    <a:pt x="1239337" y="958223"/>
                  </a:lnTo>
                  <a:lnTo>
                    <a:pt x="1278036" y="934512"/>
                  </a:lnTo>
                  <a:lnTo>
                    <a:pt x="1315705" y="909334"/>
                  </a:lnTo>
                  <a:lnTo>
                    <a:pt x="1352304" y="882728"/>
                  </a:lnTo>
                  <a:lnTo>
                    <a:pt x="1387793" y="854733"/>
                  </a:lnTo>
                  <a:lnTo>
                    <a:pt x="1422132" y="825389"/>
                  </a:lnTo>
                  <a:lnTo>
                    <a:pt x="1455282" y="794737"/>
                  </a:lnTo>
                  <a:lnTo>
                    <a:pt x="1487203" y="762816"/>
                  </a:lnTo>
                  <a:lnTo>
                    <a:pt x="1517855" y="729666"/>
                  </a:lnTo>
                  <a:lnTo>
                    <a:pt x="1547199" y="695327"/>
                  </a:lnTo>
                  <a:lnTo>
                    <a:pt x="1575194" y="659838"/>
                  </a:lnTo>
                  <a:lnTo>
                    <a:pt x="1601800" y="623239"/>
                  </a:lnTo>
                  <a:lnTo>
                    <a:pt x="1626978" y="585570"/>
                  </a:lnTo>
                  <a:lnTo>
                    <a:pt x="1650689" y="546871"/>
                  </a:lnTo>
                  <a:lnTo>
                    <a:pt x="1672892" y="507182"/>
                  </a:lnTo>
                  <a:lnTo>
                    <a:pt x="1693547" y="466542"/>
                  </a:lnTo>
                  <a:lnTo>
                    <a:pt x="1712615" y="424992"/>
                  </a:lnTo>
                  <a:lnTo>
                    <a:pt x="1730056" y="382570"/>
                  </a:lnTo>
                  <a:lnTo>
                    <a:pt x="1745829" y="339318"/>
                  </a:lnTo>
                  <a:lnTo>
                    <a:pt x="1759897" y="295274"/>
                  </a:lnTo>
                  <a:lnTo>
                    <a:pt x="1772217" y="250478"/>
                  </a:lnTo>
                  <a:lnTo>
                    <a:pt x="1782752" y="204971"/>
                  </a:lnTo>
                  <a:lnTo>
                    <a:pt x="1791460" y="158792"/>
                  </a:lnTo>
                  <a:lnTo>
                    <a:pt x="1798302" y="111980"/>
                  </a:lnTo>
                  <a:lnTo>
                    <a:pt x="1803239" y="64576"/>
                  </a:lnTo>
                  <a:lnTo>
                    <a:pt x="1806230" y="16620"/>
                  </a:lnTo>
                  <a:lnTo>
                    <a:pt x="1806575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7">
              <a:extLst>
                <a:ext uri="{FF2B5EF4-FFF2-40B4-BE49-F238E27FC236}">
                  <a16:creationId xmlns:a16="http://schemas.microsoft.com/office/drawing/2014/main" id="{2B962E37-FE51-2FC3-86B1-3D569395D98C}"/>
                </a:ext>
              </a:extLst>
            </p:cNvPr>
            <p:cNvSpPr/>
            <p:nvPr/>
          </p:nvSpPr>
          <p:spPr>
            <a:xfrm>
              <a:off x="1974763" y="1"/>
              <a:ext cx="1240889" cy="301153"/>
            </a:xfrm>
            <a:custGeom>
              <a:avLst/>
              <a:gdLst/>
              <a:ahLst/>
              <a:cxnLst/>
              <a:rect l="l" t="t" r="r" b="b"/>
              <a:pathLst>
                <a:path w="1368425" h="332105">
                  <a:moveTo>
                    <a:pt x="1367940" y="0"/>
                  </a:moveTo>
                  <a:lnTo>
                    <a:pt x="0" y="0"/>
                  </a:lnTo>
                  <a:lnTo>
                    <a:pt x="8314" y="10755"/>
                  </a:lnTo>
                  <a:lnTo>
                    <a:pt x="37356" y="44607"/>
                  </a:lnTo>
                  <a:lnTo>
                    <a:pt x="68067" y="76923"/>
                  </a:lnTo>
                  <a:lnTo>
                    <a:pt x="100383" y="107634"/>
                  </a:lnTo>
                  <a:lnTo>
                    <a:pt x="134235" y="136676"/>
                  </a:lnTo>
                  <a:lnTo>
                    <a:pt x="169558" y="163982"/>
                  </a:lnTo>
                  <a:lnTo>
                    <a:pt x="206285" y="189484"/>
                  </a:lnTo>
                  <a:lnTo>
                    <a:pt x="244350" y="213118"/>
                  </a:lnTo>
                  <a:lnTo>
                    <a:pt x="283687" y="234816"/>
                  </a:lnTo>
                  <a:lnTo>
                    <a:pt x="324228" y="254512"/>
                  </a:lnTo>
                  <a:lnTo>
                    <a:pt x="365908" y="272139"/>
                  </a:lnTo>
                  <a:lnTo>
                    <a:pt x="408661" y="287632"/>
                  </a:lnTo>
                  <a:lnTo>
                    <a:pt x="452418" y="300924"/>
                  </a:lnTo>
                  <a:lnTo>
                    <a:pt x="497116" y="311947"/>
                  </a:lnTo>
                  <a:lnTo>
                    <a:pt x="542686" y="320637"/>
                  </a:lnTo>
                  <a:lnTo>
                    <a:pt x="589063" y="326926"/>
                  </a:lnTo>
                  <a:lnTo>
                    <a:pt x="636179" y="330748"/>
                  </a:lnTo>
                  <a:lnTo>
                    <a:pt x="683970" y="332037"/>
                  </a:lnTo>
                  <a:lnTo>
                    <a:pt x="731760" y="330748"/>
                  </a:lnTo>
                  <a:lnTo>
                    <a:pt x="778877" y="326926"/>
                  </a:lnTo>
                  <a:lnTo>
                    <a:pt x="825253" y="320637"/>
                  </a:lnTo>
                  <a:lnTo>
                    <a:pt x="870824" y="311947"/>
                  </a:lnTo>
                  <a:lnTo>
                    <a:pt x="915521" y="300924"/>
                  </a:lnTo>
                  <a:lnTo>
                    <a:pt x="959279" y="287632"/>
                  </a:lnTo>
                  <a:lnTo>
                    <a:pt x="1002031" y="272139"/>
                  </a:lnTo>
                  <a:lnTo>
                    <a:pt x="1043711" y="254512"/>
                  </a:lnTo>
                  <a:lnTo>
                    <a:pt x="1084253" y="234816"/>
                  </a:lnTo>
                  <a:lnTo>
                    <a:pt x="1123589" y="213118"/>
                  </a:lnTo>
                  <a:lnTo>
                    <a:pt x="1161654" y="189484"/>
                  </a:lnTo>
                  <a:lnTo>
                    <a:pt x="1198381" y="163982"/>
                  </a:lnTo>
                  <a:lnTo>
                    <a:pt x="1233704" y="136676"/>
                  </a:lnTo>
                  <a:lnTo>
                    <a:pt x="1267557" y="107634"/>
                  </a:lnTo>
                  <a:lnTo>
                    <a:pt x="1299872" y="76923"/>
                  </a:lnTo>
                  <a:lnTo>
                    <a:pt x="1330584" y="44607"/>
                  </a:lnTo>
                  <a:lnTo>
                    <a:pt x="1359626" y="10755"/>
                  </a:lnTo>
                  <a:lnTo>
                    <a:pt x="1367940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8">
              <a:extLst>
                <a:ext uri="{FF2B5EF4-FFF2-40B4-BE49-F238E27FC236}">
                  <a16:creationId xmlns:a16="http://schemas.microsoft.com/office/drawing/2014/main" id="{9B2A4857-919E-A8C5-E6FC-67973FDB4AF1}"/>
                </a:ext>
              </a:extLst>
            </p:cNvPr>
            <p:cNvSpPr/>
            <p:nvPr/>
          </p:nvSpPr>
          <p:spPr>
            <a:xfrm>
              <a:off x="2346635" y="488381"/>
              <a:ext cx="726683" cy="726683"/>
            </a:xfrm>
            <a:custGeom>
              <a:avLst/>
              <a:gdLst/>
              <a:ahLst/>
              <a:cxnLst/>
              <a:rect l="l" t="t" r="r" b="b"/>
              <a:pathLst>
                <a:path w="801370" h="801369">
                  <a:moveTo>
                    <a:pt x="400672" y="0"/>
                  </a:moveTo>
                  <a:lnTo>
                    <a:pt x="353945" y="2695"/>
                  </a:lnTo>
                  <a:lnTo>
                    <a:pt x="308801" y="10582"/>
                  </a:lnTo>
                  <a:lnTo>
                    <a:pt x="265542" y="23358"/>
                  </a:lnTo>
                  <a:lnTo>
                    <a:pt x="224466" y="40724"/>
                  </a:lnTo>
                  <a:lnTo>
                    <a:pt x="185876" y="62379"/>
                  </a:lnTo>
                  <a:lnTo>
                    <a:pt x="150072" y="88023"/>
                  </a:lnTo>
                  <a:lnTo>
                    <a:pt x="117354" y="117354"/>
                  </a:lnTo>
                  <a:lnTo>
                    <a:pt x="88023" y="150072"/>
                  </a:lnTo>
                  <a:lnTo>
                    <a:pt x="62379" y="185876"/>
                  </a:lnTo>
                  <a:lnTo>
                    <a:pt x="40724" y="224466"/>
                  </a:lnTo>
                  <a:lnTo>
                    <a:pt x="23358" y="265542"/>
                  </a:lnTo>
                  <a:lnTo>
                    <a:pt x="10582" y="308801"/>
                  </a:lnTo>
                  <a:lnTo>
                    <a:pt x="2695" y="353945"/>
                  </a:lnTo>
                  <a:lnTo>
                    <a:pt x="0" y="400672"/>
                  </a:lnTo>
                  <a:lnTo>
                    <a:pt x="2695" y="447396"/>
                  </a:lnTo>
                  <a:lnTo>
                    <a:pt x="10582" y="492537"/>
                  </a:lnTo>
                  <a:lnTo>
                    <a:pt x="23358" y="535795"/>
                  </a:lnTo>
                  <a:lnTo>
                    <a:pt x="40724" y="576869"/>
                  </a:lnTo>
                  <a:lnTo>
                    <a:pt x="62379" y="615458"/>
                  </a:lnTo>
                  <a:lnTo>
                    <a:pt x="88023" y="651261"/>
                  </a:lnTo>
                  <a:lnTo>
                    <a:pt x="117354" y="683979"/>
                  </a:lnTo>
                  <a:lnTo>
                    <a:pt x="150072" y="713309"/>
                  </a:lnTo>
                  <a:lnTo>
                    <a:pt x="185876" y="738952"/>
                  </a:lnTo>
                  <a:lnTo>
                    <a:pt x="224466" y="760607"/>
                  </a:lnTo>
                  <a:lnTo>
                    <a:pt x="265542" y="777973"/>
                  </a:lnTo>
                  <a:lnTo>
                    <a:pt x="308801" y="790749"/>
                  </a:lnTo>
                  <a:lnTo>
                    <a:pt x="353945" y="798636"/>
                  </a:lnTo>
                  <a:lnTo>
                    <a:pt x="400672" y="801331"/>
                  </a:lnTo>
                  <a:lnTo>
                    <a:pt x="447399" y="798636"/>
                  </a:lnTo>
                  <a:lnTo>
                    <a:pt x="492542" y="790749"/>
                  </a:lnTo>
                  <a:lnTo>
                    <a:pt x="535802" y="777973"/>
                  </a:lnTo>
                  <a:lnTo>
                    <a:pt x="576877" y="760607"/>
                  </a:lnTo>
                  <a:lnTo>
                    <a:pt x="615467" y="738952"/>
                  </a:lnTo>
                  <a:lnTo>
                    <a:pt x="651272" y="713309"/>
                  </a:lnTo>
                  <a:lnTo>
                    <a:pt x="683990" y="683979"/>
                  </a:lnTo>
                  <a:lnTo>
                    <a:pt x="713321" y="651261"/>
                  </a:lnTo>
                  <a:lnTo>
                    <a:pt x="738964" y="615458"/>
                  </a:lnTo>
                  <a:lnTo>
                    <a:pt x="760619" y="576869"/>
                  </a:lnTo>
                  <a:lnTo>
                    <a:pt x="777985" y="535795"/>
                  </a:lnTo>
                  <a:lnTo>
                    <a:pt x="790762" y="492537"/>
                  </a:lnTo>
                  <a:lnTo>
                    <a:pt x="798648" y="447396"/>
                  </a:lnTo>
                  <a:lnTo>
                    <a:pt x="801344" y="400672"/>
                  </a:lnTo>
                  <a:lnTo>
                    <a:pt x="798648" y="353945"/>
                  </a:lnTo>
                  <a:lnTo>
                    <a:pt x="790762" y="308801"/>
                  </a:lnTo>
                  <a:lnTo>
                    <a:pt x="777985" y="265542"/>
                  </a:lnTo>
                  <a:lnTo>
                    <a:pt x="760619" y="224466"/>
                  </a:lnTo>
                  <a:lnTo>
                    <a:pt x="738964" y="185876"/>
                  </a:lnTo>
                  <a:lnTo>
                    <a:pt x="713321" y="150072"/>
                  </a:lnTo>
                  <a:lnTo>
                    <a:pt x="683990" y="117354"/>
                  </a:lnTo>
                  <a:lnTo>
                    <a:pt x="651272" y="88023"/>
                  </a:lnTo>
                  <a:lnTo>
                    <a:pt x="615467" y="62379"/>
                  </a:lnTo>
                  <a:lnTo>
                    <a:pt x="576877" y="40724"/>
                  </a:lnTo>
                  <a:lnTo>
                    <a:pt x="535802" y="23358"/>
                  </a:lnTo>
                  <a:lnTo>
                    <a:pt x="492542" y="10582"/>
                  </a:lnTo>
                  <a:lnTo>
                    <a:pt x="447399" y="2695"/>
                  </a:lnTo>
                  <a:lnTo>
                    <a:pt x="400672" y="0"/>
                  </a:lnTo>
                  <a:close/>
                </a:path>
              </a:pathLst>
            </a:custGeom>
            <a:solidFill>
              <a:srgbClr val="00A79D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735724" y="1849816"/>
            <a:ext cx="4351283" cy="33643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BE02B544-A40A-C2C8-B48C-6F244BD0DFB6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284881" y="-715900"/>
            <a:ext cx="7293907" cy="71959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636480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Slid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7">
            <a:extLst>
              <a:ext uri="{FF2B5EF4-FFF2-40B4-BE49-F238E27FC236}">
                <a16:creationId xmlns:a16="http://schemas.microsoft.com/office/drawing/2014/main" id="{C5CC3C5B-20F5-EDF1-6350-FE204957F054}"/>
              </a:ext>
            </a:extLst>
          </p:cNvPr>
          <p:cNvSpPr/>
          <p:nvPr/>
        </p:nvSpPr>
        <p:spPr>
          <a:xfrm>
            <a:off x="15163" y="2303"/>
            <a:ext cx="12271379" cy="6908925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226669" y="6831254"/>
                </a:moveTo>
                <a:lnTo>
                  <a:pt x="223977" y="6784530"/>
                </a:lnTo>
                <a:lnTo>
                  <a:pt x="216090" y="6739382"/>
                </a:lnTo>
                <a:lnTo>
                  <a:pt x="203314" y="6696126"/>
                </a:lnTo>
                <a:lnTo>
                  <a:pt x="185940" y="6655054"/>
                </a:lnTo>
                <a:lnTo>
                  <a:pt x="164287" y="6616459"/>
                </a:lnTo>
                <a:lnTo>
                  <a:pt x="138645" y="6580657"/>
                </a:lnTo>
                <a:lnTo>
                  <a:pt x="109308" y="6547929"/>
                </a:lnTo>
                <a:lnTo>
                  <a:pt x="76593" y="6518605"/>
                </a:lnTo>
                <a:lnTo>
                  <a:pt x="40792" y="6492964"/>
                </a:lnTo>
                <a:lnTo>
                  <a:pt x="2197" y="6471310"/>
                </a:lnTo>
                <a:lnTo>
                  <a:pt x="0" y="6470370"/>
                </a:lnTo>
                <a:lnTo>
                  <a:pt x="0" y="7192124"/>
                </a:lnTo>
                <a:lnTo>
                  <a:pt x="40792" y="7169531"/>
                </a:lnTo>
                <a:lnTo>
                  <a:pt x="76593" y="7143890"/>
                </a:lnTo>
                <a:lnTo>
                  <a:pt x="109308" y="7114565"/>
                </a:lnTo>
                <a:lnTo>
                  <a:pt x="138645" y="7081837"/>
                </a:lnTo>
                <a:lnTo>
                  <a:pt x="164287" y="7046036"/>
                </a:lnTo>
                <a:lnTo>
                  <a:pt x="185940" y="7007453"/>
                </a:lnTo>
                <a:lnTo>
                  <a:pt x="203314" y="6966382"/>
                </a:lnTo>
                <a:lnTo>
                  <a:pt x="216090" y="6923125"/>
                </a:lnTo>
                <a:lnTo>
                  <a:pt x="223977" y="6877977"/>
                </a:lnTo>
                <a:lnTo>
                  <a:pt x="226669" y="6831254"/>
                </a:lnTo>
                <a:close/>
              </a:path>
              <a:path w="13428344" h="7560309">
                <a:moveTo>
                  <a:pt x="570217" y="5353024"/>
                </a:moveTo>
                <a:lnTo>
                  <a:pt x="568934" y="5305234"/>
                </a:lnTo>
                <a:lnTo>
                  <a:pt x="565111" y="5258117"/>
                </a:lnTo>
                <a:lnTo>
                  <a:pt x="558812" y="5211737"/>
                </a:lnTo>
                <a:lnTo>
                  <a:pt x="550125" y="5166169"/>
                </a:lnTo>
                <a:lnTo>
                  <a:pt x="539102" y="5121478"/>
                </a:lnTo>
                <a:lnTo>
                  <a:pt x="525818" y="5077714"/>
                </a:lnTo>
                <a:lnTo>
                  <a:pt x="510324" y="5034966"/>
                </a:lnTo>
                <a:lnTo>
                  <a:pt x="492696" y="4993284"/>
                </a:lnTo>
                <a:lnTo>
                  <a:pt x="472998" y="4952746"/>
                </a:lnTo>
                <a:lnTo>
                  <a:pt x="451294" y="4913401"/>
                </a:lnTo>
                <a:lnTo>
                  <a:pt x="427659" y="4875339"/>
                </a:lnTo>
                <a:lnTo>
                  <a:pt x="402158" y="4838611"/>
                </a:lnTo>
                <a:lnTo>
                  <a:pt x="374853" y="4803292"/>
                </a:lnTo>
                <a:lnTo>
                  <a:pt x="345821" y="4769434"/>
                </a:lnTo>
                <a:lnTo>
                  <a:pt x="315099" y="4737125"/>
                </a:lnTo>
                <a:lnTo>
                  <a:pt x="282790" y="4706417"/>
                </a:lnTo>
                <a:lnTo>
                  <a:pt x="248932" y="4677372"/>
                </a:lnTo>
                <a:lnTo>
                  <a:pt x="213614" y="4650067"/>
                </a:lnTo>
                <a:lnTo>
                  <a:pt x="176885" y="4624565"/>
                </a:lnTo>
                <a:lnTo>
                  <a:pt x="138823" y="4600930"/>
                </a:lnTo>
                <a:lnTo>
                  <a:pt x="99479" y="4579226"/>
                </a:lnTo>
                <a:lnTo>
                  <a:pt x="58940" y="4559541"/>
                </a:lnTo>
                <a:lnTo>
                  <a:pt x="17259" y="4541913"/>
                </a:lnTo>
                <a:lnTo>
                  <a:pt x="0" y="4535652"/>
                </a:lnTo>
                <a:lnTo>
                  <a:pt x="0" y="6170409"/>
                </a:lnTo>
                <a:lnTo>
                  <a:pt x="58940" y="6146520"/>
                </a:lnTo>
                <a:lnTo>
                  <a:pt x="99479" y="6126823"/>
                </a:lnTo>
                <a:lnTo>
                  <a:pt x="138823" y="6105118"/>
                </a:lnTo>
                <a:lnTo>
                  <a:pt x="176885" y="6081496"/>
                </a:lnTo>
                <a:lnTo>
                  <a:pt x="213614" y="6055982"/>
                </a:lnTo>
                <a:lnTo>
                  <a:pt x="248932" y="6028677"/>
                </a:lnTo>
                <a:lnTo>
                  <a:pt x="282790" y="5999645"/>
                </a:lnTo>
                <a:lnTo>
                  <a:pt x="315099" y="5968924"/>
                </a:lnTo>
                <a:lnTo>
                  <a:pt x="345821" y="5936615"/>
                </a:lnTo>
                <a:lnTo>
                  <a:pt x="374853" y="5902757"/>
                </a:lnTo>
                <a:lnTo>
                  <a:pt x="402158" y="5867438"/>
                </a:lnTo>
                <a:lnTo>
                  <a:pt x="427659" y="5830709"/>
                </a:lnTo>
                <a:lnTo>
                  <a:pt x="451294" y="5792648"/>
                </a:lnTo>
                <a:lnTo>
                  <a:pt x="472998" y="5753316"/>
                </a:lnTo>
                <a:lnTo>
                  <a:pt x="492696" y="5712765"/>
                </a:lnTo>
                <a:lnTo>
                  <a:pt x="510324" y="5671083"/>
                </a:lnTo>
                <a:lnTo>
                  <a:pt x="525818" y="5628335"/>
                </a:lnTo>
                <a:lnTo>
                  <a:pt x="539102" y="5584583"/>
                </a:lnTo>
                <a:lnTo>
                  <a:pt x="550125" y="5539879"/>
                </a:lnTo>
                <a:lnTo>
                  <a:pt x="558812" y="5494312"/>
                </a:lnTo>
                <a:lnTo>
                  <a:pt x="565111" y="5447931"/>
                </a:lnTo>
                <a:lnTo>
                  <a:pt x="568934" y="5400814"/>
                </a:lnTo>
                <a:lnTo>
                  <a:pt x="570217" y="5353024"/>
                </a:lnTo>
                <a:close/>
              </a:path>
              <a:path w="13428344" h="7560309">
                <a:moveTo>
                  <a:pt x="2835325" y="6635394"/>
                </a:moveTo>
                <a:lnTo>
                  <a:pt x="2834322" y="6586918"/>
                </a:lnTo>
                <a:lnTo>
                  <a:pt x="2831325" y="6538963"/>
                </a:lnTo>
                <a:lnTo>
                  <a:pt x="2826397" y="6491567"/>
                </a:lnTo>
                <a:lnTo>
                  <a:pt x="2819552" y="6444755"/>
                </a:lnTo>
                <a:lnTo>
                  <a:pt x="2810840" y="6398565"/>
                </a:lnTo>
                <a:lnTo>
                  <a:pt x="2800312" y="6353061"/>
                </a:lnTo>
                <a:lnTo>
                  <a:pt x="2787980" y="6308268"/>
                </a:lnTo>
                <a:lnTo>
                  <a:pt x="2773921" y="6264224"/>
                </a:lnTo>
                <a:lnTo>
                  <a:pt x="2758148" y="6220968"/>
                </a:lnTo>
                <a:lnTo>
                  <a:pt x="2740698" y="6178550"/>
                </a:lnTo>
                <a:lnTo>
                  <a:pt x="2721635" y="6136995"/>
                </a:lnTo>
                <a:lnTo>
                  <a:pt x="2700985" y="6096355"/>
                </a:lnTo>
                <a:lnTo>
                  <a:pt x="2678773" y="6056668"/>
                </a:lnTo>
                <a:lnTo>
                  <a:pt x="2655062" y="6017971"/>
                </a:lnTo>
                <a:lnTo>
                  <a:pt x="2629890" y="5980303"/>
                </a:lnTo>
                <a:lnTo>
                  <a:pt x="2603284" y="5943701"/>
                </a:lnTo>
                <a:lnTo>
                  <a:pt x="2575293" y="5908218"/>
                </a:lnTo>
                <a:lnTo>
                  <a:pt x="2545943" y="5873877"/>
                </a:lnTo>
                <a:lnTo>
                  <a:pt x="2515298" y="5840730"/>
                </a:lnTo>
                <a:lnTo>
                  <a:pt x="2483370" y="5808802"/>
                </a:lnTo>
                <a:lnTo>
                  <a:pt x="2450223" y="5778157"/>
                </a:lnTo>
                <a:lnTo>
                  <a:pt x="2415883" y="5748807"/>
                </a:lnTo>
                <a:lnTo>
                  <a:pt x="2380399" y="5720816"/>
                </a:lnTo>
                <a:lnTo>
                  <a:pt x="2343797" y="5694210"/>
                </a:lnTo>
                <a:lnTo>
                  <a:pt x="2306129" y="5669026"/>
                </a:lnTo>
                <a:lnTo>
                  <a:pt x="2267432" y="5645315"/>
                </a:lnTo>
                <a:lnTo>
                  <a:pt x="2227732" y="5623115"/>
                </a:lnTo>
                <a:lnTo>
                  <a:pt x="2187092" y="5602465"/>
                </a:lnTo>
                <a:lnTo>
                  <a:pt x="2145550" y="5583390"/>
                </a:lnTo>
                <a:lnTo>
                  <a:pt x="2103120" y="5565953"/>
                </a:lnTo>
                <a:lnTo>
                  <a:pt x="2059876" y="5550179"/>
                </a:lnTo>
                <a:lnTo>
                  <a:pt x="2015832" y="5536108"/>
                </a:lnTo>
                <a:lnTo>
                  <a:pt x="1971040" y="5523789"/>
                </a:lnTo>
                <a:lnTo>
                  <a:pt x="1925523" y="5513260"/>
                </a:lnTo>
                <a:lnTo>
                  <a:pt x="1879346" y="5504548"/>
                </a:lnTo>
                <a:lnTo>
                  <a:pt x="1832533" y="5497703"/>
                </a:lnTo>
                <a:lnTo>
                  <a:pt x="1785137" y="5492762"/>
                </a:lnTo>
                <a:lnTo>
                  <a:pt x="1737169" y="5489778"/>
                </a:lnTo>
                <a:lnTo>
                  <a:pt x="1688706" y="5488775"/>
                </a:lnTo>
                <a:lnTo>
                  <a:pt x="1640243" y="5489778"/>
                </a:lnTo>
                <a:lnTo>
                  <a:pt x="1592275" y="5492762"/>
                </a:lnTo>
                <a:lnTo>
                  <a:pt x="1544878" y="5497703"/>
                </a:lnTo>
                <a:lnTo>
                  <a:pt x="1498066" y="5504548"/>
                </a:lnTo>
                <a:lnTo>
                  <a:pt x="1451889" y="5513260"/>
                </a:lnTo>
                <a:lnTo>
                  <a:pt x="1406372" y="5523789"/>
                </a:lnTo>
                <a:lnTo>
                  <a:pt x="1361579" y="5536108"/>
                </a:lnTo>
                <a:lnTo>
                  <a:pt x="1317536" y="5550179"/>
                </a:lnTo>
                <a:lnTo>
                  <a:pt x="1274292" y="5565953"/>
                </a:lnTo>
                <a:lnTo>
                  <a:pt x="1231861" y="5583390"/>
                </a:lnTo>
                <a:lnTo>
                  <a:pt x="1190320" y="5602465"/>
                </a:lnTo>
                <a:lnTo>
                  <a:pt x="1149680" y="5623115"/>
                </a:lnTo>
                <a:lnTo>
                  <a:pt x="1109980" y="5645315"/>
                </a:lnTo>
                <a:lnTo>
                  <a:pt x="1071283" y="5669026"/>
                </a:lnTo>
                <a:lnTo>
                  <a:pt x="1033614" y="5694210"/>
                </a:lnTo>
                <a:lnTo>
                  <a:pt x="997013" y="5720816"/>
                </a:lnTo>
                <a:lnTo>
                  <a:pt x="961529" y="5748807"/>
                </a:lnTo>
                <a:lnTo>
                  <a:pt x="927188" y="5778157"/>
                </a:lnTo>
                <a:lnTo>
                  <a:pt x="894041" y="5808802"/>
                </a:lnTo>
                <a:lnTo>
                  <a:pt x="862114" y="5840730"/>
                </a:lnTo>
                <a:lnTo>
                  <a:pt x="831469" y="5873877"/>
                </a:lnTo>
                <a:lnTo>
                  <a:pt x="802119" y="5908218"/>
                </a:lnTo>
                <a:lnTo>
                  <a:pt x="774128" y="5943701"/>
                </a:lnTo>
                <a:lnTo>
                  <a:pt x="747522" y="5980303"/>
                </a:lnTo>
                <a:lnTo>
                  <a:pt x="722350" y="6017971"/>
                </a:lnTo>
                <a:lnTo>
                  <a:pt x="698639" y="6056668"/>
                </a:lnTo>
                <a:lnTo>
                  <a:pt x="676427" y="6096355"/>
                </a:lnTo>
                <a:lnTo>
                  <a:pt x="655777" y="6136995"/>
                </a:lnTo>
                <a:lnTo>
                  <a:pt x="636714" y="6178550"/>
                </a:lnTo>
                <a:lnTo>
                  <a:pt x="619264" y="6220968"/>
                </a:lnTo>
                <a:lnTo>
                  <a:pt x="603491" y="6264224"/>
                </a:lnTo>
                <a:lnTo>
                  <a:pt x="589432" y="6308268"/>
                </a:lnTo>
                <a:lnTo>
                  <a:pt x="577100" y="6353061"/>
                </a:lnTo>
                <a:lnTo>
                  <a:pt x="566572" y="6398565"/>
                </a:lnTo>
                <a:lnTo>
                  <a:pt x="557860" y="6444755"/>
                </a:lnTo>
                <a:lnTo>
                  <a:pt x="551014" y="6491567"/>
                </a:lnTo>
                <a:lnTo>
                  <a:pt x="546087" y="6538963"/>
                </a:lnTo>
                <a:lnTo>
                  <a:pt x="543090" y="6586918"/>
                </a:lnTo>
                <a:lnTo>
                  <a:pt x="542086" y="6635394"/>
                </a:lnTo>
                <a:lnTo>
                  <a:pt x="543090" y="6683857"/>
                </a:lnTo>
                <a:lnTo>
                  <a:pt x="546087" y="6731813"/>
                </a:lnTo>
                <a:lnTo>
                  <a:pt x="551014" y="6779222"/>
                </a:lnTo>
                <a:lnTo>
                  <a:pt x="557860" y="6826034"/>
                </a:lnTo>
                <a:lnTo>
                  <a:pt x="566572" y="6872211"/>
                </a:lnTo>
                <a:lnTo>
                  <a:pt x="577100" y="6917715"/>
                </a:lnTo>
                <a:lnTo>
                  <a:pt x="589432" y="6962508"/>
                </a:lnTo>
                <a:lnTo>
                  <a:pt x="603491" y="7006552"/>
                </a:lnTo>
                <a:lnTo>
                  <a:pt x="619264" y="7049808"/>
                </a:lnTo>
                <a:lnTo>
                  <a:pt x="636714" y="7092226"/>
                </a:lnTo>
                <a:lnTo>
                  <a:pt x="655777" y="7133780"/>
                </a:lnTo>
                <a:lnTo>
                  <a:pt x="676427" y="7174420"/>
                </a:lnTo>
                <a:lnTo>
                  <a:pt x="698639" y="7214108"/>
                </a:lnTo>
                <a:lnTo>
                  <a:pt x="722350" y="7252805"/>
                </a:lnTo>
                <a:lnTo>
                  <a:pt x="747522" y="7290473"/>
                </a:lnTo>
                <a:lnTo>
                  <a:pt x="774128" y="7327074"/>
                </a:lnTo>
                <a:lnTo>
                  <a:pt x="802119" y="7362571"/>
                </a:lnTo>
                <a:lnTo>
                  <a:pt x="831469" y="7396912"/>
                </a:lnTo>
                <a:lnTo>
                  <a:pt x="862114" y="7430059"/>
                </a:lnTo>
                <a:lnTo>
                  <a:pt x="894041" y="7461974"/>
                </a:lnTo>
                <a:lnTo>
                  <a:pt x="927188" y="7492632"/>
                </a:lnTo>
                <a:lnTo>
                  <a:pt x="961529" y="7521969"/>
                </a:lnTo>
                <a:lnTo>
                  <a:pt x="997013" y="7549972"/>
                </a:lnTo>
                <a:lnTo>
                  <a:pt x="1010831" y="7560005"/>
                </a:lnTo>
                <a:lnTo>
                  <a:pt x="2366581" y="7560005"/>
                </a:lnTo>
                <a:lnTo>
                  <a:pt x="2415883" y="7521969"/>
                </a:lnTo>
                <a:lnTo>
                  <a:pt x="2450223" y="7492632"/>
                </a:lnTo>
                <a:lnTo>
                  <a:pt x="2483370" y="7461974"/>
                </a:lnTo>
                <a:lnTo>
                  <a:pt x="2515298" y="7430059"/>
                </a:lnTo>
                <a:lnTo>
                  <a:pt x="2545943" y="7396912"/>
                </a:lnTo>
                <a:lnTo>
                  <a:pt x="2575293" y="7362571"/>
                </a:lnTo>
                <a:lnTo>
                  <a:pt x="2603284" y="7327074"/>
                </a:lnTo>
                <a:lnTo>
                  <a:pt x="2629890" y="7290473"/>
                </a:lnTo>
                <a:lnTo>
                  <a:pt x="2655062" y="7252805"/>
                </a:lnTo>
                <a:lnTo>
                  <a:pt x="2678773" y="7214108"/>
                </a:lnTo>
                <a:lnTo>
                  <a:pt x="2700985" y="7174420"/>
                </a:lnTo>
                <a:lnTo>
                  <a:pt x="2721635" y="7133780"/>
                </a:lnTo>
                <a:lnTo>
                  <a:pt x="2740698" y="7092226"/>
                </a:lnTo>
                <a:lnTo>
                  <a:pt x="2758148" y="7049808"/>
                </a:lnTo>
                <a:lnTo>
                  <a:pt x="2773921" y="7006552"/>
                </a:lnTo>
                <a:lnTo>
                  <a:pt x="2787980" y="6962508"/>
                </a:lnTo>
                <a:lnTo>
                  <a:pt x="2800312" y="6917715"/>
                </a:lnTo>
                <a:lnTo>
                  <a:pt x="2810840" y="6872211"/>
                </a:lnTo>
                <a:lnTo>
                  <a:pt x="2819552" y="6826034"/>
                </a:lnTo>
                <a:lnTo>
                  <a:pt x="2826397" y="6779222"/>
                </a:lnTo>
                <a:lnTo>
                  <a:pt x="2831325" y="6731813"/>
                </a:lnTo>
                <a:lnTo>
                  <a:pt x="2834322" y="6683857"/>
                </a:lnTo>
                <a:lnTo>
                  <a:pt x="2835325" y="6635394"/>
                </a:lnTo>
                <a:close/>
              </a:path>
              <a:path w="13428344" h="7560309">
                <a:moveTo>
                  <a:pt x="2872587" y="5132197"/>
                </a:moveTo>
                <a:lnTo>
                  <a:pt x="2869895" y="5085473"/>
                </a:lnTo>
                <a:lnTo>
                  <a:pt x="2862008" y="5040338"/>
                </a:lnTo>
                <a:lnTo>
                  <a:pt x="2849232" y="4997069"/>
                </a:lnTo>
                <a:lnTo>
                  <a:pt x="2831858" y="4955997"/>
                </a:lnTo>
                <a:lnTo>
                  <a:pt x="2810205" y="4917402"/>
                </a:lnTo>
                <a:lnTo>
                  <a:pt x="2784564" y="4881600"/>
                </a:lnTo>
                <a:lnTo>
                  <a:pt x="2755239" y="4848885"/>
                </a:lnTo>
                <a:lnTo>
                  <a:pt x="2722511" y="4819548"/>
                </a:lnTo>
                <a:lnTo>
                  <a:pt x="2686710" y="4793907"/>
                </a:lnTo>
                <a:lnTo>
                  <a:pt x="2648115" y="4772253"/>
                </a:lnTo>
                <a:lnTo>
                  <a:pt x="2607043" y="4754892"/>
                </a:lnTo>
                <a:lnTo>
                  <a:pt x="2563787" y="4742116"/>
                </a:lnTo>
                <a:lnTo>
                  <a:pt x="2518638" y="4734230"/>
                </a:lnTo>
                <a:lnTo>
                  <a:pt x="2471915" y="4731524"/>
                </a:lnTo>
                <a:lnTo>
                  <a:pt x="2425192" y="4734230"/>
                </a:lnTo>
                <a:lnTo>
                  <a:pt x="2380043" y="4742116"/>
                </a:lnTo>
                <a:lnTo>
                  <a:pt x="2336787" y="4754892"/>
                </a:lnTo>
                <a:lnTo>
                  <a:pt x="2295715" y="4772253"/>
                </a:lnTo>
                <a:lnTo>
                  <a:pt x="2257120" y="4793907"/>
                </a:lnTo>
                <a:lnTo>
                  <a:pt x="2221319" y="4819548"/>
                </a:lnTo>
                <a:lnTo>
                  <a:pt x="2188603" y="4848885"/>
                </a:lnTo>
                <a:lnTo>
                  <a:pt x="2159266" y="4881600"/>
                </a:lnTo>
                <a:lnTo>
                  <a:pt x="2133625" y="4917402"/>
                </a:lnTo>
                <a:lnTo>
                  <a:pt x="2111972" y="4955997"/>
                </a:lnTo>
                <a:lnTo>
                  <a:pt x="2094598" y="4997069"/>
                </a:lnTo>
                <a:lnTo>
                  <a:pt x="2081822" y="5040338"/>
                </a:lnTo>
                <a:lnTo>
                  <a:pt x="2073935" y="5085473"/>
                </a:lnTo>
                <a:lnTo>
                  <a:pt x="2071243" y="5132197"/>
                </a:lnTo>
                <a:lnTo>
                  <a:pt x="2073935" y="5178933"/>
                </a:lnTo>
                <a:lnTo>
                  <a:pt x="2081822" y="5224069"/>
                </a:lnTo>
                <a:lnTo>
                  <a:pt x="2094598" y="5267337"/>
                </a:lnTo>
                <a:lnTo>
                  <a:pt x="2111972" y="5308409"/>
                </a:lnTo>
                <a:lnTo>
                  <a:pt x="2133625" y="5346992"/>
                </a:lnTo>
                <a:lnTo>
                  <a:pt x="2159266" y="5382793"/>
                </a:lnTo>
                <a:lnTo>
                  <a:pt x="2188603" y="5415508"/>
                </a:lnTo>
                <a:lnTo>
                  <a:pt x="2221319" y="5444845"/>
                </a:lnTo>
                <a:lnTo>
                  <a:pt x="2257120" y="5470487"/>
                </a:lnTo>
                <a:lnTo>
                  <a:pt x="2295715" y="5492140"/>
                </a:lnTo>
                <a:lnTo>
                  <a:pt x="2336787" y="5509501"/>
                </a:lnTo>
                <a:lnTo>
                  <a:pt x="2380043" y="5522277"/>
                </a:lnTo>
                <a:lnTo>
                  <a:pt x="2425192" y="5530164"/>
                </a:lnTo>
                <a:lnTo>
                  <a:pt x="2471915" y="5532856"/>
                </a:lnTo>
                <a:lnTo>
                  <a:pt x="2518638" y="5530164"/>
                </a:lnTo>
                <a:lnTo>
                  <a:pt x="2563787" y="5522277"/>
                </a:lnTo>
                <a:lnTo>
                  <a:pt x="2607043" y="5509501"/>
                </a:lnTo>
                <a:lnTo>
                  <a:pt x="2648115" y="5492140"/>
                </a:lnTo>
                <a:lnTo>
                  <a:pt x="2686710" y="5470487"/>
                </a:lnTo>
                <a:lnTo>
                  <a:pt x="2722511" y="5444845"/>
                </a:lnTo>
                <a:lnTo>
                  <a:pt x="2755239" y="5415508"/>
                </a:lnTo>
                <a:lnTo>
                  <a:pt x="2784564" y="5382793"/>
                </a:lnTo>
                <a:lnTo>
                  <a:pt x="2810205" y="5346992"/>
                </a:lnTo>
                <a:lnTo>
                  <a:pt x="2831858" y="5308409"/>
                </a:lnTo>
                <a:lnTo>
                  <a:pt x="2849232" y="5267337"/>
                </a:lnTo>
                <a:lnTo>
                  <a:pt x="2862008" y="5224069"/>
                </a:lnTo>
                <a:lnTo>
                  <a:pt x="2869895" y="5178933"/>
                </a:lnTo>
                <a:lnTo>
                  <a:pt x="2872587" y="5132197"/>
                </a:lnTo>
                <a:close/>
              </a:path>
              <a:path w="13428344" h="7560309">
                <a:moveTo>
                  <a:pt x="3311982" y="5582005"/>
                </a:moveTo>
                <a:lnTo>
                  <a:pt x="3307931" y="5536819"/>
                </a:lnTo>
                <a:lnTo>
                  <a:pt x="3296259" y="5494274"/>
                </a:lnTo>
                <a:lnTo>
                  <a:pt x="3277666" y="5455107"/>
                </a:lnTo>
                <a:lnTo>
                  <a:pt x="3252863" y="5420017"/>
                </a:lnTo>
                <a:lnTo>
                  <a:pt x="3222561" y="5389715"/>
                </a:lnTo>
                <a:lnTo>
                  <a:pt x="3187471" y="5364912"/>
                </a:lnTo>
                <a:lnTo>
                  <a:pt x="3148292" y="5346319"/>
                </a:lnTo>
                <a:lnTo>
                  <a:pt x="3105759" y="5334635"/>
                </a:lnTo>
                <a:lnTo>
                  <a:pt x="3060560" y="5330583"/>
                </a:lnTo>
                <a:lnTo>
                  <a:pt x="3015373" y="5334635"/>
                </a:lnTo>
                <a:lnTo>
                  <a:pt x="2972828" y="5346319"/>
                </a:lnTo>
                <a:lnTo>
                  <a:pt x="2933662" y="5364912"/>
                </a:lnTo>
                <a:lnTo>
                  <a:pt x="2898571" y="5389715"/>
                </a:lnTo>
                <a:lnTo>
                  <a:pt x="2868269" y="5420017"/>
                </a:lnTo>
                <a:lnTo>
                  <a:pt x="2843453" y="5455107"/>
                </a:lnTo>
                <a:lnTo>
                  <a:pt x="2824861" y="5494274"/>
                </a:lnTo>
                <a:lnTo>
                  <a:pt x="2813177" y="5536819"/>
                </a:lnTo>
                <a:lnTo>
                  <a:pt x="2809125" y="5582005"/>
                </a:lnTo>
                <a:lnTo>
                  <a:pt x="2813177" y="5627205"/>
                </a:lnTo>
                <a:lnTo>
                  <a:pt x="2824861" y="5669737"/>
                </a:lnTo>
                <a:lnTo>
                  <a:pt x="2843453" y="5708904"/>
                </a:lnTo>
                <a:lnTo>
                  <a:pt x="2868269" y="5744007"/>
                </a:lnTo>
                <a:lnTo>
                  <a:pt x="2898571" y="5774309"/>
                </a:lnTo>
                <a:lnTo>
                  <a:pt x="2933662" y="5799112"/>
                </a:lnTo>
                <a:lnTo>
                  <a:pt x="2972828" y="5817705"/>
                </a:lnTo>
                <a:lnTo>
                  <a:pt x="3015373" y="5829389"/>
                </a:lnTo>
                <a:lnTo>
                  <a:pt x="3060560" y="5833440"/>
                </a:lnTo>
                <a:lnTo>
                  <a:pt x="3105759" y="5829389"/>
                </a:lnTo>
                <a:lnTo>
                  <a:pt x="3148292" y="5817705"/>
                </a:lnTo>
                <a:lnTo>
                  <a:pt x="3187471" y="5799112"/>
                </a:lnTo>
                <a:lnTo>
                  <a:pt x="3222561" y="5774309"/>
                </a:lnTo>
                <a:lnTo>
                  <a:pt x="3252863" y="5744007"/>
                </a:lnTo>
                <a:lnTo>
                  <a:pt x="3277666" y="5708904"/>
                </a:lnTo>
                <a:lnTo>
                  <a:pt x="3296259" y="5669737"/>
                </a:lnTo>
                <a:lnTo>
                  <a:pt x="3307931" y="5627205"/>
                </a:lnTo>
                <a:lnTo>
                  <a:pt x="3311982" y="5582005"/>
                </a:lnTo>
                <a:close/>
              </a:path>
              <a:path w="13428344" h="7560309">
                <a:moveTo>
                  <a:pt x="6244856" y="2232571"/>
                </a:moveTo>
                <a:lnTo>
                  <a:pt x="6240805" y="2187384"/>
                </a:lnTo>
                <a:lnTo>
                  <a:pt x="6229121" y="2144852"/>
                </a:lnTo>
                <a:lnTo>
                  <a:pt x="6210528" y="2105685"/>
                </a:lnTo>
                <a:lnTo>
                  <a:pt x="6185725" y="2070595"/>
                </a:lnTo>
                <a:lnTo>
                  <a:pt x="6155423" y="2040280"/>
                </a:lnTo>
                <a:lnTo>
                  <a:pt x="6120320" y="2015477"/>
                </a:lnTo>
                <a:lnTo>
                  <a:pt x="6081153" y="1996884"/>
                </a:lnTo>
                <a:lnTo>
                  <a:pt x="6038621" y="1985200"/>
                </a:lnTo>
                <a:lnTo>
                  <a:pt x="5993422" y="1981149"/>
                </a:lnTo>
                <a:lnTo>
                  <a:pt x="5948223" y="1985200"/>
                </a:lnTo>
                <a:lnTo>
                  <a:pt x="5905690" y="1996884"/>
                </a:lnTo>
                <a:lnTo>
                  <a:pt x="5866523" y="2015477"/>
                </a:lnTo>
                <a:lnTo>
                  <a:pt x="5831433" y="2040280"/>
                </a:lnTo>
                <a:lnTo>
                  <a:pt x="5801118" y="2070595"/>
                </a:lnTo>
                <a:lnTo>
                  <a:pt x="5776315" y="2105685"/>
                </a:lnTo>
                <a:lnTo>
                  <a:pt x="5757723" y="2144852"/>
                </a:lnTo>
                <a:lnTo>
                  <a:pt x="5746039" y="2187384"/>
                </a:lnTo>
                <a:lnTo>
                  <a:pt x="5741987" y="2232571"/>
                </a:lnTo>
                <a:lnTo>
                  <a:pt x="5746039" y="2277770"/>
                </a:lnTo>
                <a:lnTo>
                  <a:pt x="5757723" y="2320302"/>
                </a:lnTo>
                <a:lnTo>
                  <a:pt x="5776315" y="2359482"/>
                </a:lnTo>
                <a:lnTo>
                  <a:pt x="5801118" y="2394572"/>
                </a:lnTo>
                <a:lnTo>
                  <a:pt x="5831433" y="2424874"/>
                </a:lnTo>
                <a:lnTo>
                  <a:pt x="5866523" y="2449677"/>
                </a:lnTo>
                <a:lnTo>
                  <a:pt x="5905690" y="2468283"/>
                </a:lnTo>
                <a:lnTo>
                  <a:pt x="5948223" y="2479954"/>
                </a:lnTo>
                <a:lnTo>
                  <a:pt x="5993422" y="2484005"/>
                </a:lnTo>
                <a:lnTo>
                  <a:pt x="6038621" y="2479954"/>
                </a:lnTo>
                <a:lnTo>
                  <a:pt x="6081153" y="2468283"/>
                </a:lnTo>
                <a:lnTo>
                  <a:pt x="6120320" y="2449677"/>
                </a:lnTo>
                <a:lnTo>
                  <a:pt x="6155423" y="2424874"/>
                </a:lnTo>
                <a:lnTo>
                  <a:pt x="6185725" y="2394572"/>
                </a:lnTo>
                <a:lnTo>
                  <a:pt x="6210528" y="2359482"/>
                </a:lnTo>
                <a:lnTo>
                  <a:pt x="6229121" y="2320302"/>
                </a:lnTo>
                <a:lnTo>
                  <a:pt x="6240805" y="2277770"/>
                </a:lnTo>
                <a:lnTo>
                  <a:pt x="6244856" y="2232571"/>
                </a:lnTo>
                <a:close/>
              </a:path>
              <a:path w="13428344" h="7560309">
                <a:moveTo>
                  <a:pt x="6511226" y="750633"/>
                </a:moveTo>
                <a:lnTo>
                  <a:pt x="6510223" y="702170"/>
                </a:lnTo>
                <a:lnTo>
                  <a:pt x="6507239" y="654202"/>
                </a:lnTo>
                <a:lnTo>
                  <a:pt x="6502298" y="606806"/>
                </a:lnTo>
                <a:lnTo>
                  <a:pt x="6495453" y="559993"/>
                </a:lnTo>
                <a:lnTo>
                  <a:pt x="6486741" y="513816"/>
                </a:lnTo>
                <a:lnTo>
                  <a:pt x="6476212" y="468299"/>
                </a:lnTo>
                <a:lnTo>
                  <a:pt x="6463893" y="423506"/>
                </a:lnTo>
                <a:lnTo>
                  <a:pt x="6449822" y="379463"/>
                </a:lnTo>
                <a:lnTo>
                  <a:pt x="6434048" y="336219"/>
                </a:lnTo>
                <a:lnTo>
                  <a:pt x="6416611" y="293789"/>
                </a:lnTo>
                <a:lnTo>
                  <a:pt x="6397536" y="252247"/>
                </a:lnTo>
                <a:lnTo>
                  <a:pt x="6376886" y="211607"/>
                </a:lnTo>
                <a:lnTo>
                  <a:pt x="6354686" y="171907"/>
                </a:lnTo>
                <a:lnTo>
                  <a:pt x="6330975" y="133210"/>
                </a:lnTo>
                <a:lnTo>
                  <a:pt x="6305791" y="95542"/>
                </a:lnTo>
                <a:lnTo>
                  <a:pt x="6279185" y="58940"/>
                </a:lnTo>
                <a:lnTo>
                  <a:pt x="6251194" y="23456"/>
                </a:lnTo>
                <a:lnTo>
                  <a:pt x="6231153" y="0"/>
                </a:lnTo>
                <a:lnTo>
                  <a:pt x="4498073" y="0"/>
                </a:lnTo>
                <a:lnTo>
                  <a:pt x="4450029" y="58940"/>
                </a:lnTo>
                <a:lnTo>
                  <a:pt x="4423422" y="95542"/>
                </a:lnTo>
                <a:lnTo>
                  <a:pt x="4398251" y="133210"/>
                </a:lnTo>
                <a:lnTo>
                  <a:pt x="4374540" y="171907"/>
                </a:lnTo>
                <a:lnTo>
                  <a:pt x="4352341" y="211607"/>
                </a:lnTo>
                <a:lnTo>
                  <a:pt x="4331678" y="252247"/>
                </a:lnTo>
                <a:lnTo>
                  <a:pt x="4312615" y="293789"/>
                </a:lnTo>
                <a:lnTo>
                  <a:pt x="4295178" y="336219"/>
                </a:lnTo>
                <a:lnTo>
                  <a:pt x="4279404" y="379463"/>
                </a:lnTo>
                <a:lnTo>
                  <a:pt x="4265333" y="423506"/>
                </a:lnTo>
                <a:lnTo>
                  <a:pt x="4253014" y="468299"/>
                </a:lnTo>
                <a:lnTo>
                  <a:pt x="4242473" y="513816"/>
                </a:lnTo>
                <a:lnTo>
                  <a:pt x="4233773" y="559993"/>
                </a:lnTo>
                <a:lnTo>
                  <a:pt x="4226928" y="606806"/>
                </a:lnTo>
                <a:lnTo>
                  <a:pt x="4221988" y="654202"/>
                </a:lnTo>
                <a:lnTo>
                  <a:pt x="4219003" y="702170"/>
                </a:lnTo>
                <a:lnTo>
                  <a:pt x="4217987" y="750633"/>
                </a:lnTo>
                <a:lnTo>
                  <a:pt x="4219003" y="799096"/>
                </a:lnTo>
                <a:lnTo>
                  <a:pt x="4221988" y="847064"/>
                </a:lnTo>
                <a:lnTo>
                  <a:pt x="4226928" y="894461"/>
                </a:lnTo>
                <a:lnTo>
                  <a:pt x="4233773" y="941273"/>
                </a:lnTo>
                <a:lnTo>
                  <a:pt x="4242473" y="987450"/>
                </a:lnTo>
                <a:lnTo>
                  <a:pt x="4253014" y="1032967"/>
                </a:lnTo>
                <a:lnTo>
                  <a:pt x="4265333" y="1077760"/>
                </a:lnTo>
                <a:lnTo>
                  <a:pt x="4279404" y="1121803"/>
                </a:lnTo>
                <a:lnTo>
                  <a:pt x="4295178" y="1165047"/>
                </a:lnTo>
                <a:lnTo>
                  <a:pt x="4312615" y="1207477"/>
                </a:lnTo>
                <a:lnTo>
                  <a:pt x="4331678" y="1249019"/>
                </a:lnTo>
                <a:lnTo>
                  <a:pt x="4352341" y="1289659"/>
                </a:lnTo>
                <a:lnTo>
                  <a:pt x="4374540" y="1329359"/>
                </a:lnTo>
                <a:lnTo>
                  <a:pt x="4398251" y="1368056"/>
                </a:lnTo>
                <a:lnTo>
                  <a:pt x="4423422" y="1405724"/>
                </a:lnTo>
                <a:lnTo>
                  <a:pt x="4450029" y="1442326"/>
                </a:lnTo>
                <a:lnTo>
                  <a:pt x="4478032" y="1477810"/>
                </a:lnTo>
                <a:lnTo>
                  <a:pt x="4507369" y="1512150"/>
                </a:lnTo>
                <a:lnTo>
                  <a:pt x="4538027" y="1545297"/>
                </a:lnTo>
                <a:lnTo>
                  <a:pt x="4569942" y="1577225"/>
                </a:lnTo>
                <a:lnTo>
                  <a:pt x="4603102" y="1607870"/>
                </a:lnTo>
                <a:lnTo>
                  <a:pt x="4637430" y="1637220"/>
                </a:lnTo>
                <a:lnTo>
                  <a:pt x="4672927" y="1665211"/>
                </a:lnTo>
                <a:lnTo>
                  <a:pt x="4709528" y="1691817"/>
                </a:lnTo>
                <a:lnTo>
                  <a:pt x="4747196" y="1716989"/>
                </a:lnTo>
                <a:lnTo>
                  <a:pt x="4785893" y="1740700"/>
                </a:lnTo>
                <a:lnTo>
                  <a:pt x="4825581" y="1762912"/>
                </a:lnTo>
                <a:lnTo>
                  <a:pt x="4866221" y="1783562"/>
                </a:lnTo>
                <a:lnTo>
                  <a:pt x="4907775" y="1802625"/>
                </a:lnTo>
                <a:lnTo>
                  <a:pt x="4950193" y="1820075"/>
                </a:lnTo>
                <a:lnTo>
                  <a:pt x="4993449" y="1835848"/>
                </a:lnTo>
                <a:lnTo>
                  <a:pt x="5037493" y="1849907"/>
                </a:lnTo>
                <a:lnTo>
                  <a:pt x="5082286" y="1862239"/>
                </a:lnTo>
                <a:lnTo>
                  <a:pt x="5127790" y="1872767"/>
                </a:lnTo>
                <a:lnTo>
                  <a:pt x="5173967" y="1881479"/>
                </a:lnTo>
                <a:lnTo>
                  <a:pt x="5220779" y="1888324"/>
                </a:lnTo>
                <a:lnTo>
                  <a:pt x="5268188" y="1893252"/>
                </a:lnTo>
                <a:lnTo>
                  <a:pt x="5316144" y="1896249"/>
                </a:lnTo>
                <a:lnTo>
                  <a:pt x="5364607" y="1897253"/>
                </a:lnTo>
                <a:lnTo>
                  <a:pt x="5413083" y="1896249"/>
                </a:lnTo>
                <a:lnTo>
                  <a:pt x="5461038" y="1893252"/>
                </a:lnTo>
                <a:lnTo>
                  <a:pt x="5508447" y="1888324"/>
                </a:lnTo>
                <a:lnTo>
                  <a:pt x="5555246" y="1881479"/>
                </a:lnTo>
                <a:lnTo>
                  <a:pt x="5601436" y="1872767"/>
                </a:lnTo>
                <a:lnTo>
                  <a:pt x="5646940" y="1862239"/>
                </a:lnTo>
                <a:lnTo>
                  <a:pt x="5691733" y="1849907"/>
                </a:lnTo>
                <a:lnTo>
                  <a:pt x="5735777" y="1835848"/>
                </a:lnTo>
                <a:lnTo>
                  <a:pt x="5779033" y="1820075"/>
                </a:lnTo>
                <a:lnTo>
                  <a:pt x="5821451" y="1802625"/>
                </a:lnTo>
                <a:lnTo>
                  <a:pt x="5863006" y="1783562"/>
                </a:lnTo>
                <a:lnTo>
                  <a:pt x="5903646" y="1762912"/>
                </a:lnTo>
                <a:lnTo>
                  <a:pt x="5943333" y="1740700"/>
                </a:lnTo>
                <a:lnTo>
                  <a:pt x="5982030" y="1716989"/>
                </a:lnTo>
                <a:lnTo>
                  <a:pt x="6019698" y="1691817"/>
                </a:lnTo>
                <a:lnTo>
                  <a:pt x="6056300" y="1665211"/>
                </a:lnTo>
                <a:lnTo>
                  <a:pt x="6091783" y="1637220"/>
                </a:lnTo>
                <a:lnTo>
                  <a:pt x="6126124" y="1607870"/>
                </a:lnTo>
                <a:lnTo>
                  <a:pt x="6159271" y="1577225"/>
                </a:lnTo>
                <a:lnTo>
                  <a:pt x="6191199" y="1545297"/>
                </a:lnTo>
                <a:lnTo>
                  <a:pt x="6221857" y="1512150"/>
                </a:lnTo>
                <a:lnTo>
                  <a:pt x="6251194" y="1477810"/>
                </a:lnTo>
                <a:lnTo>
                  <a:pt x="6279185" y="1442326"/>
                </a:lnTo>
                <a:lnTo>
                  <a:pt x="6305791" y="1405724"/>
                </a:lnTo>
                <a:lnTo>
                  <a:pt x="6330975" y="1368056"/>
                </a:lnTo>
                <a:lnTo>
                  <a:pt x="6354686" y="1329359"/>
                </a:lnTo>
                <a:lnTo>
                  <a:pt x="6376886" y="1289659"/>
                </a:lnTo>
                <a:lnTo>
                  <a:pt x="6397536" y="1249019"/>
                </a:lnTo>
                <a:lnTo>
                  <a:pt x="6416611" y="1207477"/>
                </a:lnTo>
                <a:lnTo>
                  <a:pt x="6434048" y="1165047"/>
                </a:lnTo>
                <a:lnTo>
                  <a:pt x="6449822" y="1121803"/>
                </a:lnTo>
                <a:lnTo>
                  <a:pt x="6463893" y="1077760"/>
                </a:lnTo>
                <a:lnTo>
                  <a:pt x="6476212" y="1032967"/>
                </a:lnTo>
                <a:lnTo>
                  <a:pt x="6486741" y="987450"/>
                </a:lnTo>
                <a:lnTo>
                  <a:pt x="6495453" y="941273"/>
                </a:lnTo>
                <a:lnTo>
                  <a:pt x="6502298" y="894461"/>
                </a:lnTo>
                <a:lnTo>
                  <a:pt x="6507239" y="847064"/>
                </a:lnTo>
                <a:lnTo>
                  <a:pt x="6510223" y="799096"/>
                </a:lnTo>
                <a:lnTo>
                  <a:pt x="6511226" y="750633"/>
                </a:lnTo>
                <a:close/>
              </a:path>
              <a:path w="13428344" h="7560309">
                <a:moveTo>
                  <a:pt x="7263955" y="2331961"/>
                </a:moveTo>
                <a:lnTo>
                  <a:pt x="7261212" y="2284628"/>
                </a:lnTo>
                <a:lnTo>
                  <a:pt x="7253224" y="2238883"/>
                </a:lnTo>
                <a:lnTo>
                  <a:pt x="7240283" y="2195055"/>
                </a:lnTo>
                <a:lnTo>
                  <a:pt x="7222693" y="2153437"/>
                </a:lnTo>
                <a:lnTo>
                  <a:pt x="7200747" y="2114334"/>
                </a:lnTo>
                <a:lnTo>
                  <a:pt x="7174763" y="2078062"/>
                </a:lnTo>
                <a:lnTo>
                  <a:pt x="7145045" y="2044915"/>
                </a:lnTo>
                <a:lnTo>
                  <a:pt x="7111898" y="2015197"/>
                </a:lnTo>
                <a:lnTo>
                  <a:pt x="7075627" y="1989213"/>
                </a:lnTo>
                <a:lnTo>
                  <a:pt x="7036524" y="1967268"/>
                </a:lnTo>
                <a:lnTo>
                  <a:pt x="6994906" y="1949678"/>
                </a:lnTo>
                <a:lnTo>
                  <a:pt x="6951078" y="1936737"/>
                </a:lnTo>
                <a:lnTo>
                  <a:pt x="6905333" y="1928736"/>
                </a:lnTo>
                <a:lnTo>
                  <a:pt x="6858000" y="1926005"/>
                </a:lnTo>
                <a:lnTo>
                  <a:pt x="6810654" y="1928736"/>
                </a:lnTo>
                <a:lnTo>
                  <a:pt x="6764909" y="1936737"/>
                </a:lnTo>
                <a:lnTo>
                  <a:pt x="6721081" y="1949678"/>
                </a:lnTo>
                <a:lnTo>
                  <a:pt x="6679463" y="1967268"/>
                </a:lnTo>
                <a:lnTo>
                  <a:pt x="6640360" y="1989213"/>
                </a:lnTo>
                <a:lnTo>
                  <a:pt x="6604089" y="2015197"/>
                </a:lnTo>
                <a:lnTo>
                  <a:pt x="6570942" y="2044915"/>
                </a:lnTo>
                <a:lnTo>
                  <a:pt x="6541224" y="2078062"/>
                </a:lnTo>
                <a:lnTo>
                  <a:pt x="6515240" y="2114334"/>
                </a:lnTo>
                <a:lnTo>
                  <a:pt x="6493294" y="2153437"/>
                </a:lnTo>
                <a:lnTo>
                  <a:pt x="6475704" y="2195055"/>
                </a:lnTo>
                <a:lnTo>
                  <a:pt x="6462763" y="2238883"/>
                </a:lnTo>
                <a:lnTo>
                  <a:pt x="6454775" y="2284628"/>
                </a:lnTo>
                <a:lnTo>
                  <a:pt x="6452044" y="2331961"/>
                </a:lnTo>
                <a:lnTo>
                  <a:pt x="6454775" y="2379307"/>
                </a:lnTo>
                <a:lnTo>
                  <a:pt x="6462763" y="2425039"/>
                </a:lnTo>
                <a:lnTo>
                  <a:pt x="6475704" y="2468867"/>
                </a:lnTo>
                <a:lnTo>
                  <a:pt x="6493294" y="2510485"/>
                </a:lnTo>
                <a:lnTo>
                  <a:pt x="6515240" y="2549588"/>
                </a:lnTo>
                <a:lnTo>
                  <a:pt x="6541224" y="2585859"/>
                </a:lnTo>
                <a:lnTo>
                  <a:pt x="6570942" y="2619006"/>
                </a:lnTo>
                <a:lnTo>
                  <a:pt x="6604089" y="2648724"/>
                </a:lnTo>
                <a:lnTo>
                  <a:pt x="6640360" y="2674709"/>
                </a:lnTo>
                <a:lnTo>
                  <a:pt x="6679463" y="2696654"/>
                </a:lnTo>
                <a:lnTo>
                  <a:pt x="6721081" y="2714244"/>
                </a:lnTo>
                <a:lnTo>
                  <a:pt x="6764909" y="2727185"/>
                </a:lnTo>
                <a:lnTo>
                  <a:pt x="6810654" y="2735173"/>
                </a:lnTo>
                <a:lnTo>
                  <a:pt x="6858000" y="2737904"/>
                </a:lnTo>
                <a:lnTo>
                  <a:pt x="6905333" y="2735173"/>
                </a:lnTo>
                <a:lnTo>
                  <a:pt x="6951078" y="2727185"/>
                </a:lnTo>
                <a:lnTo>
                  <a:pt x="6994906" y="2714244"/>
                </a:lnTo>
                <a:lnTo>
                  <a:pt x="7036524" y="2696654"/>
                </a:lnTo>
                <a:lnTo>
                  <a:pt x="7075627" y="2674709"/>
                </a:lnTo>
                <a:lnTo>
                  <a:pt x="7111898" y="2648724"/>
                </a:lnTo>
                <a:lnTo>
                  <a:pt x="7145045" y="2619006"/>
                </a:lnTo>
                <a:lnTo>
                  <a:pt x="7174763" y="2585859"/>
                </a:lnTo>
                <a:lnTo>
                  <a:pt x="7200747" y="2549588"/>
                </a:lnTo>
                <a:lnTo>
                  <a:pt x="7222693" y="2510485"/>
                </a:lnTo>
                <a:lnTo>
                  <a:pt x="7240283" y="2468867"/>
                </a:lnTo>
                <a:lnTo>
                  <a:pt x="7253224" y="2425039"/>
                </a:lnTo>
                <a:lnTo>
                  <a:pt x="7261212" y="2379307"/>
                </a:lnTo>
                <a:lnTo>
                  <a:pt x="7263955" y="2331961"/>
                </a:lnTo>
                <a:close/>
              </a:path>
              <a:path w="13428344" h="7560309">
                <a:moveTo>
                  <a:pt x="9683991" y="6804571"/>
                </a:moveTo>
                <a:lnTo>
                  <a:pt x="9679940" y="6759384"/>
                </a:lnTo>
                <a:lnTo>
                  <a:pt x="9668256" y="6716852"/>
                </a:lnTo>
                <a:lnTo>
                  <a:pt x="9649663" y="6677685"/>
                </a:lnTo>
                <a:lnTo>
                  <a:pt x="9624860" y="6642595"/>
                </a:lnTo>
                <a:lnTo>
                  <a:pt x="9594558" y="6612280"/>
                </a:lnTo>
                <a:lnTo>
                  <a:pt x="9559468" y="6587477"/>
                </a:lnTo>
                <a:lnTo>
                  <a:pt x="9520301" y="6568884"/>
                </a:lnTo>
                <a:lnTo>
                  <a:pt x="9477756" y="6557200"/>
                </a:lnTo>
                <a:lnTo>
                  <a:pt x="9432569" y="6553149"/>
                </a:lnTo>
                <a:lnTo>
                  <a:pt x="9387370" y="6557200"/>
                </a:lnTo>
                <a:lnTo>
                  <a:pt x="9344838" y="6568884"/>
                </a:lnTo>
                <a:lnTo>
                  <a:pt x="9305658" y="6587477"/>
                </a:lnTo>
                <a:lnTo>
                  <a:pt x="9270568" y="6612280"/>
                </a:lnTo>
                <a:lnTo>
                  <a:pt x="9240266" y="6642595"/>
                </a:lnTo>
                <a:lnTo>
                  <a:pt x="9215463" y="6677685"/>
                </a:lnTo>
                <a:lnTo>
                  <a:pt x="9196857" y="6716852"/>
                </a:lnTo>
                <a:lnTo>
                  <a:pt x="9185186" y="6759384"/>
                </a:lnTo>
                <a:lnTo>
                  <a:pt x="9181135" y="6804571"/>
                </a:lnTo>
                <a:lnTo>
                  <a:pt x="9185186" y="6849770"/>
                </a:lnTo>
                <a:lnTo>
                  <a:pt x="9196857" y="6892303"/>
                </a:lnTo>
                <a:lnTo>
                  <a:pt x="9215463" y="6931482"/>
                </a:lnTo>
                <a:lnTo>
                  <a:pt x="9240266" y="6966572"/>
                </a:lnTo>
                <a:lnTo>
                  <a:pt x="9270568" y="6996874"/>
                </a:lnTo>
                <a:lnTo>
                  <a:pt x="9305658" y="7021677"/>
                </a:lnTo>
                <a:lnTo>
                  <a:pt x="9344838" y="7040283"/>
                </a:lnTo>
                <a:lnTo>
                  <a:pt x="9387370" y="7051954"/>
                </a:lnTo>
                <a:lnTo>
                  <a:pt x="9432569" y="7056006"/>
                </a:lnTo>
                <a:lnTo>
                  <a:pt x="9477756" y="7051954"/>
                </a:lnTo>
                <a:lnTo>
                  <a:pt x="9520301" y="7040283"/>
                </a:lnTo>
                <a:lnTo>
                  <a:pt x="9559468" y="7021677"/>
                </a:lnTo>
                <a:lnTo>
                  <a:pt x="9594558" y="6996874"/>
                </a:lnTo>
                <a:lnTo>
                  <a:pt x="9624860" y="6966572"/>
                </a:lnTo>
                <a:lnTo>
                  <a:pt x="9649663" y="6931482"/>
                </a:lnTo>
                <a:lnTo>
                  <a:pt x="9668256" y="6892303"/>
                </a:lnTo>
                <a:lnTo>
                  <a:pt x="9679940" y="6849770"/>
                </a:lnTo>
                <a:lnTo>
                  <a:pt x="9683991" y="6804571"/>
                </a:lnTo>
                <a:close/>
              </a:path>
              <a:path w="13428344" h="7560309">
                <a:moveTo>
                  <a:pt x="10395331" y="7534681"/>
                </a:moveTo>
                <a:lnTo>
                  <a:pt x="10392639" y="7487958"/>
                </a:lnTo>
                <a:lnTo>
                  <a:pt x="10384752" y="7442809"/>
                </a:lnTo>
                <a:lnTo>
                  <a:pt x="10371976" y="7399553"/>
                </a:lnTo>
                <a:lnTo>
                  <a:pt x="10354615" y="7358481"/>
                </a:lnTo>
                <a:lnTo>
                  <a:pt x="10332949" y="7319886"/>
                </a:lnTo>
                <a:lnTo>
                  <a:pt x="10307307" y="7284085"/>
                </a:lnTo>
                <a:lnTo>
                  <a:pt x="10277983" y="7251370"/>
                </a:lnTo>
                <a:lnTo>
                  <a:pt x="10245268" y="7222033"/>
                </a:lnTo>
                <a:lnTo>
                  <a:pt x="10209454" y="7196391"/>
                </a:lnTo>
                <a:lnTo>
                  <a:pt x="10170871" y="7174738"/>
                </a:lnTo>
                <a:lnTo>
                  <a:pt x="10129787" y="7157377"/>
                </a:lnTo>
                <a:lnTo>
                  <a:pt x="10086530" y="7144601"/>
                </a:lnTo>
                <a:lnTo>
                  <a:pt x="10041395" y="7136714"/>
                </a:lnTo>
                <a:lnTo>
                  <a:pt x="9994659" y="7134009"/>
                </a:lnTo>
                <a:lnTo>
                  <a:pt x="9947935" y="7136714"/>
                </a:lnTo>
                <a:lnTo>
                  <a:pt x="9902787" y="7144601"/>
                </a:lnTo>
                <a:lnTo>
                  <a:pt x="9859531" y="7157377"/>
                </a:lnTo>
                <a:lnTo>
                  <a:pt x="9818459" y="7174738"/>
                </a:lnTo>
                <a:lnTo>
                  <a:pt x="9779864" y="7196391"/>
                </a:lnTo>
                <a:lnTo>
                  <a:pt x="9744062" y="7222033"/>
                </a:lnTo>
                <a:lnTo>
                  <a:pt x="9711347" y="7251370"/>
                </a:lnTo>
                <a:lnTo>
                  <a:pt x="9682010" y="7284085"/>
                </a:lnTo>
                <a:lnTo>
                  <a:pt x="9656369" y="7319886"/>
                </a:lnTo>
                <a:lnTo>
                  <a:pt x="9634715" y="7358481"/>
                </a:lnTo>
                <a:lnTo>
                  <a:pt x="9617354" y="7399553"/>
                </a:lnTo>
                <a:lnTo>
                  <a:pt x="9604578" y="7442809"/>
                </a:lnTo>
                <a:lnTo>
                  <a:pt x="9596691" y="7487958"/>
                </a:lnTo>
                <a:lnTo>
                  <a:pt x="9593986" y="7534681"/>
                </a:lnTo>
                <a:lnTo>
                  <a:pt x="9595447" y="7560005"/>
                </a:lnTo>
                <a:lnTo>
                  <a:pt x="10393870" y="7560005"/>
                </a:lnTo>
                <a:lnTo>
                  <a:pt x="10395331" y="7534681"/>
                </a:lnTo>
                <a:close/>
              </a:path>
              <a:path w="13428344" h="7560309">
                <a:moveTo>
                  <a:pt x="10611333" y="6562687"/>
                </a:moveTo>
                <a:lnTo>
                  <a:pt x="10608640" y="6515963"/>
                </a:lnTo>
                <a:lnTo>
                  <a:pt x="10600754" y="6470815"/>
                </a:lnTo>
                <a:lnTo>
                  <a:pt x="10587977" y="6427559"/>
                </a:lnTo>
                <a:lnTo>
                  <a:pt x="10570604" y="6386474"/>
                </a:lnTo>
                <a:lnTo>
                  <a:pt x="10548950" y="6347892"/>
                </a:lnTo>
                <a:lnTo>
                  <a:pt x="10523309" y="6312090"/>
                </a:lnTo>
                <a:lnTo>
                  <a:pt x="10493985" y="6279362"/>
                </a:lnTo>
                <a:lnTo>
                  <a:pt x="10461257" y="6250038"/>
                </a:lnTo>
                <a:lnTo>
                  <a:pt x="10425455" y="6224397"/>
                </a:lnTo>
                <a:lnTo>
                  <a:pt x="10386873" y="6202731"/>
                </a:lnTo>
                <a:lnTo>
                  <a:pt x="10345788" y="6185370"/>
                </a:lnTo>
                <a:lnTo>
                  <a:pt x="10302532" y="6172593"/>
                </a:lnTo>
                <a:lnTo>
                  <a:pt x="10257384" y="6164707"/>
                </a:lnTo>
                <a:lnTo>
                  <a:pt x="10210660" y="6162014"/>
                </a:lnTo>
                <a:lnTo>
                  <a:pt x="10163937" y="6164707"/>
                </a:lnTo>
                <a:lnTo>
                  <a:pt x="10118788" y="6172593"/>
                </a:lnTo>
                <a:lnTo>
                  <a:pt x="10075532" y="6185370"/>
                </a:lnTo>
                <a:lnTo>
                  <a:pt x="10034460" y="6202731"/>
                </a:lnTo>
                <a:lnTo>
                  <a:pt x="9995865" y="6224397"/>
                </a:lnTo>
                <a:lnTo>
                  <a:pt x="9960064" y="6250038"/>
                </a:lnTo>
                <a:lnTo>
                  <a:pt x="9927349" y="6279362"/>
                </a:lnTo>
                <a:lnTo>
                  <a:pt x="9898012" y="6312090"/>
                </a:lnTo>
                <a:lnTo>
                  <a:pt x="9872370" y="6347892"/>
                </a:lnTo>
                <a:lnTo>
                  <a:pt x="9850717" y="6386474"/>
                </a:lnTo>
                <a:lnTo>
                  <a:pt x="9833343" y="6427559"/>
                </a:lnTo>
                <a:lnTo>
                  <a:pt x="9820567" y="6470815"/>
                </a:lnTo>
                <a:lnTo>
                  <a:pt x="9812680" y="6515963"/>
                </a:lnTo>
                <a:lnTo>
                  <a:pt x="9809988" y="6562687"/>
                </a:lnTo>
                <a:lnTo>
                  <a:pt x="9812680" y="6609410"/>
                </a:lnTo>
                <a:lnTo>
                  <a:pt x="9820567" y="6654559"/>
                </a:lnTo>
                <a:lnTo>
                  <a:pt x="9833343" y="6697815"/>
                </a:lnTo>
                <a:lnTo>
                  <a:pt x="9850717" y="6738887"/>
                </a:lnTo>
                <a:lnTo>
                  <a:pt x="9872370" y="6777482"/>
                </a:lnTo>
                <a:lnTo>
                  <a:pt x="9898012" y="6813283"/>
                </a:lnTo>
                <a:lnTo>
                  <a:pt x="9927349" y="6845998"/>
                </a:lnTo>
                <a:lnTo>
                  <a:pt x="9960064" y="6875323"/>
                </a:lnTo>
                <a:lnTo>
                  <a:pt x="9995865" y="6900964"/>
                </a:lnTo>
                <a:lnTo>
                  <a:pt x="10034460" y="6922617"/>
                </a:lnTo>
                <a:lnTo>
                  <a:pt x="10075532" y="6939991"/>
                </a:lnTo>
                <a:lnTo>
                  <a:pt x="10118788" y="6952767"/>
                </a:lnTo>
                <a:lnTo>
                  <a:pt x="10163937" y="6960654"/>
                </a:lnTo>
                <a:lnTo>
                  <a:pt x="10210660" y="6963346"/>
                </a:lnTo>
                <a:lnTo>
                  <a:pt x="10257384" y="6960654"/>
                </a:lnTo>
                <a:lnTo>
                  <a:pt x="10302532" y="6952767"/>
                </a:lnTo>
                <a:lnTo>
                  <a:pt x="10345788" y="6939991"/>
                </a:lnTo>
                <a:lnTo>
                  <a:pt x="10386873" y="6922617"/>
                </a:lnTo>
                <a:lnTo>
                  <a:pt x="10425455" y="6900964"/>
                </a:lnTo>
                <a:lnTo>
                  <a:pt x="10461257" y="6875323"/>
                </a:lnTo>
                <a:lnTo>
                  <a:pt x="10493985" y="6845998"/>
                </a:lnTo>
                <a:lnTo>
                  <a:pt x="10523309" y="6813283"/>
                </a:lnTo>
                <a:lnTo>
                  <a:pt x="10548950" y="6777482"/>
                </a:lnTo>
                <a:lnTo>
                  <a:pt x="10570604" y="6738887"/>
                </a:lnTo>
                <a:lnTo>
                  <a:pt x="10587977" y="6697815"/>
                </a:lnTo>
                <a:lnTo>
                  <a:pt x="10600754" y="6654559"/>
                </a:lnTo>
                <a:lnTo>
                  <a:pt x="10608640" y="6609410"/>
                </a:lnTo>
                <a:lnTo>
                  <a:pt x="10611333" y="6562687"/>
                </a:lnTo>
                <a:close/>
              </a:path>
              <a:path w="13428344" h="7560309">
                <a:moveTo>
                  <a:pt x="13427951" y="4216793"/>
                </a:moveTo>
                <a:lnTo>
                  <a:pt x="13384009" y="4191304"/>
                </a:lnTo>
                <a:lnTo>
                  <a:pt x="13342938" y="4173944"/>
                </a:lnTo>
                <a:lnTo>
                  <a:pt x="13299669" y="4161167"/>
                </a:lnTo>
                <a:lnTo>
                  <a:pt x="13254533" y="4153281"/>
                </a:lnTo>
                <a:lnTo>
                  <a:pt x="13207810" y="4150576"/>
                </a:lnTo>
                <a:lnTo>
                  <a:pt x="13161074" y="4153281"/>
                </a:lnTo>
                <a:lnTo>
                  <a:pt x="13115938" y="4161167"/>
                </a:lnTo>
                <a:lnTo>
                  <a:pt x="13072669" y="4173944"/>
                </a:lnTo>
                <a:lnTo>
                  <a:pt x="13031597" y="4191304"/>
                </a:lnTo>
                <a:lnTo>
                  <a:pt x="12993015" y="4212958"/>
                </a:lnTo>
                <a:lnTo>
                  <a:pt x="12957201" y="4238599"/>
                </a:lnTo>
                <a:lnTo>
                  <a:pt x="12924485" y="4267936"/>
                </a:lnTo>
                <a:lnTo>
                  <a:pt x="12895161" y="4300652"/>
                </a:lnTo>
                <a:lnTo>
                  <a:pt x="12869507" y="4336453"/>
                </a:lnTo>
                <a:lnTo>
                  <a:pt x="12847854" y="4375048"/>
                </a:lnTo>
                <a:lnTo>
                  <a:pt x="12830493" y="4416120"/>
                </a:lnTo>
                <a:lnTo>
                  <a:pt x="12817716" y="4459389"/>
                </a:lnTo>
                <a:lnTo>
                  <a:pt x="12809830" y="4504525"/>
                </a:lnTo>
                <a:lnTo>
                  <a:pt x="12807137" y="4551248"/>
                </a:lnTo>
                <a:lnTo>
                  <a:pt x="12809830" y="4597971"/>
                </a:lnTo>
                <a:lnTo>
                  <a:pt x="12817716" y="4643120"/>
                </a:lnTo>
                <a:lnTo>
                  <a:pt x="12830493" y="4686376"/>
                </a:lnTo>
                <a:lnTo>
                  <a:pt x="12847854" y="4727448"/>
                </a:lnTo>
                <a:lnTo>
                  <a:pt x="12869507" y="4766043"/>
                </a:lnTo>
                <a:lnTo>
                  <a:pt x="12895161" y="4801844"/>
                </a:lnTo>
                <a:lnTo>
                  <a:pt x="12924485" y="4834560"/>
                </a:lnTo>
                <a:lnTo>
                  <a:pt x="12957201" y="4863897"/>
                </a:lnTo>
                <a:lnTo>
                  <a:pt x="12993015" y="4889538"/>
                </a:lnTo>
                <a:lnTo>
                  <a:pt x="13031597" y="4911191"/>
                </a:lnTo>
                <a:lnTo>
                  <a:pt x="13072669" y="4928552"/>
                </a:lnTo>
                <a:lnTo>
                  <a:pt x="13115938" y="4941328"/>
                </a:lnTo>
                <a:lnTo>
                  <a:pt x="13161074" y="4949215"/>
                </a:lnTo>
                <a:lnTo>
                  <a:pt x="13207810" y="4951908"/>
                </a:lnTo>
                <a:lnTo>
                  <a:pt x="13254533" y="4949215"/>
                </a:lnTo>
                <a:lnTo>
                  <a:pt x="13299669" y="4941328"/>
                </a:lnTo>
                <a:lnTo>
                  <a:pt x="13342938" y="4928552"/>
                </a:lnTo>
                <a:lnTo>
                  <a:pt x="13384009" y="4911191"/>
                </a:lnTo>
                <a:lnTo>
                  <a:pt x="13422605" y="4889538"/>
                </a:lnTo>
                <a:lnTo>
                  <a:pt x="13427951" y="4885702"/>
                </a:lnTo>
                <a:lnTo>
                  <a:pt x="13427951" y="4216793"/>
                </a:lnTo>
                <a:close/>
              </a:path>
              <a:path w="13428344" h="7560309">
                <a:moveTo>
                  <a:pt x="13427951" y="2274125"/>
                </a:moveTo>
                <a:lnTo>
                  <a:pt x="13356323" y="2246414"/>
                </a:lnTo>
                <a:lnTo>
                  <a:pt x="13312559" y="2233130"/>
                </a:lnTo>
                <a:lnTo>
                  <a:pt x="13267868" y="2222106"/>
                </a:lnTo>
                <a:lnTo>
                  <a:pt x="13222300" y="2213419"/>
                </a:lnTo>
                <a:lnTo>
                  <a:pt x="13175920" y="2207120"/>
                </a:lnTo>
                <a:lnTo>
                  <a:pt x="13128803" y="2203297"/>
                </a:lnTo>
                <a:lnTo>
                  <a:pt x="13081013" y="2202015"/>
                </a:lnTo>
                <a:lnTo>
                  <a:pt x="13033223" y="2203297"/>
                </a:lnTo>
                <a:lnTo>
                  <a:pt x="12986106" y="2207120"/>
                </a:lnTo>
                <a:lnTo>
                  <a:pt x="12939725" y="2213419"/>
                </a:lnTo>
                <a:lnTo>
                  <a:pt x="12894158" y="2222106"/>
                </a:lnTo>
                <a:lnTo>
                  <a:pt x="12849454" y="2233130"/>
                </a:lnTo>
                <a:lnTo>
                  <a:pt x="12805702" y="2246414"/>
                </a:lnTo>
                <a:lnTo>
                  <a:pt x="12762954" y="2261908"/>
                </a:lnTo>
                <a:lnTo>
                  <a:pt x="12721273" y="2279535"/>
                </a:lnTo>
                <a:lnTo>
                  <a:pt x="12680722" y="2299233"/>
                </a:lnTo>
                <a:lnTo>
                  <a:pt x="12641390" y="2320937"/>
                </a:lnTo>
                <a:lnTo>
                  <a:pt x="12603328" y="2344572"/>
                </a:lnTo>
                <a:lnTo>
                  <a:pt x="12566599" y="2370074"/>
                </a:lnTo>
                <a:lnTo>
                  <a:pt x="12531281" y="2397379"/>
                </a:lnTo>
                <a:lnTo>
                  <a:pt x="12497422" y="2426411"/>
                </a:lnTo>
                <a:lnTo>
                  <a:pt x="12465114" y="2457132"/>
                </a:lnTo>
                <a:lnTo>
                  <a:pt x="12434392" y="2489441"/>
                </a:lnTo>
                <a:lnTo>
                  <a:pt x="12405360" y="2523299"/>
                </a:lnTo>
                <a:lnTo>
                  <a:pt x="12378055" y="2558618"/>
                </a:lnTo>
                <a:lnTo>
                  <a:pt x="12352541" y="2595346"/>
                </a:lnTo>
                <a:lnTo>
                  <a:pt x="12328919" y="2633408"/>
                </a:lnTo>
                <a:lnTo>
                  <a:pt x="12307214" y="2672753"/>
                </a:lnTo>
                <a:lnTo>
                  <a:pt x="12287517" y="2713291"/>
                </a:lnTo>
                <a:lnTo>
                  <a:pt x="12269889" y="2754973"/>
                </a:lnTo>
                <a:lnTo>
                  <a:pt x="12254395" y="2797721"/>
                </a:lnTo>
                <a:lnTo>
                  <a:pt x="12241111" y="2841485"/>
                </a:lnTo>
                <a:lnTo>
                  <a:pt x="12230087" y="2886176"/>
                </a:lnTo>
                <a:lnTo>
                  <a:pt x="12221388" y="2931744"/>
                </a:lnTo>
                <a:lnTo>
                  <a:pt x="12215101" y="2978124"/>
                </a:lnTo>
                <a:lnTo>
                  <a:pt x="12211279" y="3025241"/>
                </a:lnTo>
                <a:lnTo>
                  <a:pt x="12209996" y="3073031"/>
                </a:lnTo>
                <a:lnTo>
                  <a:pt x="12211279" y="3120821"/>
                </a:lnTo>
                <a:lnTo>
                  <a:pt x="12215101" y="3167938"/>
                </a:lnTo>
                <a:lnTo>
                  <a:pt x="12221388" y="3214319"/>
                </a:lnTo>
                <a:lnTo>
                  <a:pt x="12230087" y="3259886"/>
                </a:lnTo>
                <a:lnTo>
                  <a:pt x="12241111" y="3304578"/>
                </a:lnTo>
                <a:lnTo>
                  <a:pt x="12254395" y="3348342"/>
                </a:lnTo>
                <a:lnTo>
                  <a:pt x="12269889" y="3391090"/>
                </a:lnTo>
                <a:lnTo>
                  <a:pt x="12287517" y="3432772"/>
                </a:lnTo>
                <a:lnTo>
                  <a:pt x="12307214" y="3473310"/>
                </a:lnTo>
                <a:lnTo>
                  <a:pt x="12328919" y="3512655"/>
                </a:lnTo>
                <a:lnTo>
                  <a:pt x="12352541" y="3550716"/>
                </a:lnTo>
                <a:lnTo>
                  <a:pt x="12378055" y="3587445"/>
                </a:lnTo>
                <a:lnTo>
                  <a:pt x="12405360" y="3622764"/>
                </a:lnTo>
                <a:lnTo>
                  <a:pt x="12434392" y="3656622"/>
                </a:lnTo>
                <a:lnTo>
                  <a:pt x="12465114" y="3688931"/>
                </a:lnTo>
                <a:lnTo>
                  <a:pt x="12497422" y="3719639"/>
                </a:lnTo>
                <a:lnTo>
                  <a:pt x="12531281" y="3748684"/>
                </a:lnTo>
                <a:lnTo>
                  <a:pt x="12566599" y="3775989"/>
                </a:lnTo>
                <a:lnTo>
                  <a:pt x="12603328" y="3801491"/>
                </a:lnTo>
                <a:lnTo>
                  <a:pt x="12641390" y="3825125"/>
                </a:lnTo>
                <a:lnTo>
                  <a:pt x="12680722" y="3846830"/>
                </a:lnTo>
                <a:lnTo>
                  <a:pt x="12721273" y="3866527"/>
                </a:lnTo>
                <a:lnTo>
                  <a:pt x="12762954" y="3884155"/>
                </a:lnTo>
                <a:lnTo>
                  <a:pt x="12805702" y="3899636"/>
                </a:lnTo>
                <a:lnTo>
                  <a:pt x="12849454" y="3912933"/>
                </a:lnTo>
                <a:lnTo>
                  <a:pt x="12894158" y="3923957"/>
                </a:lnTo>
                <a:lnTo>
                  <a:pt x="12939725" y="3932644"/>
                </a:lnTo>
                <a:lnTo>
                  <a:pt x="12986106" y="3938930"/>
                </a:lnTo>
                <a:lnTo>
                  <a:pt x="13033223" y="3942753"/>
                </a:lnTo>
                <a:lnTo>
                  <a:pt x="13081013" y="3944048"/>
                </a:lnTo>
                <a:lnTo>
                  <a:pt x="13128803" y="3942753"/>
                </a:lnTo>
                <a:lnTo>
                  <a:pt x="13175920" y="3938930"/>
                </a:lnTo>
                <a:lnTo>
                  <a:pt x="13222300" y="3932644"/>
                </a:lnTo>
                <a:lnTo>
                  <a:pt x="13267868" y="3923957"/>
                </a:lnTo>
                <a:lnTo>
                  <a:pt x="13312559" y="3912933"/>
                </a:lnTo>
                <a:lnTo>
                  <a:pt x="13356323" y="3899636"/>
                </a:lnTo>
                <a:lnTo>
                  <a:pt x="13399072" y="3884155"/>
                </a:lnTo>
                <a:lnTo>
                  <a:pt x="13427951" y="3871938"/>
                </a:lnTo>
                <a:lnTo>
                  <a:pt x="13427951" y="2274125"/>
                </a:lnTo>
                <a:close/>
              </a:path>
            </a:pathLst>
          </a:custGeom>
          <a:solidFill>
            <a:srgbClr val="00AFFF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159032" y="323841"/>
            <a:ext cx="2409934" cy="8659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42828" y="4045890"/>
            <a:ext cx="2694661" cy="8659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9BF7EEC-507A-5DAF-041E-6C88DA7CD38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59810" y="5994450"/>
            <a:ext cx="2177679" cy="8659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56A3293-0A25-9254-24C1-0102A4EFA6AA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528540" y="569748"/>
            <a:ext cx="2993617" cy="2953425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278CA799-987B-A375-4C17-9D3DEB73736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129092" y="2844799"/>
            <a:ext cx="5166198" cy="5096837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50AD25F3-855C-5EB6-FE7B-3C66BC00A2E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7221221" y="-501494"/>
            <a:ext cx="3537548" cy="34900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296069B-042B-27A3-FD0E-ECE4DCE3A473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9173795" y="3523173"/>
            <a:ext cx="2005782" cy="1978853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272690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Slide -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object 13">
            <a:extLst>
              <a:ext uri="{FF2B5EF4-FFF2-40B4-BE49-F238E27FC236}">
                <a16:creationId xmlns:a16="http://schemas.microsoft.com/office/drawing/2014/main" id="{A0C82D7B-43A0-E7DA-A947-D2D94D26026C}"/>
              </a:ext>
            </a:extLst>
          </p:cNvPr>
          <p:cNvSpPr/>
          <p:nvPr/>
        </p:nvSpPr>
        <p:spPr>
          <a:xfrm rot="10800000">
            <a:off x="11287374" y="7555196"/>
            <a:ext cx="371988" cy="386441"/>
          </a:xfrm>
          <a:custGeom>
            <a:avLst/>
            <a:gdLst/>
            <a:ahLst/>
            <a:cxnLst/>
            <a:rect l="l" t="t" r="r" b="b"/>
            <a:pathLst>
              <a:path w="382905" h="388619">
                <a:moveTo>
                  <a:pt x="191198" y="0"/>
                </a:moveTo>
                <a:lnTo>
                  <a:pt x="147361" y="5131"/>
                </a:lnTo>
                <a:lnTo>
                  <a:pt x="107117" y="19747"/>
                </a:lnTo>
                <a:lnTo>
                  <a:pt x="71617" y="42682"/>
                </a:lnTo>
                <a:lnTo>
                  <a:pt x="42006" y="72771"/>
                </a:lnTo>
                <a:lnTo>
                  <a:pt x="19435" y="108846"/>
                </a:lnTo>
                <a:lnTo>
                  <a:pt x="5050" y="149744"/>
                </a:lnTo>
                <a:lnTo>
                  <a:pt x="0" y="194297"/>
                </a:lnTo>
                <a:lnTo>
                  <a:pt x="5050" y="238850"/>
                </a:lnTo>
                <a:lnTo>
                  <a:pt x="19435" y="279750"/>
                </a:lnTo>
                <a:lnTo>
                  <a:pt x="42006" y="315828"/>
                </a:lnTo>
                <a:lnTo>
                  <a:pt x="71617" y="345919"/>
                </a:lnTo>
                <a:lnTo>
                  <a:pt x="107117" y="368857"/>
                </a:lnTo>
                <a:lnTo>
                  <a:pt x="147361" y="383475"/>
                </a:lnTo>
                <a:lnTo>
                  <a:pt x="191198" y="388607"/>
                </a:lnTo>
                <a:lnTo>
                  <a:pt x="235039" y="383475"/>
                </a:lnTo>
                <a:lnTo>
                  <a:pt x="275284" y="368857"/>
                </a:lnTo>
                <a:lnTo>
                  <a:pt x="310785" y="345919"/>
                </a:lnTo>
                <a:lnTo>
                  <a:pt x="340394" y="315828"/>
                </a:lnTo>
                <a:lnTo>
                  <a:pt x="362964" y="279750"/>
                </a:lnTo>
                <a:lnTo>
                  <a:pt x="377347" y="238850"/>
                </a:lnTo>
                <a:lnTo>
                  <a:pt x="382397" y="194297"/>
                </a:lnTo>
                <a:lnTo>
                  <a:pt x="377347" y="149744"/>
                </a:lnTo>
                <a:lnTo>
                  <a:pt x="362964" y="108846"/>
                </a:lnTo>
                <a:lnTo>
                  <a:pt x="340394" y="72771"/>
                </a:lnTo>
                <a:lnTo>
                  <a:pt x="310785" y="42682"/>
                </a:lnTo>
                <a:lnTo>
                  <a:pt x="275284" y="19747"/>
                </a:lnTo>
                <a:lnTo>
                  <a:pt x="235039" y="5131"/>
                </a:lnTo>
                <a:lnTo>
                  <a:pt x="191198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BA238379-38B4-1ED0-2EBC-33F28CE277AE}"/>
              </a:ext>
            </a:extLst>
          </p:cNvPr>
          <p:cNvSpPr/>
          <p:nvPr/>
        </p:nvSpPr>
        <p:spPr>
          <a:xfrm rot="10800000">
            <a:off x="11127502" y="7012374"/>
            <a:ext cx="313382" cy="325822"/>
          </a:xfrm>
          <a:custGeom>
            <a:avLst/>
            <a:gdLst/>
            <a:ahLst/>
            <a:cxnLst/>
            <a:rect l="l" t="t" r="r" b="b"/>
            <a:pathLst>
              <a:path w="322580" h="327659">
                <a:moveTo>
                  <a:pt x="161213" y="0"/>
                </a:moveTo>
                <a:lnTo>
                  <a:pt x="118355" y="5851"/>
                </a:lnTo>
                <a:lnTo>
                  <a:pt x="79844" y="22366"/>
                </a:lnTo>
                <a:lnTo>
                  <a:pt x="47217" y="47982"/>
                </a:lnTo>
                <a:lnTo>
                  <a:pt x="22009" y="81138"/>
                </a:lnTo>
                <a:lnTo>
                  <a:pt x="5758" y="120275"/>
                </a:lnTo>
                <a:lnTo>
                  <a:pt x="0" y="163830"/>
                </a:lnTo>
                <a:lnTo>
                  <a:pt x="5758" y="207380"/>
                </a:lnTo>
                <a:lnTo>
                  <a:pt x="22009" y="246515"/>
                </a:lnTo>
                <a:lnTo>
                  <a:pt x="47217" y="279673"/>
                </a:lnTo>
                <a:lnTo>
                  <a:pt x="79844" y="305291"/>
                </a:lnTo>
                <a:lnTo>
                  <a:pt x="118355" y="321807"/>
                </a:lnTo>
                <a:lnTo>
                  <a:pt x="161213" y="327660"/>
                </a:lnTo>
                <a:lnTo>
                  <a:pt x="204072" y="321807"/>
                </a:lnTo>
                <a:lnTo>
                  <a:pt x="242583" y="305291"/>
                </a:lnTo>
                <a:lnTo>
                  <a:pt x="275210" y="279673"/>
                </a:lnTo>
                <a:lnTo>
                  <a:pt x="300418" y="246515"/>
                </a:lnTo>
                <a:lnTo>
                  <a:pt x="316669" y="207380"/>
                </a:lnTo>
                <a:lnTo>
                  <a:pt x="322427" y="163830"/>
                </a:lnTo>
                <a:lnTo>
                  <a:pt x="316669" y="120275"/>
                </a:lnTo>
                <a:lnTo>
                  <a:pt x="300418" y="81138"/>
                </a:lnTo>
                <a:lnTo>
                  <a:pt x="275210" y="47982"/>
                </a:lnTo>
                <a:lnTo>
                  <a:pt x="242583" y="22366"/>
                </a:lnTo>
                <a:lnTo>
                  <a:pt x="204072" y="5851"/>
                </a:lnTo>
                <a:lnTo>
                  <a:pt x="161213" y="0"/>
                </a:lnTo>
                <a:close/>
              </a:path>
            </a:pathLst>
          </a:custGeom>
          <a:solidFill>
            <a:srgbClr val="0E5C77">
              <a:alpha val="19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57BDDD7-B931-B769-D505-43BF2BAE0273}"/>
              </a:ext>
            </a:extLst>
          </p:cNvPr>
          <p:cNvGrpSpPr/>
          <p:nvPr userDrawn="1"/>
        </p:nvGrpSpPr>
        <p:grpSpPr>
          <a:xfrm>
            <a:off x="10681097" y="5820975"/>
            <a:ext cx="651156" cy="708550"/>
            <a:chOff x="5598848" y="1620229"/>
            <a:chExt cx="2190115" cy="2383155"/>
          </a:xfrm>
        </p:grpSpPr>
        <p:pic>
          <p:nvPicPr>
            <p:cNvPr id="6" name="object 42">
              <a:extLst>
                <a:ext uri="{FF2B5EF4-FFF2-40B4-BE49-F238E27FC236}">
                  <a16:creationId xmlns:a16="http://schemas.microsoft.com/office/drawing/2014/main" id="{B0316D10-AB7F-7247-2309-FF6E189194BC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1630" y="1899091"/>
              <a:ext cx="113817" cy="115671"/>
            </a:xfrm>
            <a:prstGeom prst="rect">
              <a:avLst/>
            </a:prstGeom>
          </p:spPr>
        </p:pic>
        <p:pic>
          <p:nvPicPr>
            <p:cNvPr id="7" name="object 43">
              <a:extLst>
                <a:ext uri="{FF2B5EF4-FFF2-40B4-BE49-F238E27FC236}">
                  <a16:creationId xmlns:a16="http://schemas.microsoft.com/office/drawing/2014/main" id="{74F3DB94-6083-9227-318F-D47A76A048F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598848" y="1620229"/>
              <a:ext cx="2189904" cy="2382902"/>
            </a:xfrm>
            <a:prstGeom prst="rect">
              <a:avLst/>
            </a:prstGeom>
          </p:spPr>
        </p:pic>
        <p:pic>
          <p:nvPicPr>
            <p:cNvPr id="13" name="object 44">
              <a:extLst>
                <a:ext uri="{FF2B5EF4-FFF2-40B4-BE49-F238E27FC236}">
                  <a16:creationId xmlns:a16="http://schemas.microsoft.com/office/drawing/2014/main" id="{58167220-AAA0-C719-AE15-32888A8561F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871611" y="1669224"/>
              <a:ext cx="175945" cy="178803"/>
            </a:xfrm>
            <a:prstGeom prst="rect">
              <a:avLst/>
            </a:prstGeom>
          </p:spPr>
        </p:pic>
      </p:grp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1FC42D7-181E-CBB1-98A3-2AD2D7BED320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7658028" y="4109545"/>
            <a:ext cx="4243583" cy="1436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accent3"/>
                </a:solidFill>
                <a:latin typeface="Quicksand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object 7">
            <a:extLst>
              <a:ext uri="{FF2B5EF4-FFF2-40B4-BE49-F238E27FC236}">
                <a16:creationId xmlns:a16="http://schemas.microsoft.com/office/drawing/2014/main" id="{8553A972-1E95-D470-43E7-20722BD9B698}"/>
              </a:ext>
            </a:extLst>
          </p:cNvPr>
          <p:cNvSpPr/>
          <p:nvPr userDrawn="1"/>
        </p:nvSpPr>
        <p:spPr>
          <a:xfrm>
            <a:off x="8504433" y="4290554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20" h="502920">
                <a:moveTo>
                  <a:pt x="251434" y="0"/>
                </a:moveTo>
                <a:lnTo>
                  <a:pt x="206239" y="4051"/>
                </a:lnTo>
                <a:lnTo>
                  <a:pt x="163701" y="15730"/>
                </a:lnTo>
                <a:lnTo>
                  <a:pt x="124531" y="34328"/>
                </a:lnTo>
                <a:lnTo>
                  <a:pt x="89439" y="59134"/>
                </a:lnTo>
                <a:lnTo>
                  <a:pt x="59134" y="89439"/>
                </a:lnTo>
                <a:lnTo>
                  <a:pt x="34328" y="124531"/>
                </a:lnTo>
                <a:lnTo>
                  <a:pt x="15730" y="163701"/>
                </a:lnTo>
                <a:lnTo>
                  <a:pt x="4051" y="206239"/>
                </a:lnTo>
                <a:lnTo>
                  <a:pt x="0" y="251434"/>
                </a:lnTo>
                <a:lnTo>
                  <a:pt x="4051" y="296626"/>
                </a:lnTo>
                <a:lnTo>
                  <a:pt x="15730" y="339160"/>
                </a:lnTo>
                <a:lnTo>
                  <a:pt x="34328" y="378328"/>
                </a:lnTo>
                <a:lnTo>
                  <a:pt x="59134" y="413419"/>
                </a:lnTo>
                <a:lnTo>
                  <a:pt x="89439" y="443722"/>
                </a:lnTo>
                <a:lnTo>
                  <a:pt x="124531" y="468528"/>
                </a:lnTo>
                <a:lnTo>
                  <a:pt x="163701" y="487126"/>
                </a:lnTo>
                <a:lnTo>
                  <a:pt x="206239" y="498805"/>
                </a:lnTo>
                <a:lnTo>
                  <a:pt x="251434" y="502856"/>
                </a:lnTo>
                <a:lnTo>
                  <a:pt x="296629" y="498805"/>
                </a:lnTo>
                <a:lnTo>
                  <a:pt x="339165" y="487126"/>
                </a:lnTo>
                <a:lnTo>
                  <a:pt x="378334" y="468528"/>
                </a:lnTo>
                <a:lnTo>
                  <a:pt x="413424" y="443722"/>
                </a:lnTo>
                <a:lnTo>
                  <a:pt x="443726" y="413419"/>
                </a:lnTo>
                <a:lnTo>
                  <a:pt x="468531" y="378328"/>
                </a:lnTo>
                <a:lnTo>
                  <a:pt x="487127" y="339160"/>
                </a:lnTo>
                <a:lnTo>
                  <a:pt x="498805" y="296626"/>
                </a:lnTo>
                <a:lnTo>
                  <a:pt x="502856" y="251434"/>
                </a:lnTo>
                <a:lnTo>
                  <a:pt x="498805" y="206239"/>
                </a:lnTo>
                <a:lnTo>
                  <a:pt x="487127" y="163701"/>
                </a:lnTo>
                <a:lnTo>
                  <a:pt x="468531" y="124531"/>
                </a:lnTo>
                <a:lnTo>
                  <a:pt x="443726" y="89439"/>
                </a:lnTo>
                <a:lnTo>
                  <a:pt x="413424" y="59134"/>
                </a:lnTo>
                <a:lnTo>
                  <a:pt x="378334" y="34328"/>
                </a:lnTo>
                <a:lnTo>
                  <a:pt x="339165" y="15730"/>
                </a:lnTo>
                <a:lnTo>
                  <a:pt x="296629" y="4051"/>
                </a:lnTo>
                <a:lnTo>
                  <a:pt x="251434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8">
            <a:extLst>
              <a:ext uri="{FF2B5EF4-FFF2-40B4-BE49-F238E27FC236}">
                <a16:creationId xmlns:a16="http://schemas.microsoft.com/office/drawing/2014/main" id="{745FCC51-35A5-6552-1BCA-809EA904C4EA}"/>
              </a:ext>
            </a:extLst>
          </p:cNvPr>
          <p:cNvSpPr/>
          <p:nvPr userDrawn="1"/>
        </p:nvSpPr>
        <p:spPr>
          <a:xfrm>
            <a:off x="2057190" y="5942400"/>
            <a:ext cx="456048" cy="456048"/>
          </a:xfrm>
          <a:custGeom>
            <a:avLst/>
            <a:gdLst/>
            <a:ahLst/>
            <a:cxnLst/>
            <a:rect l="l" t="t" r="r" b="b"/>
            <a:pathLst>
              <a:path w="502919" h="502920">
                <a:moveTo>
                  <a:pt x="251421" y="0"/>
                </a:moveTo>
                <a:lnTo>
                  <a:pt x="206227" y="4050"/>
                </a:lnTo>
                <a:lnTo>
                  <a:pt x="163690" y="15730"/>
                </a:lnTo>
                <a:lnTo>
                  <a:pt x="124522" y="34328"/>
                </a:lnTo>
                <a:lnTo>
                  <a:pt x="89431" y="59133"/>
                </a:lnTo>
                <a:lnTo>
                  <a:pt x="59129" y="89437"/>
                </a:lnTo>
                <a:lnTo>
                  <a:pt x="34325" y="124527"/>
                </a:lnTo>
                <a:lnTo>
                  <a:pt x="15728" y="163695"/>
                </a:lnTo>
                <a:lnTo>
                  <a:pt x="4050" y="206230"/>
                </a:lnTo>
                <a:lnTo>
                  <a:pt x="0" y="251421"/>
                </a:lnTo>
                <a:lnTo>
                  <a:pt x="4050" y="296617"/>
                </a:lnTo>
                <a:lnTo>
                  <a:pt x="15728" y="339154"/>
                </a:lnTo>
                <a:lnTo>
                  <a:pt x="34325" y="378325"/>
                </a:lnTo>
                <a:lnTo>
                  <a:pt x="59129" y="413417"/>
                </a:lnTo>
                <a:lnTo>
                  <a:pt x="89431" y="443721"/>
                </a:lnTo>
                <a:lnTo>
                  <a:pt x="124522" y="468527"/>
                </a:lnTo>
                <a:lnTo>
                  <a:pt x="163690" y="487125"/>
                </a:lnTo>
                <a:lnTo>
                  <a:pt x="206227" y="498805"/>
                </a:lnTo>
                <a:lnTo>
                  <a:pt x="251421" y="502856"/>
                </a:lnTo>
                <a:lnTo>
                  <a:pt x="296617" y="498805"/>
                </a:lnTo>
                <a:lnTo>
                  <a:pt x="339154" y="487125"/>
                </a:lnTo>
                <a:lnTo>
                  <a:pt x="378325" y="468527"/>
                </a:lnTo>
                <a:lnTo>
                  <a:pt x="413417" y="443721"/>
                </a:lnTo>
                <a:lnTo>
                  <a:pt x="443721" y="413417"/>
                </a:lnTo>
                <a:lnTo>
                  <a:pt x="468527" y="378325"/>
                </a:lnTo>
                <a:lnTo>
                  <a:pt x="487125" y="339154"/>
                </a:lnTo>
                <a:lnTo>
                  <a:pt x="498805" y="296617"/>
                </a:lnTo>
                <a:lnTo>
                  <a:pt x="502856" y="251421"/>
                </a:lnTo>
                <a:lnTo>
                  <a:pt x="498805" y="206230"/>
                </a:lnTo>
                <a:lnTo>
                  <a:pt x="487125" y="163695"/>
                </a:lnTo>
                <a:lnTo>
                  <a:pt x="468527" y="124527"/>
                </a:lnTo>
                <a:lnTo>
                  <a:pt x="443721" y="89437"/>
                </a:lnTo>
                <a:lnTo>
                  <a:pt x="413417" y="59133"/>
                </a:lnTo>
                <a:lnTo>
                  <a:pt x="378325" y="34328"/>
                </a:lnTo>
                <a:lnTo>
                  <a:pt x="339154" y="15730"/>
                </a:lnTo>
                <a:lnTo>
                  <a:pt x="296617" y="4050"/>
                </a:lnTo>
                <a:lnTo>
                  <a:pt x="251421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9">
            <a:extLst>
              <a:ext uri="{FF2B5EF4-FFF2-40B4-BE49-F238E27FC236}">
                <a16:creationId xmlns:a16="http://schemas.microsoft.com/office/drawing/2014/main" id="{C5EB0FD8-7C29-F50A-8BC6-F6015FCF50C1}"/>
              </a:ext>
            </a:extLst>
          </p:cNvPr>
          <p:cNvSpPr/>
          <p:nvPr userDrawn="1"/>
        </p:nvSpPr>
        <p:spPr>
          <a:xfrm>
            <a:off x="8267563" y="4977217"/>
            <a:ext cx="2079857" cy="1878320"/>
          </a:xfrm>
          <a:custGeom>
            <a:avLst/>
            <a:gdLst/>
            <a:ahLst/>
            <a:cxnLst/>
            <a:rect l="l" t="t" r="r" b="b"/>
            <a:pathLst>
              <a:path w="2293620" h="2071370">
                <a:moveTo>
                  <a:pt x="1146619" y="0"/>
                </a:moveTo>
                <a:lnTo>
                  <a:pt x="1098150" y="1005"/>
                </a:lnTo>
                <a:lnTo>
                  <a:pt x="1050193" y="3997"/>
                </a:lnTo>
                <a:lnTo>
                  <a:pt x="1002790" y="8933"/>
                </a:lnTo>
                <a:lnTo>
                  <a:pt x="955978" y="15776"/>
                </a:lnTo>
                <a:lnTo>
                  <a:pt x="909799" y="24484"/>
                </a:lnTo>
                <a:lnTo>
                  <a:pt x="864291" y="35018"/>
                </a:lnTo>
                <a:lnTo>
                  <a:pt x="819496" y="47339"/>
                </a:lnTo>
                <a:lnTo>
                  <a:pt x="775452" y="61406"/>
                </a:lnTo>
                <a:lnTo>
                  <a:pt x="732199" y="77180"/>
                </a:lnTo>
                <a:lnTo>
                  <a:pt x="689778" y="94621"/>
                </a:lnTo>
                <a:lnTo>
                  <a:pt x="648227" y="113689"/>
                </a:lnTo>
                <a:lnTo>
                  <a:pt x="607588" y="134344"/>
                </a:lnTo>
                <a:lnTo>
                  <a:pt x="567898" y="156547"/>
                </a:lnTo>
                <a:lnTo>
                  <a:pt x="529199" y="180257"/>
                </a:lnTo>
                <a:lnTo>
                  <a:pt x="491531" y="205436"/>
                </a:lnTo>
                <a:lnTo>
                  <a:pt x="454932" y="232042"/>
                </a:lnTo>
                <a:lnTo>
                  <a:pt x="419443" y="260037"/>
                </a:lnTo>
                <a:lnTo>
                  <a:pt x="385103" y="289380"/>
                </a:lnTo>
                <a:lnTo>
                  <a:pt x="351953" y="320032"/>
                </a:lnTo>
                <a:lnTo>
                  <a:pt x="320032" y="351953"/>
                </a:lnTo>
                <a:lnTo>
                  <a:pt x="289380" y="385103"/>
                </a:lnTo>
                <a:lnTo>
                  <a:pt x="260037" y="419443"/>
                </a:lnTo>
                <a:lnTo>
                  <a:pt x="232042" y="454932"/>
                </a:lnTo>
                <a:lnTo>
                  <a:pt x="205436" y="491531"/>
                </a:lnTo>
                <a:lnTo>
                  <a:pt x="180257" y="529199"/>
                </a:lnTo>
                <a:lnTo>
                  <a:pt x="156547" y="567898"/>
                </a:lnTo>
                <a:lnTo>
                  <a:pt x="134344" y="607588"/>
                </a:lnTo>
                <a:lnTo>
                  <a:pt x="113689" y="648227"/>
                </a:lnTo>
                <a:lnTo>
                  <a:pt x="94621" y="689778"/>
                </a:lnTo>
                <a:lnTo>
                  <a:pt x="77180" y="732199"/>
                </a:lnTo>
                <a:lnTo>
                  <a:pt x="61406" y="775452"/>
                </a:lnTo>
                <a:lnTo>
                  <a:pt x="47339" y="819496"/>
                </a:lnTo>
                <a:lnTo>
                  <a:pt x="35018" y="864291"/>
                </a:lnTo>
                <a:lnTo>
                  <a:pt x="24484" y="909799"/>
                </a:lnTo>
                <a:lnTo>
                  <a:pt x="15776" y="955978"/>
                </a:lnTo>
                <a:lnTo>
                  <a:pt x="8933" y="1002790"/>
                </a:lnTo>
                <a:lnTo>
                  <a:pt x="3997" y="1050193"/>
                </a:lnTo>
                <a:lnTo>
                  <a:pt x="1005" y="1098150"/>
                </a:lnTo>
                <a:lnTo>
                  <a:pt x="0" y="1146619"/>
                </a:lnTo>
                <a:lnTo>
                  <a:pt x="1005" y="1195088"/>
                </a:lnTo>
                <a:lnTo>
                  <a:pt x="3997" y="1243045"/>
                </a:lnTo>
                <a:lnTo>
                  <a:pt x="8933" y="1290448"/>
                </a:lnTo>
                <a:lnTo>
                  <a:pt x="15776" y="1337260"/>
                </a:lnTo>
                <a:lnTo>
                  <a:pt x="24484" y="1383439"/>
                </a:lnTo>
                <a:lnTo>
                  <a:pt x="35018" y="1428947"/>
                </a:lnTo>
                <a:lnTo>
                  <a:pt x="47339" y="1473742"/>
                </a:lnTo>
                <a:lnTo>
                  <a:pt x="61406" y="1517786"/>
                </a:lnTo>
                <a:lnTo>
                  <a:pt x="77180" y="1561039"/>
                </a:lnTo>
                <a:lnTo>
                  <a:pt x="94621" y="1603460"/>
                </a:lnTo>
                <a:lnTo>
                  <a:pt x="113689" y="1645011"/>
                </a:lnTo>
                <a:lnTo>
                  <a:pt x="134344" y="1685650"/>
                </a:lnTo>
                <a:lnTo>
                  <a:pt x="156547" y="1725340"/>
                </a:lnTo>
                <a:lnTo>
                  <a:pt x="180257" y="1764039"/>
                </a:lnTo>
                <a:lnTo>
                  <a:pt x="205436" y="1801707"/>
                </a:lnTo>
                <a:lnTo>
                  <a:pt x="232042" y="1838306"/>
                </a:lnTo>
                <a:lnTo>
                  <a:pt x="260037" y="1873795"/>
                </a:lnTo>
                <a:lnTo>
                  <a:pt x="289380" y="1908135"/>
                </a:lnTo>
                <a:lnTo>
                  <a:pt x="320032" y="1941285"/>
                </a:lnTo>
                <a:lnTo>
                  <a:pt x="351953" y="1973206"/>
                </a:lnTo>
                <a:lnTo>
                  <a:pt x="385103" y="2003858"/>
                </a:lnTo>
                <a:lnTo>
                  <a:pt x="419443" y="2033201"/>
                </a:lnTo>
                <a:lnTo>
                  <a:pt x="454932" y="2061196"/>
                </a:lnTo>
                <a:lnTo>
                  <a:pt x="468748" y="2071240"/>
                </a:lnTo>
                <a:lnTo>
                  <a:pt x="1824490" y="2071240"/>
                </a:lnTo>
                <a:lnTo>
                  <a:pt x="1873795" y="2033201"/>
                </a:lnTo>
                <a:lnTo>
                  <a:pt x="1908135" y="2003858"/>
                </a:lnTo>
                <a:lnTo>
                  <a:pt x="1941285" y="1973206"/>
                </a:lnTo>
                <a:lnTo>
                  <a:pt x="1973206" y="1941285"/>
                </a:lnTo>
                <a:lnTo>
                  <a:pt x="2003858" y="1908135"/>
                </a:lnTo>
                <a:lnTo>
                  <a:pt x="2033201" y="1873795"/>
                </a:lnTo>
                <a:lnTo>
                  <a:pt x="2061196" y="1838306"/>
                </a:lnTo>
                <a:lnTo>
                  <a:pt x="2087802" y="1801707"/>
                </a:lnTo>
                <a:lnTo>
                  <a:pt x="2112981" y="1764039"/>
                </a:lnTo>
                <a:lnTo>
                  <a:pt x="2136691" y="1725340"/>
                </a:lnTo>
                <a:lnTo>
                  <a:pt x="2158894" y="1685650"/>
                </a:lnTo>
                <a:lnTo>
                  <a:pt x="2179549" y="1645011"/>
                </a:lnTo>
                <a:lnTo>
                  <a:pt x="2198617" y="1603460"/>
                </a:lnTo>
                <a:lnTo>
                  <a:pt x="2216058" y="1561039"/>
                </a:lnTo>
                <a:lnTo>
                  <a:pt x="2231832" y="1517786"/>
                </a:lnTo>
                <a:lnTo>
                  <a:pt x="2245899" y="1473742"/>
                </a:lnTo>
                <a:lnTo>
                  <a:pt x="2258220" y="1428947"/>
                </a:lnTo>
                <a:lnTo>
                  <a:pt x="2268754" y="1383439"/>
                </a:lnTo>
                <a:lnTo>
                  <a:pt x="2277462" y="1337260"/>
                </a:lnTo>
                <a:lnTo>
                  <a:pt x="2284305" y="1290448"/>
                </a:lnTo>
                <a:lnTo>
                  <a:pt x="2289241" y="1243045"/>
                </a:lnTo>
                <a:lnTo>
                  <a:pt x="2292233" y="1195088"/>
                </a:lnTo>
                <a:lnTo>
                  <a:pt x="2293238" y="1146619"/>
                </a:lnTo>
                <a:lnTo>
                  <a:pt x="2292233" y="1098150"/>
                </a:lnTo>
                <a:lnTo>
                  <a:pt x="2289241" y="1050193"/>
                </a:lnTo>
                <a:lnTo>
                  <a:pt x="2284305" y="1002790"/>
                </a:lnTo>
                <a:lnTo>
                  <a:pt x="2277462" y="955978"/>
                </a:lnTo>
                <a:lnTo>
                  <a:pt x="2268754" y="909799"/>
                </a:lnTo>
                <a:lnTo>
                  <a:pt x="2258220" y="864291"/>
                </a:lnTo>
                <a:lnTo>
                  <a:pt x="2245899" y="819496"/>
                </a:lnTo>
                <a:lnTo>
                  <a:pt x="2231832" y="775452"/>
                </a:lnTo>
                <a:lnTo>
                  <a:pt x="2216058" y="732199"/>
                </a:lnTo>
                <a:lnTo>
                  <a:pt x="2198617" y="689778"/>
                </a:lnTo>
                <a:lnTo>
                  <a:pt x="2179549" y="648227"/>
                </a:lnTo>
                <a:lnTo>
                  <a:pt x="2158894" y="607588"/>
                </a:lnTo>
                <a:lnTo>
                  <a:pt x="2136691" y="567898"/>
                </a:lnTo>
                <a:lnTo>
                  <a:pt x="2112981" y="529199"/>
                </a:lnTo>
                <a:lnTo>
                  <a:pt x="2087802" y="491531"/>
                </a:lnTo>
                <a:lnTo>
                  <a:pt x="2061196" y="454932"/>
                </a:lnTo>
                <a:lnTo>
                  <a:pt x="2033201" y="419443"/>
                </a:lnTo>
                <a:lnTo>
                  <a:pt x="2003858" y="385103"/>
                </a:lnTo>
                <a:lnTo>
                  <a:pt x="1973206" y="351953"/>
                </a:lnTo>
                <a:lnTo>
                  <a:pt x="1941285" y="320032"/>
                </a:lnTo>
                <a:lnTo>
                  <a:pt x="1908135" y="289380"/>
                </a:lnTo>
                <a:lnTo>
                  <a:pt x="1873795" y="260037"/>
                </a:lnTo>
                <a:lnTo>
                  <a:pt x="1838306" y="232042"/>
                </a:lnTo>
                <a:lnTo>
                  <a:pt x="1801707" y="205436"/>
                </a:lnTo>
                <a:lnTo>
                  <a:pt x="1764039" y="180257"/>
                </a:lnTo>
                <a:lnTo>
                  <a:pt x="1725340" y="156547"/>
                </a:lnTo>
                <a:lnTo>
                  <a:pt x="1685650" y="134344"/>
                </a:lnTo>
                <a:lnTo>
                  <a:pt x="1645011" y="113689"/>
                </a:lnTo>
                <a:lnTo>
                  <a:pt x="1603460" y="94621"/>
                </a:lnTo>
                <a:lnTo>
                  <a:pt x="1561039" y="77180"/>
                </a:lnTo>
                <a:lnTo>
                  <a:pt x="1517786" y="61406"/>
                </a:lnTo>
                <a:lnTo>
                  <a:pt x="1473742" y="47339"/>
                </a:lnTo>
                <a:lnTo>
                  <a:pt x="1428947" y="35018"/>
                </a:lnTo>
                <a:lnTo>
                  <a:pt x="1383439" y="24484"/>
                </a:lnTo>
                <a:lnTo>
                  <a:pt x="1337260" y="15776"/>
                </a:lnTo>
                <a:lnTo>
                  <a:pt x="1290448" y="8933"/>
                </a:lnTo>
                <a:lnTo>
                  <a:pt x="1243045" y="3997"/>
                </a:lnTo>
                <a:lnTo>
                  <a:pt x="1195088" y="1005"/>
                </a:lnTo>
                <a:lnTo>
                  <a:pt x="1146619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A89A634F-3FAC-49AD-A2DA-F89F069C69B6}"/>
              </a:ext>
            </a:extLst>
          </p:cNvPr>
          <p:cNvSpPr/>
          <p:nvPr userDrawn="1"/>
        </p:nvSpPr>
        <p:spPr>
          <a:xfrm>
            <a:off x="10400414" y="1"/>
            <a:ext cx="1786189" cy="1731487"/>
          </a:xfrm>
          <a:custGeom>
            <a:avLst/>
            <a:gdLst/>
            <a:ahLst/>
            <a:cxnLst/>
            <a:rect l="l" t="t" r="r" b="b"/>
            <a:pathLst>
              <a:path w="1969769" h="1909445">
                <a:moveTo>
                  <a:pt x="1969200" y="0"/>
                </a:moveTo>
                <a:lnTo>
                  <a:pt x="290407" y="0"/>
                </a:lnTo>
                <a:lnTo>
                  <a:pt x="289380" y="1110"/>
                </a:lnTo>
                <a:lnTo>
                  <a:pt x="260037" y="35449"/>
                </a:lnTo>
                <a:lnTo>
                  <a:pt x="232042" y="70938"/>
                </a:lnTo>
                <a:lnTo>
                  <a:pt x="205436" y="107537"/>
                </a:lnTo>
                <a:lnTo>
                  <a:pt x="180257" y="145206"/>
                </a:lnTo>
                <a:lnTo>
                  <a:pt x="156547" y="183905"/>
                </a:lnTo>
                <a:lnTo>
                  <a:pt x="134344" y="223594"/>
                </a:lnTo>
                <a:lnTo>
                  <a:pt x="113689" y="264234"/>
                </a:lnTo>
                <a:lnTo>
                  <a:pt x="94621" y="305784"/>
                </a:lnTo>
                <a:lnTo>
                  <a:pt x="77180" y="348206"/>
                </a:lnTo>
                <a:lnTo>
                  <a:pt x="61406" y="391458"/>
                </a:lnTo>
                <a:lnTo>
                  <a:pt x="47339" y="435502"/>
                </a:lnTo>
                <a:lnTo>
                  <a:pt x="35018" y="480298"/>
                </a:lnTo>
                <a:lnTo>
                  <a:pt x="24484" y="525805"/>
                </a:lnTo>
                <a:lnTo>
                  <a:pt x="15776" y="571984"/>
                </a:lnTo>
                <a:lnTo>
                  <a:pt x="8933" y="618796"/>
                </a:lnTo>
                <a:lnTo>
                  <a:pt x="3997" y="666200"/>
                </a:lnTo>
                <a:lnTo>
                  <a:pt x="1005" y="714156"/>
                </a:lnTo>
                <a:lnTo>
                  <a:pt x="0" y="762625"/>
                </a:lnTo>
                <a:lnTo>
                  <a:pt x="1005" y="811095"/>
                </a:lnTo>
                <a:lnTo>
                  <a:pt x="3997" y="859051"/>
                </a:lnTo>
                <a:lnTo>
                  <a:pt x="8933" y="906455"/>
                </a:lnTo>
                <a:lnTo>
                  <a:pt x="15776" y="953266"/>
                </a:lnTo>
                <a:lnTo>
                  <a:pt x="24484" y="999446"/>
                </a:lnTo>
                <a:lnTo>
                  <a:pt x="35018" y="1044953"/>
                </a:lnTo>
                <a:lnTo>
                  <a:pt x="47339" y="1089748"/>
                </a:lnTo>
                <a:lnTo>
                  <a:pt x="61406" y="1133792"/>
                </a:lnTo>
                <a:lnTo>
                  <a:pt x="77180" y="1177045"/>
                </a:lnTo>
                <a:lnTo>
                  <a:pt x="94621" y="1219467"/>
                </a:lnTo>
                <a:lnTo>
                  <a:pt x="113689" y="1261017"/>
                </a:lnTo>
                <a:lnTo>
                  <a:pt x="134344" y="1301657"/>
                </a:lnTo>
                <a:lnTo>
                  <a:pt x="156547" y="1341346"/>
                </a:lnTo>
                <a:lnTo>
                  <a:pt x="180257" y="1380045"/>
                </a:lnTo>
                <a:lnTo>
                  <a:pt x="205436" y="1417714"/>
                </a:lnTo>
                <a:lnTo>
                  <a:pt x="232042" y="1454312"/>
                </a:lnTo>
                <a:lnTo>
                  <a:pt x="260037" y="1489801"/>
                </a:lnTo>
                <a:lnTo>
                  <a:pt x="289380" y="1524141"/>
                </a:lnTo>
                <a:lnTo>
                  <a:pt x="320032" y="1557291"/>
                </a:lnTo>
                <a:lnTo>
                  <a:pt x="351953" y="1589212"/>
                </a:lnTo>
                <a:lnTo>
                  <a:pt x="385103" y="1619864"/>
                </a:lnTo>
                <a:lnTo>
                  <a:pt x="419443" y="1649207"/>
                </a:lnTo>
                <a:lnTo>
                  <a:pt x="454932" y="1677202"/>
                </a:lnTo>
                <a:lnTo>
                  <a:pt x="491531" y="1703809"/>
                </a:lnTo>
                <a:lnTo>
                  <a:pt x="529199" y="1728987"/>
                </a:lnTo>
                <a:lnTo>
                  <a:pt x="567898" y="1752698"/>
                </a:lnTo>
                <a:lnTo>
                  <a:pt x="607588" y="1774900"/>
                </a:lnTo>
                <a:lnTo>
                  <a:pt x="648227" y="1795556"/>
                </a:lnTo>
                <a:lnTo>
                  <a:pt x="689778" y="1814623"/>
                </a:lnTo>
                <a:lnTo>
                  <a:pt x="732199" y="1832064"/>
                </a:lnTo>
                <a:lnTo>
                  <a:pt x="775452" y="1847838"/>
                </a:lnTo>
                <a:lnTo>
                  <a:pt x="819496" y="1861905"/>
                </a:lnTo>
                <a:lnTo>
                  <a:pt x="864291" y="1874226"/>
                </a:lnTo>
                <a:lnTo>
                  <a:pt x="909799" y="1884760"/>
                </a:lnTo>
                <a:lnTo>
                  <a:pt x="955978" y="1893469"/>
                </a:lnTo>
                <a:lnTo>
                  <a:pt x="1002790" y="1900311"/>
                </a:lnTo>
                <a:lnTo>
                  <a:pt x="1050193" y="1905248"/>
                </a:lnTo>
                <a:lnTo>
                  <a:pt x="1098150" y="1908239"/>
                </a:lnTo>
                <a:lnTo>
                  <a:pt x="1146619" y="1909245"/>
                </a:lnTo>
                <a:lnTo>
                  <a:pt x="1195088" y="1908239"/>
                </a:lnTo>
                <a:lnTo>
                  <a:pt x="1243045" y="1905248"/>
                </a:lnTo>
                <a:lnTo>
                  <a:pt x="1290448" y="1900311"/>
                </a:lnTo>
                <a:lnTo>
                  <a:pt x="1337260" y="1893469"/>
                </a:lnTo>
                <a:lnTo>
                  <a:pt x="1383439" y="1884760"/>
                </a:lnTo>
                <a:lnTo>
                  <a:pt x="1428947" y="1874226"/>
                </a:lnTo>
                <a:lnTo>
                  <a:pt x="1473742" y="1861905"/>
                </a:lnTo>
                <a:lnTo>
                  <a:pt x="1517786" y="1847838"/>
                </a:lnTo>
                <a:lnTo>
                  <a:pt x="1561039" y="1832064"/>
                </a:lnTo>
                <a:lnTo>
                  <a:pt x="1603460" y="1814623"/>
                </a:lnTo>
                <a:lnTo>
                  <a:pt x="1645011" y="1795556"/>
                </a:lnTo>
                <a:lnTo>
                  <a:pt x="1685650" y="1774900"/>
                </a:lnTo>
                <a:lnTo>
                  <a:pt x="1725340" y="1752698"/>
                </a:lnTo>
                <a:lnTo>
                  <a:pt x="1764039" y="1728987"/>
                </a:lnTo>
                <a:lnTo>
                  <a:pt x="1801707" y="1703809"/>
                </a:lnTo>
                <a:lnTo>
                  <a:pt x="1838306" y="1677202"/>
                </a:lnTo>
                <a:lnTo>
                  <a:pt x="1873795" y="1649207"/>
                </a:lnTo>
                <a:lnTo>
                  <a:pt x="1908135" y="1619864"/>
                </a:lnTo>
                <a:lnTo>
                  <a:pt x="1941285" y="1589212"/>
                </a:lnTo>
                <a:lnTo>
                  <a:pt x="1969200" y="1561297"/>
                </a:lnTo>
                <a:lnTo>
                  <a:pt x="1969200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11">
            <a:extLst>
              <a:ext uri="{FF2B5EF4-FFF2-40B4-BE49-F238E27FC236}">
                <a16:creationId xmlns:a16="http://schemas.microsoft.com/office/drawing/2014/main" id="{070B18B0-0A28-9977-5483-AE34A87FCE5C}"/>
              </a:ext>
            </a:extLst>
          </p:cNvPr>
          <p:cNvSpPr/>
          <p:nvPr userDrawn="1"/>
        </p:nvSpPr>
        <p:spPr>
          <a:xfrm>
            <a:off x="4070293" y="0"/>
            <a:ext cx="2079857" cy="1720546"/>
          </a:xfrm>
          <a:custGeom>
            <a:avLst/>
            <a:gdLst/>
            <a:ahLst/>
            <a:cxnLst/>
            <a:rect l="l" t="t" r="r" b="b"/>
            <a:pathLst>
              <a:path w="2293620" h="1897380">
                <a:moveTo>
                  <a:pt x="2013162" y="0"/>
                </a:moveTo>
                <a:lnTo>
                  <a:pt x="280076" y="0"/>
                </a:lnTo>
                <a:lnTo>
                  <a:pt x="260037" y="23451"/>
                </a:lnTo>
                <a:lnTo>
                  <a:pt x="232042" y="58940"/>
                </a:lnTo>
                <a:lnTo>
                  <a:pt x="205436" y="95539"/>
                </a:lnTo>
                <a:lnTo>
                  <a:pt x="180257" y="133207"/>
                </a:lnTo>
                <a:lnTo>
                  <a:pt x="156547" y="171906"/>
                </a:lnTo>
                <a:lnTo>
                  <a:pt x="134344" y="211595"/>
                </a:lnTo>
                <a:lnTo>
                  <a:pt x="113689" y="252235"/>
                </a:lnTo>
                <a:lnTo>
                  <a:pt x="94621" y="293786"/>
                </a:lnTo>
                <a:lnTo>
                  <a:pt x="77180" y="336207"/>
                </a:lnTo>
                <a:lnTo>
                  <a:pt x="61406" y="379460"/>
                </a:lnTo>
                <a:lnTo>
                  <a:pt x="47339" y="423504"/>
                </a:lnTo>
                <a:lnTo>
                  <a:pt x="35018" y="468299"/>
                </a:lnTo>
                <a:lnTo>
                  <a:pt x="24484" y="513807"/>
                </a:lnTo>
                <a:lnTo>
                  <a:pt x="15776" y="559986"/>
                </a:lnTo>
                <a:lnTo>
                  <a:pt x="8933" y="606797"/>
                </a:lnTo>
                <a:lnTo>
                  <a:pt x="3997" y="654201"/>
                </a:lnTo>
                <a:lnTo>
                  <a:pt x="1005" y="702158"/>
                </a:lnTo>
                <a:lnTo>
                  <a:pt x="0" y="750627"/>
                </a:lnTo>
                <a:lnTo>
                  <a:pt x="1005" y="799096"/>
                </a:lnTo>
                <a:lnTo>
                  <a:pt x="3997" y="847052"/>
                </a:lnTo>
                <a:lnTo>
                  <a:pt x="8933" y="894456"/>
                </a:lnTo>
                <a:lnTo>
                  <a:pt x="15776" y="941268"/>
                </a:lnTo>
                <a:lnTo>
                  <a:pt x="24484" y="987447"/>
                </a:lnTo>
                <a:lnTo>
                  <a:pt x="35018" y="1032954"/>
                </a:lnTo>
                <a:lnTo>
                  <a:pt x="47339" y="1077750"/>
                </a:lnTo>
                <a:lnTo>
                  <a:pt x="61406" y="1121794"/>
                </a:lnTo>
                <a:lnTo>
                  <a:pt x="77180" y="1165047"/>
                </a:lnTo>
                <a:lnTo>
                  <a:pt x="94621" y="1207468"/>
                </a:lnTo>
                <a:lnTo>
                  <a:pt x="113689" y="1249019"/>
                </a:lnTo>
                <a:lnTo>
                  <a:pt x="134344" y="1289658"/>
                </a:lnTo>
                <a:lnTo>
                  <a:pt x="156547" y="1329348"/>
                </a:lnTo>
                <a:lnTo>
                  <a:pt x="180257" y="1368046"/>
                </a:lnTo>
                <a:lnTo>
                  <a:pt x="205436" y="1405715"/>
                </a:lnTo>
                <a:lnTo>
                  <a:pt x="232042" y="1442314"/>
                </a:lnTo>
                <a:lnTo>
                  <a:pt x="260037" y="1477803"/>
                </a:lnTo>
                <a:lnTo>
                  <a:pt x="289380" y="1512142"/>
                </a:lnTo>
                <a:lnTo>
                  <a:pt x="320032" y="1545293"/>
                </a:lnTo>
                <a:lnTo>
                  <a:pt x="351953" y="1577214"/>
                </a:lnTo>
                <a:lnTo>
                  <a:pt x="385103" y="1607866"/>
                </a:lnTo>
                <a:lnTo>
                  <a:pt x="419443" y="1637209"/>
                </a:lnTo>
                <a:lnTo>
                  <a:pt x="454932" y="1665204"/>
                </a:lnTo>
                <a:lnTo>
                  <a:pt x="491531" y="1691810"/>
                </a:lnTo>
                <a:lnTo>
                  <a:pt x="529199" y="1716989"/>
                </a:lnTo>
                <a:lnTo>
                  <a:pt x="567898" y="1740699"/>
                </a:lnTo>
                <a:lnTo>
                  <a:pt x="607588" y="1762902"/>
                </a:lnTo>
                <a:lnTo>
                  <a:pt x="648227" y="1783557"/>
                </a:lnTo>
                <a:lnTo>
                  <a:pt x="689778" y="1802625"/>
                </a:lnTo>
                <a:lnTo>
                  <a:pt x="732199" y="1820066"/>
                </a:lnTo>
                <a:lnTo>
                  <a:pt x="775452" y="1835840"/>
                </a:lnTo>
                <a:lnTo>
                  <a:pt x="819496" y="1849907"/>
                </a:lnTo>
                <a:lnTo>
                  <a:pt x="864291" y="1862228"/>
                </a:lnTo>
                <a:lnTo>
                  <a:pt x="909799" y="1872762"/>
                </a:lnTo>
                <a:lnTo>
                  <a:pt x="955978" y="1881470"/>
                </a:lnTo>
                <a:lnTo>
                  <a:pt x="1002790" y="1888313"/>
                </a:lnTo>
                <a:lnTo>
                  <a:pt x="1050193" y="1893249"/>
                </a:lnTo>
                <a:lnTo>
                  <a:pt x="1098150" y="1896240"/>
                </a:lnTo>
                <a:lnTo>
                  <a:pt x="1146619" y="1897246"/>
                </a:lnTo>
                <a:lnTo>
                  <a:pt x="1195088" y="1896240"/>
                </a:lnTo>
                <a:lnTo>
                  <a:pt x="1243045" y="1893249"/>
                </a:lnTo>
                <a:lnTo>
                  <a:pt x="1290448" y="1888313"/>
                </a:lnTo>
                <a:lnTo>
                  <a:pt x="1337260" y="1881470"/>
                </a:lnTo>
                <a:lnTo>
                  <a:pt x="1383439" y="1872762"/>
                </a:lnTo>
                <a:lnTo>
                  <a:pt x="1428947" y="1862228"/>
                </a:lnTo>
                <a:lnTo>
                  <a:pt x="1473742" y="1849907"/>
                </a:lnTo>
                <a:lnTo>
                  <a:pt x="1517786" y="1835840"/>
                </a:lnTo>
                <a:lnTo>
                  <a:pt x="1561039" y="1820066"/>
                </a:lnTo>
                <a:lnTo>
                  <a:pt x="1603460" y="1802625"/>
                </a:lnTo>
                <a:lnTo>
                  <a:pt x="1645011" y="1783557"/>
                </a:lnTo>
                <a:lnTo>
                  <a:pt x="1685650" y="1762902"/>
                </a:lnTo>
                <a:lnTo>
                  <a:pt x="1725340" y="1740699"/>
                </a:lnTo>
                <a:lnTo>
                  <a:pt x="1764039" y="1716989"/>
                </a:lnTo>
                <a:lnTo>
                  <a:pt x="1801707" y="1691810"/>
                </a:lnTo>
                <a:lnTo>
                  <a:pt x="1838306" y="1665204"/>
                </a:lnTo>
                <a:lnTo>
                  <a:pt x="1873795" y="1637209"/>
                </a:lnTo>
                <a:lnTo>
                  <a:pt x="1908135" y="1607866"/>
                </a:lnTo>
                <a:lnTo>
                  <a:pt x="1941285" y="1577214"/>
                </a:lnTo>
                <a:lnTo>
                  <a:pt x="1973206" y="1545293"/>
                </a:lnTo>
                <a:lnTo>
                  <a:pt x="2003858" y="1512142"/>
                </a:lnTo>
                <a:lnTo>
                  <a:pt x="2033201" y="1477803"/>
                </a:lnTo>
                <a:lnTo>
                  <a:pt x="2061196" y="1442314"/>
                </a:lnTo>
                <a:lnTo>
                  <a:pt x="2087802" y="1405715"/>
                </a:lnTo>
                <a:lnTo>
                  <a:pt x="2112981" y="1368046"/>
                </a:lnTo>
                <a:lnTo>
                  <a:pt x="2136691" y="1329348"/>
                </a:lnTo>
                <a:lnTo>
                  <a:pt x="2158894" y="1289658"/>
                </a:lnTo>
                <a:lnTo>
                  <a:pt x="2179549" y="1249019"/>
                </a:lnTo>
                <a:lnTo>
                  <a:pt x="2198617" y="1207468"/>
                </a:lnTo>
                <a:lnTo>
                  <a:pt x="2216058" y="1165047"/>
                </a:lnTo>
                <a:lnTo>
                  <a:pt x="2231832" y="1121794"/>
                </a:lnTo>
                <a:lnTo>
                  <a:pt x="2245899" y="1077750"/>
                </a:lnTo>
                <a:lnTo>
                  <a:pt x="2258220" y="1032954"/>
                </a:lnTo>
                <a:lnTo>
                  <a:pt x="2268754" y="987447"/>
                </a:lnTo>
                <a:lnTo>
                  <a:pt x="2277462" y="941268"/>
                </a:lnTo>
                <a:lnTo>
                  <a:pt x="2284305" y="894456"/>
                </a:lnTo>
                <a:lnTo>
                  <a:pt x="2289241" y="847052"/>
                </a:lnTo>
                <a:lnTo>
                  <a:pt x="2292233" y="799096"/>
                </a:lnTo>
                <a:lnTo>
                  <a:pt x="2293239" y="750627"/>
                </a:lnTo>
                <a:lnTo>
                  <a:pt x="2292233" y="702158"/>
                </a:lnTo>
                <a:lnTo>
                  <a:pt x="2289241" y="654201"/>
                </a:lnTo>
                <a:lnTo>
                  <a:pt x="2284305" y="606797"/>
                </a:lnTo>
                <a:lnTo>
                  <a:pt x="2277462" y="559986"/>
                </a:lnTo>
                <a:lnTo>
                  <a:pt x="2268754" y="513807"/>
                </a:lnTo>
                <a:lnTo>
                  <a:pt x="2258220" y="468299"/>
                </a:lnTo>
                <a:lnTo>
                  <a:pt x="2245899" y="423504"/>
                </a:lnTo>
                <a:lnTo>
                  <a:pt x="2231832" y="379460"/>
                </a:lnTo>
                <a:lnTo>
                  <a:pt x="2216058" y="336207"/>
                </a:lnTo>
                <a:lnTo>
                  <a:pt x="2198617" y="293786"/>
                </a:lnTo>
                <a:lnTo>
                  <a:pt x="2179549" y="252235"/>
                </a:lnTo>
                <a:lnTo>
                  <a:pt x="2158894" y="211595"/>
                </a:lnTo>
                <a:lnTo>
                  <a:pt x="2136691" y="171906"/>
                </a:lnTo>
                <a:lnTo>
                  <a:pt x="2112981" y="133207"/>
                </a:lnTo>
                <a:lnTo>
                  <a:pt x="2087802" y="95539"/>
                </a:lnTo>
                <a:lnTo>
                  <a:pt x="2061196" y="58940"/>
                </a:lnTo>
                <a:lnTo>
                  <a:pt x="2033201" y="23451"/>
                </a:lnTo>
                <a:lnTo>
                  <a:pt x="201316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12">
            <a:extLst>
              <a:ext uri="{FF2B5EF4-FFF2-40B4-BE49-F238E27FC236}">
                <a16:creationId xmlns:a16="http://schemas.microsoft.com/office/drawing/2014/main" id="{FEF9B5F4-F996-526E-724D-8B9EB62F9A2B}"/>
              </a:ext>
            </a:extLst>
          </p:cNvPr>
          <p:cNvSpPr/>
          <p:nvPr userDrawn="1"/>
        </p:nvSpPr>
        <p:spPr>
          <a:xfrm>
            <a:off x="10321566" y="3966353"/>
            <a:ext cx="1580045" cy="1580045"/>
          </a:xfrm>
          <a:custGeom>
            <a:avLst/>
            <a:gdLst/>
            <a:ahLst/>
            <a:cxnLst/>
            <a:rect l="l" t="t" r="r" b="b"/>
            <a:pathLst>
              <a:path w="1742440" h="1742439">
                <a:moveTo>
                  <a:pt x="871016" y="0"/>
                </a:moveTo>
                <a:lnTo>
                  <a:pt x="823226" y="1288"/>
                </a:lnTo>
                <a:lnTo>
                  <a:pt x="776109" y="5110"/>
                </a:lnTo>
                <a:lnTo>
                  <a:pt x="729733" y="11400"/>
                </a:lnTo>
                <a:lnTo>
                  <a:pt x="684162" y="20089"/>
                </a:lnTo>
                <a:lnTo>
                  <a:pt x="639465" y="31113"/>
                </a:lnTo>
                <a:lnTo>
                  <a:pt x="595707" y="44404"/>
                </a:lnTo>
                <a:lnTo>
                  <a:pt x="552955" y="59897"/>
                </a:lnTo>
                <a:lnTo>
                  <a:pt x="511275" y="77525"/>
                </a:lnTo>
                <a:lnTo>
                  <a:pt x="470733" y="97221"/>
                </a:lnTo>
                <a:lnTo>
                  <a:pt x="431397" y="118919"/>
                </a:lnTo>
                <a:lnTo>
                  <a:pt x="393332" y="142552"/>
                </a:lnTo>
                <a:lnTo>
                  <a:pt x="356605" y="168055"/>
                </a:lnTo>
                <a:lnTo>
                  <a:pt x="321282" y="195360"/>
                </a:lnTo>
                <a:lnTo>
                  <a:pt x="287429" y="224402"/>
                </a:lnTo>
                <a:lnTo>
                  <a:pt x="255114" y="255114"/>
                </a:lnTo>
                <a:lnTo>
                  <a:pt x="224402" y="287429"/>
                </a:lnTo>
                <a:lnTo>
                  <a:pt x="195360" y="321282"/>
                </a:lnTo>
                <a:lnTo>
                  <a:pt x="168055" y="356605"/>
                </a:lnTo>
                <a:lnTo>
                  <a:pt x="142552" y="393332"/>
                </a:lnTo>
                <a:lnTo>
                  <a:pt x="118919" y="431397"/>
                </a:lnTo>
                <a:lnTo>
                  <a:pt x="97221" y="470733"/>
                </a:lnTo>
                <a:lnTo>
                  <a:pt x="77525" y="511275"/>
                </a:lnTo>
                <a:lnTo>
                  <a:pt x="59897" y="552955"/>
                </a:lnTo>
                <a:lnTo>
                  <a:pt x="44404" y="595707"/>
                </a:lnTo>
                <a:lnTo>
                  <a:pt x="31113" y="639465"/>
                </a:lnTo>
                <a:lnTo>
                  <a:pt x="20089" y="684162"/>
                </a:lnTo>
                <a:lnTo>
                  <a:pt x="11400" y="729733"/>
                </a:lnTo>
                <a:lnTo>
                  <a:pt x="5110" y="776109"/>
                </a:lnTo>
                <a:lnTo>
                  <a:pt x="1288" y="823226"/>
                </a:lnTo>
                <a:lnTo>
                  <a:pt x="0" y="871016"/>
                </a:lnTo>
                <a:lnTo>
                  <a:pt x="1288" y="918807"/>
                </a:lnTo>
                <a:lnTo>
                  <a:pt x="5110" y="965923"/>
                </a:lnTo>
                <a:lnTo>
                  <a:pt x="11400" y="1012300"/>
                </a:lnTo>
                <a:lnTo>
                  <a:pt x="20089" y="1057870"/>
                </a:lnTo>
                <a:lnTo>
                  <a:pt x="31113" y="1102568"/>
                </a:lnTo>
                <a:lnTo>
                  <a:pt x="44404" y="1146325"/>
                </a:lnTo>
                <a:lnTo>
                  <a:pt x="59897" y="1189078"/>
                </a:lnTo>
                <a:lnTo>
                  <a:pt x="77525" y="1230758"/>
                </a:lnTo>
                <a:lnTo>
                  <a:pt x="97221" y="1271299"/>
                </a:lnTo>
                <a:lnTo>
                  <a:pt x="118919" y="1310636"/>
                </a:lnTo>
                <a:lnTo>
                  <a:pt x="142552" y="1348701"/>
                </a:lnTo>
                <a:lnTo>
                  <a:pt x="168055" y="1385428"/>
                </a:lnTo>
                <a:lnTo>
                  <a:pt x="195360" y="1420751"/>
                </a:lnTo>
                <a:lnTo>
                  <a:pt x="224402" y="1454603"/>
                </a:lnTo>
                <a:lnTo>
                  <a:pt x="255114" y="1486919"/>
                </a:lnTo>
                <a:lnTo>
                  <a:pt x="287429" y="1517630"/>
                </a:lnTo>
                <a:lnTo>
                  <a:pt x="321282" y="1546672"/>
                </a:lnTo>
                <a:lnTo>
                  <a:pt x="356605" y="1573978"/>
                </a:lnTo>
                <a:lnTo>
                  <a:pt x="393332" y="1599480"/>
                </a:lnTo>
                <a:lnTo>
                  <a:pt x="431397" y="1623114"/>
                </a:lnTo>
                <a:lnTo>
                  <a:pt x="470733" y="1644812"/>
                </a:lnTo>
                <a:lnTo>
                  <a:pt x="511275" y="1664508"/>
                </a:lnTo>
                <a:lnTo>
                  <a:pt x="552955" y="1682136"/>
                </a:lnTo>
                <a:lnTo>
                  <a:pt x="595707" y="1697628"/>
                </a:lnTo>
                <a:lnTo>
                  <a:pt x="639465" y="1710920"/>
                </a:lnTo>
                <a:lnTo>
                  <a:pt x="684162" y="1721943"/>
                </a:lnTo>
                <a:lnTo>
                  <a:pt x="729733" y="1730633"/>
                </a:lnTo>
                <a:lnTo>
                  <a:pt x="776109" y="1736922"/>
                </a:lnTo>
                <a:lnTo>
                  <a:pt x="823226" y="1740744"/>
                </a:lnTo>
                <a:lnTo>
                  <a:pt x="871016" y="1742033"/>
                </a:lnTo>
                <a:lnTo>
                  <a:pt x="918807" y="1740744"/>
                </a:lnTo>
                <a:lnTo>
                  <a:pt x="965923" y="1736922"/>
                </a:lnTo>
                <a:lnTo>
                  <a:pt x="1012300" y="1730633"/>
                </a:lnTo>
                <a:lnTo>
                  <a:pt x="1057870" y="1721943"/>
                </a:lnTo>
                <a:lnTo>
                  <a:pt x="1102568" y="1710920"/>
                </a:lnTo>
                <a:lnTo>
                  <a:pt x="1146325" y="1697628"/>
                </a:lnTo>
                <a:lnTo>
                  <a:pt x="1189078" y="1682136"/>
                </a:lnTo>
                <a:lnTo>
                  <a:pt x="1230758" y="1664508"/>
                </a:lnTo>
                <a:lnTo>
                  <a:pt x="1271299" y="1644812"/>
                </a:lnTo>
                <a:lnTo>
                  <a:pt x="1310636" y="1623114"/>
                </a:lnTo>
                <a:lnTo>
                  <a:pt x="1348701" y="1599480"/>
                </a:lnTo>
                <a:lnTo>
                  <a:pt x="1385428" y="1573978"/>
                </a:lnTo>
                <a:lnTo>
                  <a:pt x="1420751" y="1546672"/>
                </a:lnTo>
                <a:lnTo>
                  <a:pt x="1454603" y="1517630"/>
                </a:lnTo>
                <a:lnTo>
                  <a:pt x="1486919" y="1486919"/>
                </a:lnTo>
                <a:lnTo>
                  <a:pt x="1517630" y="1454603"/>
                </a:lnTo>
                <a:lnTo>
                  <a:pt x="1546672" y="1420751"/>
                </a:lnTo>
                <a:lnTo>
                  <a:pt x="1573978" y="1385428"/>
                </a:lnTo>
                <a:lnTo>
                  <a:pt x="1599480" y="1348701"/>
                </a:lnTo>
                <a:lnTo>
                  <a:pt x="1623114" y="1310636"/>
                </a:lnTo>
                <a:lnTo>
                  <a:pt x="1644812" y="1271299"/>
                </a:lnTo>
                <a:lnTo>
                  <a:pt x="1664508" y="1230758"/>
                </a:lnTo>
                <a:lnTo>
                  <a:pt x="1682136" y="1189078"/>
                </a:lnTo>
                <a:lnTo>
                  <a:pt x="1697628" y="1146325"/>
                </a:lnTo>
                <a:lnTo>
                  <a:pt x="1710920" y="1102568"/>
                </a:lnTo>
                <a:lnTo>
                  <a:pt x="1721943" y="1057870"/>
                </a:lnTo>
                <a:lnTo>
                  <a:pt x="1730633" y="1012300"/>
                </a:lnTo>
                <a:lnTo>
                  <a:pt x="1736922" y="965923"/>
                </a:lnTo>
                <a:lnTo>
                  <a:pt x="1740744" y="918807"/>
                </a:lnTo>
                <a:lnTo>
                  <a:pt x="1742033" y="871016"/>
                </a:lnTo>
                <a:lnTo>
                  <a:pt x="1740744" y="823226"/>
                </a:lnTo>
                <a:lnTo>
                  <a:pt x="1736922" y="776109"/>
                </a:lnTo>
                <a:lnTo>
                  <a:pt x="1730633" y="729733"/>
                </a:lnTo>
                <a:lnTo>
                  <a:pt x="1721943" y="684162"/>
                </a:lnTo>
                <a:lnTo>
                  <a:pt x="1710920" y="639465"/>
                </a:lnTo>
                <a:lnTo>
                  <a:pt x="1697628" y="595707"/>
                </a:lnTo>
                <a:lnTo>
                  <a:pt x="1682136" y="552955"/>
                </a:lnTo>
                <a:lnTo>
                  <a:pt x="1664508" y="511275"/>
                </a:lnTo>
                <a:lnTo>
                  <a:pt x="1644812" y="470733"/>
                </a:lnTo>
                <a:lnTo>
                  <a:pt x="1623114" y="431397"/>
                </a:lnTo>
                <a:lnTo>
                  <a:pt x="1599480" y="393332"/>
                </a:lnTo>
                <a:lnTo>
                  <a:pt x="1573978" y="356605"/>
                </a:lnTo>
                <a:lnTo>
                  <a:pt x="1546672" y="321282"/>
                </a:lnTo>
                <a:lnTo>
                  <a:pt x="1517630" y="287429"/>
                </a:lnTo>
                <a:lnTo>
                  <a:pt x="1486919" y="255114"/>
                </a:lnTo>
                <a:lnTo>
                  <a:pt x="1454603" y="224402"/>
                </a:lnTo>
                <a:lnTo>
                  <a:pt x="1420751" y="195360"/>
                </a:lnTo>
                <a:lnTo>
                  <a:pt x="1385428" y="168055"/>
                </a:lnTo>
                <a:lnTo>
                  <a:pt x="1348701" y="142552"/>
                </a:lnTo>
                <a:lnTo>
                  <a:pt x="1310636" y="118919"/>
                </a:lnTo>
                <a:lnTo>
                  <a:pt x="1271299" y="97221"/>
                </a:lnTo>
                <a:lnTo>
                  <a:pt x="1230758" y="77525"/>
                </a:lnTo>
                <a:lnTo>
                  <a:pt x="1189078" y="59897"/>
                </a:lnTo>
                <a:lnTo>
                  <a:pt x="1146325" y="44404"/>
                </a:lnTo>
                <a:lnTo>
                  <a:pt x="1102568" y="31113"/>
                </a:lnTo>
                <a:lnTo>
                  <a:pt x="1057870" y="20089"/>
                </a:lnTo>
                <a:lnTo>
                  <a:pt x="1012300" y="11400"/>
                </a:lnTo>
                <a:lnTo>
                  <a:pt x="965923" y="5110"/>
                </a:lnTo>
                <a:lnTo>
                  <a:pt x="918807" y="1288"/>
                </a:lnTo>
                <a:lnTo>
                  <a:pt x="871016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13">
            <a:extLst>
              <a:ext uri="{FF2B5EF4-FFF2-40B4-BE49-F238E27FC236}">
                <a16:creationId xmlns:a16="http://schemas.microsoft.com/office/drawing/2014/main" id="{2E23C361-F404-8DEA-3669-F09536585986}"/>
              </a:ext>
            </a:extLst>
          </p:cNvPr>
          <p:cNvSpPr/>
          <p:nvPr userDrawn="1"/>
        </p:nvSpPr>
        <p:spPr>
          <a:xfrm>
            <a:off x="7835316" y="4563116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70" h="801370">
                <a:moveTo>
                  <a:pt x="400672" y="0"/>
                </a:moveTo>
                <a:lnTo>
                  <a:pt x="353945" y="2695"/>
                </a:lnTo>
                <a:lnTo>
                  <a:pt x="308801" y="10581"/>
                </a:lnTo>
                <a:lnTo>
                  <a:pt x="265542" y="23357"/>
                </a:lnTo>
                <a:lnTo>
                  <a:pt x="224466" y="40722"/>
                </a:lnTo>
                <a:lnTo>
                  <a:pt x="185876" y="62376"/>
                </a:lnTo>
                <a:lnTo>
                  <a:pt x="150072" y="88018"/>
                </a:lnTo>
                <a:lnTo>
                  <a:pt x="117354" y="117348"/>
                </a:lnTo>
                <a:lnTo>
                  <a:pt x="88023" y="150064"/>
                </a:lnTo>
                <a:lnTo>
                  <a:pt x="62379" y="185867"/>
                </a:lnTo>
                <a:lnTo>
                  <a:pt x="40724" y="224456"/>
                </a:lnTo>
                <a:lnTo>
                  <a:pt x="23358" y="265531"/>
                </a:lnTo>
                <a:lnTo>
                  <a:pt x="10582" y="308789"/>
                </a:lnTo>
                <a:lnTo>
                  <a:pt x="2695" y="353933"/>
                </a:lnTo>
                <a:lnTo>
                  <a:pt x="0" y="400659"/>
                </a:lnTo>
                <a:lnTo>
                  <a:pt x="2695" y="447386"/>
                </a:lnTo>
                <a:lnTo>
                  <a:pt x="10582" y="492529"/>
                </a:lnTo>
                <a:lnTo>
                  <a:pt x="23358" y="535789"/>
                </a:lnTo>
                <a:lnTo>
                  <a:pt x="40724" y="576864"/>
                </a:lnTo>
                <a:lnTo>
                  <a:pt x="62379" y="615455"/>
                </a:lnTo>
                <a:lnTo>
                  <a:pt x="88023" y="651259"/>
                </a:lnTo>
                <a:lnTo>
                  <a:pt x="117354" y="683977"/>
                </a:lnTo>
                <a:lnTo>
                  <a:pt x="150072" y="713308"/>
                </a:lnTo>
                <a:lnTo>
                  <a:pt x="185876" y="738951"/>
                </a:lnTo>
                <a:lnTo>
                  <a:pt x="224466" y="760607"/>
                </a:lnTo>
                <a:lnTo>
                  <a:pt x="265542" y="777973"/>
                </a:lnTo>
                <a:lnTo>
                  <a:pt x="308801" y="790749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49"/>
                </a:lnTo>
                <a:lnTo>
                  <a:pt x="535802" y="777973"/>
                </a:lnTo>
                <a:lnTo>
                  <a:pt x="576877" y="760607"/>
                </a:lnTo>
                <a:lnTo>
                  <a:pt x="615467" y="738951"/>
                </a:lnTo>
                <a:lnTo>
                  <a:pt x="651272" y="713308"/>
                </a:lnTo>
                <a:lnTo>
                  <a:pt x="683990" y="683977"/>
                </a:lnTo>
                <a:lnTo>
                  <a:pt x="713321" y="651259"/>
                </a:lnTo>
                <a:lnTo>
                  <a:pt x="738964" y="615455"/>
                </a:lnTo>
                <a:lnTo>
                  <a:pt x="760619" y="576864"/>
                </a:lnTo>
                <a:lnTo>
                  <a:pt x="777985" y="535789"/>
                </a:lnTo>
                <a:lnTo>
                  <a:pt x="790762" y="492529"/>
                </a:lnTo>
                <a:lnTo>
                  <a:pt x="798648" y="447386"/>
                </a:lnTo>
                <a:lnTo>
                  <a:pt x="801344" y="400659"/>
                </a:lnTo>
                <a:lnTo>
                  <a:pt x="798648" y="353933"/>
                </a:lnTo>
                <a:lnTo>
                  <a:pt x="790762" y="308789"/>
                </a:lnTo>
                <a:lnTo>
                  <a:pt x="777985" y="265531"/>
                </a:lnTo>
                <a:lnTo>
                  <a:pt x="760619" y="224456"/>
                </a:lnTo>
                <a:lnTo>
                  <a:pt x="738964" y="185867"/>
                </a:lnTo>
                <a:lnTo>
                  <a:pt x="713321" y="150064"/>
                </a:lnTo>
                <a:lnTo>
                  <a:pt x="683990" y="117348"/>
                </a:lnTo>
                <a:lnTo>
                  <a:pt x="651272" y="88018"/>
                </a:lnTo>
                <a:lnTo>
                  <a:pt x="615467" y="62376"/>
                </a:lnTo>
                <a:lnTo>
                  <a:pt x="576877" y="40722"/>
                </a:lnTo>
                <a:lnTo>
                  <a:pt x="535802" y="23357"/>
                </a:lnTo>
                <a:lnTo>
                  <a:pt x="492542" y="10581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14">
            <a:extLst>
              <a:ext uri="{FF2B5EF4-FFF2-40B4-BE49-F238E27FC236}">
                <a16:creationId xmlns:a16="http://schemas.microsoft.com/office/drawing/2014/main" id="{8F872847-C3B1-760C-F4AC-93DE0329412F}"/>
              </a:ext>
            </a:extLst>
          </p:cNvPr>
          <p:cNvSpPr/>
          <p:nvPr userDrawn="1"/>
        </p:nvSpPr>
        <p:spPr>
          <a:xfrm>
            <a:off x="1216272" y="5587712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15">
            <a:extLst>
              <a:ext uri="{FF2B5EF4-FFF2-40B4-BE49-F238E27FC236}">
                <a16:creationId xmlns:a16="http://schemas.microsoft.com/office/drawing/2014/main" id="{53AA02F4-3E33-4C39-33D6-76AA82402885}"/>
              </a:ext>
            </a:extLst>
          </p:cNvPr>
          <p:cNvSpPr/>
          <p:nvPr userDrawn="1"/>
        </p:nvSpPr>
        <p:spPr>
          <a:xfrm>
            <a:off x="1412140" y="6469124"/>
            <a:ext cx="726683" cy="386373"/>
          </a:xfrm>
          <a:custGeom>
            <a:avLst/>
            <a:gdLst/>
            <a:ahLst/>
            <a:cxnLst/>
            <a:rect l="l" t="t" r="r" b="b"/>
            <a:pathLst>
              <a:path w="801369" h="426084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1461" y="425998"/>
                </a:lnTo>
                <a:lnTo>
                  <a:pt x="799883" y="4259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6424BFED-D43D-B183-B5D0-83BFB42B63F4}"/>
              </a:ext>
            </a:extLst>
          </p:cNvPr>
          <p:cNvSpPr/>
          <p:nvPr userDrawn="1"/>
        </p:nvSpPr>
        <p:spPr>
          <a:xfrm>
            <a:off x="6266493" y="1757951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323976F1-F0C5-8B3E-79EC-251D18A92F44}"/>
              </a:ext>
            </a:extLst>
          </p:cNvPr>
          <p:cNvSpPr/>
          <p:nvPr userDrawn="1"/>
        </p:nvSpPr>
        <p:spPr>
          <a:xfrm>
            <a:off x="5464115" y="1757951"/>
            <a:ext cx="461393" cy="46139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14">
            <a:extLst>
              <a:ext uri="{FF2B5EF4-FFF2-40B4-BE49-F238E27FC236}">
                <a16:creationId xmlns:a16="http://schemas.microsoft.com/office/drawing/2014/main" id="{85B9E685-8F26-653C-637B-4560BD554CAC}"/>
              </a:ext>
            </a:extLst>
          </p:cNvPr>
          <p:cNvSpPr/>
          <p:nvPr userDrawn="1"/>
        </p:nvSpPr>
        <p:spPr>
          <a:xfrm>
            <a:off x="11179577" y="5951053"/>
            <a:ext cx="726683" cy="726683"/>
          </a:xfrm>
          <a:custGeom>
            <a:avLst/>
            <a:gdLst/>
            <a:ahLst/>
            <a:cxnLst/>
            <a:rect l="l" t="t" r="r" b="b"/>
            <a:pathLst>
              <a:path w="801369" h="801370">
                <a:moveTo>
                  <a:pt x="400672" y="0"/>
                </a:moveTo>
                <a:lnTo>
                  <a:pt x="353945" y="2695"/>
                </a:lnTo>
                <a:lnTo>
                  <a:pt x="308801" y="10582"/>
                </a:lnTo>
                <a:lnTo>
                  <a:pt x="265542" y="23358"/>
                </a:lnTo>
                <a:lnTo>
                  <a:pt x="224466" y="40724"/>
                </a:lnTo>
                <a:lnTo>
                  <a:pt x="185876" y="62379"/>
                </a:lnTo>
                <a:lnTo>
                  <a:pt x="150072" y="88023"/>
                </a:lnTo>
                <a:lnTo>
                  <a:pt x="117354" y="117354"/>
                </a:lnTo>
                <a:lnTo>
                  <a:pt x="88023" y="150072"/>
                </a:lnTo>
                <a:lnTo>
                  <a:pt x="62379" y="185876"/>
                </a:lnTo>
                <a:lnTo>
                  <a:pt x="40724" y="224466"/>
                </a:lnTo>
                <a:lnTo>
                  <a:pt x="23358" y="265542"/>
                </a:lnTo>
                <a:lnTo>
                  <a:pt x="10582" y="308801"/>
                </a:lnTo>
                <a:lnTo>
                  <a:pt x="2695" y="353945"/>
                </a:lnTo>
                <a:lnTo>
                  <a:pt x="0" y="400672"/>
                </a:lnTo>
                <a:lnTo>
                  <a:pt x="2695" y="447398"/>
                </a:lnTo>
                <a:lnTo>
                  <a:pt x="10582" y="492541"/>
                </a:lnTo>
                <a:lnTo>
                  <a:pt x="23358" y="535800"/>
                </a:lnTo>
                <a:lnTo>
                  <a:pt x="40724" y="576875"/>
                </a:lnTo>
                <a:lnTo>
                  <a:pt x="62379" y="615464"/>
                </a:lnTo>
                <a:lnTo>
                  <a:pt x="88023" y="651267"/>
                </a:lnTo>
                <a:lnTo>
                  <a:pt x="117354" y="683983"/>
                </a:lnTo>
                <a:lnTo>
                  <a:pt x="150072" y="713313"/>
                </a:lnTo>
                <a:lnTo>
                  <a:pt x="185876" y="738955"/>
                </a:lnTo>
                <a:lnTo>
                  <a:pt x="224466" y="760609"/>
                </a:lnTo>
                <a:lnTo>
                  <a:pt x="265542" y="777974"/>
                </a:lnTo>
                <a:lnTo>
                  <a:pt x="308801" y="790750"/>
                </a:lnTo>
                <a:lnTo>
                  <a:pt x="353945" y="798636"/>
                </a:lnTo>
                <a:lnTo>
                  <a:pt x="400672" y="801331"/>
                </a:lnTo>
                <a:lnTo>
                  <a:pt x="447399" y="798636"/>
                </a:lnTo>
                <a:lnTo>
                  <a:pt x="492542" y="790750"/>
                </a:lnTo>
                <a:lnTo>
                  <a:pt x="535802" y="777974"/>
                </a:lnTo>
                <a:lnTo>
                  <a:pt x="576877" y="760609"/>
                </a:lnTo>
                <a:lnTo>
                  <a:pt x="615467" y="738955"/>
                </a:lnTo>
                <a:lnTo>
                  <a:pt x="651272" y="713313"/>
                </a:lnTo>
                <a:lnTo>
                  <a:pt x="683990" y="683983"/>
                </a:lnTo>
                <a:lnTo>
                  <a:pt x="713321" y="651267"/>
                </a:lnTo>
                <a:lnTo>
                  <a:pt x="738964" y="615464"/>
                </a:lnTo>
                <a:lnTo>
                  <a:pt x="760619" y="576875"/>
                </a:lnTo>
                <a:lnTo>
                  <a:pt x="777985" y="535800"/>
                </a:lnTo>
                <a:lnTo>
                  <a:pt x="790762" y="492541"/>
                </a:lnTo>
                <a:lnTo>
                  <a:pt x="798648" y="447398"/>
                </a:lnTo>
                <a:lnTo>
                  <a:pt x="801344" y="400672"/>
                </a:lnTo>
                <a:lnTo>
                  <a:pt x="798648" y="353945"/>
                </a:lnTo>
                <a:lnTo>
                  <a:pt x="790762" y="308801"/>
                </a:lnTo>
                <a:lnTo>
                  <a:pt x="777985" y="265542"/>
                </a:lnTo>
                <a:lnTo>
                  <a:pt x="760619" y="224466"/>
                </a:lnTo>
                <a:lnTo>
                  <a:pt x="738964" y="185876"/>
                </a:lnTo>
                <a:lnTo>
                  <a:pt x="713321" y="150072"/>
                </a:lnTo>
                <a:lnTo>
                  <a:pt x="683990" y="117354"/>
                </a:lnTo>
                <a:lnTo>
                  <a:pt x="651272" y="88023"/>
                </a:lnTo>
                <a:lnTo>
                  <a:pt x="615467" y="62379"/>
                </a:lnTo>
                <a:lnTo>
                  <a:pt x="576877" y="40724"/>
                </a:lnTo>
                <a:lnTo>
                  <a:pt x="535802" y="23358"/>
                </a:lnTo>
                <a:lnTo>
                  <a:pt x="492542" y="10582"/>
                </a:lnTo>
                <a:lnTo>
                  <a:pt x="447399" y="2695"/>
                </a:lnTo>
                <a:lnTo>
                  <a:pt x="400672" y="0"/>
                </a:lnTo>
                <a:close/>
              </a:path>
            </a:pathLst>
          </a:custGeom>
          <a:solidFill>
            <a:srgbClr val="9D62E2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0DD70F8A-7EFD-5D5B-1E28-80954C36380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-675252" y="3608859"/>
            <a:ext cx="2541584" cy="2507461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A716E89-11E9-0EE9-B918-701C3474FC65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397941" y="157862"/>
            <a:ext cx="3133347" cy="30912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E0D997F-9BA9-D907-D51C-98EE52536447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7165783" y="337721"/>
            <a:ext cx="3133347" cy="3091279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06699D40-1F2D-3294-96EC-2A152766E695}"/>
              </a:ext>
            </a:extLst>
          </p:cNvPr>
          <p:cNvSpPr>
            <a:spLocks noGrp="1"/>
          </p:cNvSpPr>
          <p:nvPr>
            <p:ph type="pic" idx="18"/>
          </p:nvPr>
        </p:nvSpPr>
        <p:spPr>
          <a:xfrm>
            <a:off x="2610263" y="2722475"/>
            <a:ext cx="4695781" cy="4632736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584313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0AE4B-071C-02F5-A372-F86D8DED5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A728AFED-1DF7-D662-6492-F874A99CC2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596325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3B7299-7AB9-4421-3B12-055B2CA844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C00704-5510-78E0-B7E4-F9630322C1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253451-8FBE-805D-8FA3-FC147C2842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3EC1D9-62E5-C85C-4B63-58148D490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5F95C2-AFFF-07C8-D374-FE4011B8B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224558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41DE07-2180-6511-79E3-2E29CCE5E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839261-F4E2-F83A-096F-8B46402991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F1F349-BC46-79C9-52EF-514BAFBBC7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52DCA1-2DB5-E28A-52A3-EA7B7869C9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0AE262-9D44-C979-4A16-6F63869A1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908396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003DAF-A9FC-2EBF-313C-F3BBB89549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7F7F28-7C72-307A-C407-52556A768F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96E65A-F4AD-DD3A-A52F-FA815D368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ECDF96-CFF7-5621-1619-45423983D3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BBBE39-910E-748A-9083-0559B3322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371036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D33C5D-B37F-1D54-B8A5-832AA5ACFC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48E475-38C3-004E-F4B4-1BC4904169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7CE613-E5A9-D074-F1D1-F7F2DB2269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9F732C-3593-DFBF-A549-2CEA21759E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9F957B-DA11-6500-63E4-E27185DF62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0154A3-20E1-D18E-0026-4A8A3F81A5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566998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D969EE-7FCA-358E-AF68-5727C057AD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4B158C-293D-FC3E-8470-A5C3F0E81D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2696D5-6D88-2554-E382-F7B098EA95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726132-29F8-0728-CEC6-7660F95062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ED94F64-22C3-42CB-F1BB-62265B02E6F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11A8BE-6B08-0119-E239-80C863D83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273BA3D-95A5-5C73-ECBF-3F32196077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642D4F-4B32-ED83-D21D-63C452CDF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666807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E6EB0C-BA77-9E02-D9FC-62623840D6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FFB223-1C45-0913-7F67-BFE48E5B4D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01BEB2-D578-1D7A-3513-9DFB783D48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60DC6B-1B01-30F0-C949-A2490AA5A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691928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4A9FE2E-46FA-BB90-50F1-2CB53E1C5B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CE213D-763D-F752-F23B-3AD310C958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C89DC0-3B4C-C610-8DA1-4EC909A3A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805872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98ED57-C60E-60FD-BC9C-20548E064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3460EA-29F8-CCC7-A9DB-EADF9BB96D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48E39E-23CE-CC6D-4A90-EF01B45441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CD4CA2-4444-83A1-FC45-0C85202715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D3279D-360F-A5B1-C36C-6155F84C4E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18B8DA-9C7F-6A51-7F25-E25D69279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11871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47472-7E89-8BAA-DFFD-7665F68FBC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39D404-A40E-A29B-C769-B076AFC068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E2BE45-1AFB-1777-7F35-08016656CF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F0D7A5-C01A-471C-637A-44095AFE66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6A7DE5-96C0-24F9-BDDC-C53FEDDD97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AB8E9E-260B-0007-E803-BAF3D1098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07847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5C62E7-C227-4FE6-EF6B-402C1AF0F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780A195-3677-2ED3-3546-5F86795988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24E36A-F824-805B-19DA-F6DAD9D7FF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4CC016-C643-8999-8F41-015CA6756D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01969B-FE51-ACE6-A9E3-DA3731C3D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09752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2">
            <a:extLst>
              <a:ext uri="{FF2B5EF4-FFF2-40B4-BE49-F238E27FC236}">
                <a16:creationId xmlns:a16="http://schemas.microsoft.com/office/drawing/2014/main" id="{2D00DCAC-C40F-C3B9-F022-BCEE66A66A0B}"/>
              </a:ext>
            </a:extLst>
          </p:cNvPr>
          <p:cNvSpPr/>
          <p:nvPr userDrawn="1"/>
        </p:nvSpPr>
        <p:spPr>
          <a:xfrm>
            <a:off x="0" y="0"/>
            <a:ext cx="12192000" cy="6855696"/>
          </a:xfrm>
          <a:custGeom>
            <a:avLst/>
            <a:gdLst/>
            <a:ahLst/>
            <a:cxnLst/>
            <a:rect l="l" t="t" r="r" b="b"/>
            <a:pathLst>
              <a:path w="13428344" h="7560309">
                <a:moveTo>
                  <a:pt x="13428002" y="0"/>
                </a:moveTo>
                <a:lnTo>
                  <a:pt x="0" y="0"/>
                </a:lnTo>
                <a:lnTo>
                  <a:pt x="0" y="7559992"/>
                </a:lnTo>
                <a:lnTo>
                  <a:pt x="13428002" y="7559992"/>
                </a:lnTo>
                <a:lnTo>
                  <a:pt x="13428002" y="0"/>
                </a:lnTo>
                <a:close/>
              </a:path>
            </a:pathLst>
          </a:custGeom>
          <a:solidFill>
            <a:srgbClr val="00AFFF"/>
          </a:solidFill>
        </p:spPr>
        <p:txBody>
          <a:bodyPr wrap="square" lIns="0" tIns="0" rIns="0" bIns="0" rtlCol="0"/>
          <a:lstStyle/>
          <a:p>
            <a:endParaRPr sz="2000"/>
          </a:p>
        </p:txBody>
      </p:sp>
      <p:sp>
        <p:nvSpPr>
          <p:cNvPr id="20" name="object 3">
            <a:extLst>
              <a:ext uri="{FF2B5EF4-FFF2-40B4-BE49-F238E27FC236}">
                <a16:creationId xmlns:a16="http://schemas.microsoft.com/office/drawing/2014/main" id="{B044399D-0912-D593-C0A7-709DB4E472C3}"/>
              </a:ext>
            </a:extLst>
          </p:cNvPr>
          <p:cNvSpPr/>
          <p:nvPr userDrawn="1"/>
        </p:nvSpPr>
        <p:spPr>
          <a:xfrm>
            <a:off x="7795390" y="0"/>
            <a:ext cx="4391193" cy="4363554"/>
          </a:xfrm>
          <a:custGeom>
            <a:avLst/>
            <a:gdLst/>
            <a:ahLst/>
            <a:cxnLst/>
            <a:rect l="l" t="t" r="r" b="b"/>
            <a:pathLst>
              <a:path w="4842509" h="4812030">
                <a:moveTo>
                  <a:pt x="747268" y="1291882"/>
                </a:moveTo>
                <a:lnTo>
                  <a:pt x="744347" y="1244257"/>
                </a:lnTo>
                <a:lnTo>
                  <a:pt x="735850" y="1198397"/>
                </a:lnTo>
                <a:lnTo>
                  <a:pt x="722109" y="1154645"/>
                </a:lnTo>
                <a:lnTo>
                  <a:pt x="703478" y="1113383"/>
                </a:lnTo>
                <a:lnTo>
                  <a:pt x="680313" y="1074953"/>
                </a:lnTo>
                <a:lnTo>
                  <a:pt x="652957" y="1039710"/>
                </a:lnTo>
                <a:lnTo>
                  <a:pt x="621766" y="1008011"/>
                </a:lnTo>
                <a:lnTo>
                  <a:pt x="587095" y="980211"/>
                </a:lnTo>
                <a:lnTo>
                  <a:pt x="549275" y="956665"/>
                </a:lnTo>
                <a:lnTo>
                  <a:pt x="508673" y="937742"/>
                </a:lnTo>
                <a:lnTo>
                  <a:pt x="465620" y="923772"/>
                </a:lnTo>
                <a:lnTo>
                  <a:pt x="420497" y="915136"/>
                </a:lnTo>
                <a:lnTo>
                  <a:pt x="373634" y="912177"/>
                </a:lnTo>
                <a:lnTo>
                  <a:pt x="326758" y="915136"/>
                </a:lnTo>
                <a:lnTo>
                  <a:pt x="281635" y="923772"/>
                </a:lnTo>
                <a:lnTo>
                  <a:pt x="238582" y="937742"/>
                </a:lnTo>
                <a:lnTo>
                  <a:pt x="197980" y="956665"/>
                </a:lnTo>
                <a:lnTo>
                  <a:pt x="160159" y="980211"/>
                </a:lnTo>
                <a:lnTo>
                  <a:pt x="125488" y="1008011"/>
                </a:lnTo>
                <a:lnTo>
                  <a:pt x="94297" y="1039710"/>
                </a:lnTo>
                <a:lnTo>
                  <a:pt x="66941" y="1074953"/>
                </a:lnTo>
                <a:lnTo>
                  <a:pt x="43776" y="1113383"/>
                </a:lnTo>
                <a:lnTo>
                  <a:pt x="25146" y="1154645"/>
                </a:lnTo>
                <a:lnTo>
                  <a:pt x="11404" y="1198397"/>
                </a:lnTo>
                <a:lnTo>
                  <a:pt x="2908" y="1244257"/>
                </a:lnTo>
                <a:lnTo>
                  <a:pt x="0" y="1291882"/>
                </a:lnTo>
                <a:lnTo>
                  <a:pt x="2908" y="1339519"/>
                </a:lnTo>
                <a:lnTo>
                  <a:pt x="11404" y="1385379"/>
                </a:lnTo>
                <a:lnTo>
                  <a:pt x="25146" y="1429131"/>
                </a:lnTo>
                <a:lnTo>
                  <a:pt x="43776" y="1470393"/>
                </a:lnTo>
                <a:lnTo>
                  <a:pt x="66941" y="1508823"/>
                </a:lnTo>
                <a:lnTo>
                  <a:pt x="94297" y="1544066"/>
                </a:lnTo>
                <a:lnTo>
                  <a:pt x="125488" y="1575765"/>
                </a:lnTo>
                <a:lnTo>
                  <a:pt x="160159" y="1603565"/>
                </a:lnTo>
                <a:lnTo>
                  <a:pt x="197980" y="1627111"/>
                </a:lnTo>
                <a:lnTo>
                  <a:pt x="238582" y="1646047"/>
                </a:lnTo>
                <a:lnTo>
                  <a:pt x="281635" y="1660004"/>
                </a:lnTo>
                <a:lnTo>
                  <a:pt x="326758" y="1668640"/>
                </a:lnTo>
                <a:lnTo>
                  <a:pt x="373634" y="1671599"/>
                </a:lnTo>
                <a:lnTo>
                  <a:pt x="420497" y="1668640"/>
                </a:lnTo>
                <a:lnTo>
                  <a:pt x="465620" y="1660004"/>
                </a:lnTo>
                <a:lnTo>
                  <a:pt x="508673" y="1646047"/>
                </a:lnTo>
                <a:lnTo>
                  <a:pt x="549275" y="1627111"/>
                </a:lnTo>
                <a:lnTo>
                  <a:pt x="587095" y="1603565"/>
                </a:lnTo>
                <a:lnTo>
                  <a:pt x="621766" y="1575765"/>
                </a:lnTo>
                <a:lnTo>
                  <a:pt x="652957" y="1544066"/>
                </a:lnTo>
                <a:lnTo>
                  <a:pt x="680313" y="1508823"/>
                </a:lnTo>
                <a:lnTo>
                  <a:pt x="703478" y="1470393"/>
                </a:lnTo>
                <a:lnTo>
                  <a:pt x="722109" y="1429131"/>
                </a:lnTo>
                <a:lnTo>
                  <a:pt x="735850" y="1385379"/>
                </a:lnTo>
                <a:lnTo>
                  <a:pt x="744347" y="1339519"/>
                </a:lnTo>
                <a:lnTo>
                  <a:pt x="747268" y="1291882"/>
                </a:lnTo>
                <a:close/>
              </a:path>
              <a:path w="4842509" h="4812030">
                <a:moveTo>
                  <a:pt x="1038237" y="2275001"/>
                </a:moveTo>
                <a:lnTo>
                  <a:pt x="1033195" y="2230450"/>
                </a:lnTo>
                <a:lnTo>
                  <a:pt x="1018806" y="2189556"/>
                </a:lnTo>
                <a:lnTo>
                  <a:pt x="996238" y="2153475"/>
                </a:lnTo>
                <a:lnTo>
                  <a:pt x="966635" y="2123389"/>
                </a:lnTo>
                <a:lnTo>
                  <a:pt x="931125" y="2100453"/>
                </a:lnTo>
                <a:lnTo>
                  <a:pt x="890879" y="2085835"/>
                </a:lnTo>
                <a:lnTo>
                  <a:pt x="847039" y="2080691"/>
                </a:lnTo>
                <a:lnTo>
                  <a:pt x="803198" y="2085835"/>
                </a:lnTo>
                <a:lnTo>
                  <a:pt x="762952" y="2100453"/>
                </a:lnTo>
                <a:lnTo>
                  <a:pt x="727456" y="2123389"/>
                </a:lnTo>
                <a:lnTo>
                  <a:pt x="697852" y="2153475"/>
                </a:lnTo>
                <a:lnTo>
                  <a:pt x="675284" y="2189556"/>
                </a:lnTo>
                <a:lnTo>
                  <a:pt x="660895" y="2230450"/>
                </a:lnTo>
                <a:lnTo>
                  <a:pt x="655840" y="2275001"/>
                </a:lnTo>
                <a:lnTo>
                  <a:pt x="660895" y="2319566"/>
                </a:lnTo>
                <a:lnTo>
                  <a:pt x="675284" y="2360460"/>
                </a:lnTo>
                <a:lnTo>
                  <a:pt x="697852" y="2396540"/>
                </a:lnTo>
                <a:lnTo>
                  <a:pt x="727456" y="2426627"/>
                </a:lnTo>
                <a:lnTo>
                  <a:pt x="762952" y="2449563"/>
                </a:lnTo>
                <a:lnTo>
                  <a:pt x="803198" y="2464181"/>
                </a:lnTo>
                <a:lnTo>
                  <a:pt x="847039" y="2469311"/>
                </a:lnTo>
                <a:lnTo>
                  <a:pt x="890879" y="2464181"/>
                </a:lnTo>
                <a:lnTo>
                  <a:pt x="931125" y="2449563"/>
                </a:lnTo>
                <a:lnTo>
                  <a:pt x="966635" y="2426627"/>
                </a:lnTo>
                <a:lnTo>
                  <a:pt x="996238" y="2396540"/>
                </a:lnTo>
                <a:lnTo>
                  <a:pt x="1018806" y="2360460"/>
                </a:lnTo>
                <a:lnTo>
                  <a:pt x="1033195" y="2319566"/>
                </a:lnTo>
                <a:lnTo>
                  <a:pt x="1038237" y="2275001"/>
                </a:lnTo>
                <a:close/>
              </a:path>
              <a:path w="4842509" h="4812030">
                <a:moveTo>
                  <a:pt x="1353693" y="205016"/>
                </a:moveTo>
                <a:lnTo>
                  <a:pt x="1349044" y="158140"/>
                </a:lnTo>
                <a:lnTo>
                  <a:pt x="1335709" y="114490"/>
                </a:lnTo>
                <a:lnTo>
                  <a:pt x="1314615" y="74993"/>
                </a:lnTo>
                <a:lnTo>
                  <a:pt x="1286675" y="40576"/>
                </a:lnTo>
                <a:lnTo>
                  <a:pt x="1252804" y="12179"/>
                </a:lnTo>
                <a:lnTo>
                  <a:pt x="1230744" y="12"/>
                </a:lnTo>
                <a:lnTo>
                  <a:pt x="1018984" y="12"/>
                </a:lnTo>
                <a:lnTo>
                  <a:pt x="963053" y="40576"/>
                </a:lnTo>
                <a:lnTo>
                  <a:pt x="935113" y="74993"/>
                </a:lnTo>
                <a:lnTo>
                  <a:pt x="914019" y="114490"/>
                </a:lnTo>
                <a:lnTo>
                  <a:pt x="900684" y="158140"/>
                </a:lnTo>
                <a:lnTo>
                  <a:pt x="896035" y="205016"/>
                </a:lnTo>
                <a:lnTo>
                  <a:pt x="900684" y="251879"/>
                </a:lnTo>
                <a:lnTo>
                  <a:pt x="914019" y="295529"/>
                </a:lnTo>
                <a:lnTo>
                  <a:pt x="935113" y="335038"/>
                </a:lnTo>
                <a:lnTo>
                  <a:pt x="963053" y="369443"/>
                </a:lnTo>
                <a:lnTo>
                  <a:pt x="996924" y="397840"/>
                </a:lnTo>
                <a:lnTo>
                  <a:pt x="1035799" y="419290"/>
                </a:lnTo>
                <a:lnTo>
                  <a:pt x="1078750" y="432841"/>
                </a:lnTo>
                <a:lnTo>
                  <a:pt x="1124864" y="437565"/>
                </a:lnTo>
                <a:lnTo>
                  <a:pt x="1170978" y="432841"/>
                </a:lnTo>
                <a:lnTo>
                  <a:pt x="1213929" y="419290"/>
                </a:lnTo>
                <a:lnTo>
                  <a:pt x="1252804" y="397840"/>
                </a:lnTo>
                <a:lnTo>
                  <a:pt x="1286675" y="369443"/>
                </a:lnTo>
                <a:lnTo>
                  <a:pt x="1314615" y="335038"/>
                </a:lnTo>
                <a:lnTo>
                  <a:pt x="1335709" y="295529"/>
                </a:lnTo>
                <a:lnTo>
                  <a:pt x="1349044" y="251879"/>
                </a:lnTo>
                <a:lnTo>
                  <a:pt x="1353693" y="205016"/>
                </a:lnTo>
                <a:close/>
              </a:path>
              <a:path w="4842509" h="4812030">
                <a:moveTo>
                  <a:pt x="2336165" y="3331895"/>
                </a:moveTo>
                <a:lnTo>
                  <a:pt x="2331415" y="3284131"/>
                </a:lnTo>
                <a:lnTo>
                  <a:pt x="2317826" y="3239643"/>
                </a:lnTo>
                <a:lnTo>
                  <a:pt x="2296325" y="3199384"/>
                </a:lnTo>
                <a:lnTo>
                  <a:pt x="2267851" y="3164319"/>
                </a:lnTo>
                <a:lnTo>
                  <a:pt x="2233333" y="3135376"/>
                </a:lnTo>
                <a:lnTo>
                  <a:pt x="2193721" y="3113519"/>
                </a:lnTo>
                <a:lnTo>
                  <a:pt x="2149945" y="3099714"/>
                </a:lnTo>
                <a:lnTo>
                  <a:pt x="2102954" y="3094901"/>
                </a:lnTo>
                <a:lnTo>
                  <a:pt x="2055952" y="3099714"/>
                </a:lnTo>
                <a:lnTo>
                  <a:pt x="2012175" y="3113519"/>
                </a:lnTo>
                <a:lnTo>
                  <a:pt x="1972564" y="3135376"/>
                </a:lnTo>
                <a:lnTo>
                  <a:pt x="1938058" y="3164319"/>
                </a:lnTo>
                <a:lnTo>
                  <a:pt x="1909572" y="3199384"/>
                </a:lnTo>
                <a:lnTo>
                  <a:pt x="1888070" y="3239643"/>
                </a:lnTo>
                <a:lnTo>
                  <a:pt x="1874494" y="3284131"/>
                </a:lnTo>
                <a:lnTo>
                  <a:pt x="1869757" y="3331895"/>
                </a:lnTo>
                <a:lnTo>
                  <a:pt x="1874494" y="3379660"/>
                </a:lnTo>
                <a:lnTo>
                  <a:pt x="1888070" y="3424148"/>
                </a:lnTo>
                <a:lnTo>
                  <a:pt x="1909572" y="3464407"/>
                </a:lnTo>
                <a:lnTo>
                  <a:pt x="1938058" y="3499485"/>
                </a:lnTo>
                <a:lnTo>
                  <a:pt x="1972564" y="3528428"/>
                </a:lnTo>
                <a:lnTo>
                  <a:pt x="2012175" y="3550272"/>
                </a:lnTo>
                <a:lnTo>
                  <a:pt x="2055952" y="3564090"/>
                </a:lnTo>
                <a:lnTo>
                  <a:pt x="2102954" y="3568903"/>
                </a:lnTo>
                <a:lnTo>
                  <a:pt x="2149945" y="3564090"/>
                </a:lnTo>
                <a:lnTo>
                  <a:pt x="2193721" y="3550272"/>
                </a:lnTo>
                <a:lnTo>
                  <a:pt x="2233333" y="3528428"/>
                </a:lnTo>
                <a:lnTo>
                  <a:pt x="2267851" y="3499485"/>
                </a:lnTo>
                <a:lnTo>
                  <a:pt x="2296325" y="3464407"/>
                </a:lnTo>
                <a:lnTo>
                  <a:pt x="2317826" y="3424148"/>
                </a:lnTo>
                <a:lnTo>
                  <a:pt x="2331415" y="3379660"/>
                </a:lnTo>
                <a:lnTo>
                  <a:pt x="2336165" y="3331895"/>
                </a:lnTo>
                <a:close/>
              </a:path>
              <a:path w="4842509" h="4812030">
                <a:moveTo>
                  <a:pt x="2815031" y="1458963"/>
                </a:moveTo>
                <a:lnTo>
                  <a:pt x="2805074" y="1409661"/>
                </a:lnTo>
                <a:lnTo>
                  <a:pt x="2777921" y="1369390"/>
                </a:lnTo>
                <a:lnTo>
                  <a:pt x="2737650" y="1342237"/>
                </a:lnTo>
                <a:lnTo>
                  <a:pt x="2688348" y="1332280"/>
                </a:lnTo>
                <a:lnTo>
                  <a:pt x="1587842" y="1332280"/>
                </a:lnTo>
                <a:lnTo>
                  <a:pt x="1594739" y="1302042"/>
                </a:lnTo>
                <a:lnTo>
                  <a:pt x="1611210" y="1240929"/>
                </a:lnTo>
                <a:lnTo>
                  <a:pt x="1635810" y="1170025"/>
                </a:lnTo>
                <a:lnTo>
                  <a:pt x="1653717" y="1129347"/>
                </a:lnTo>
                <a:lnTo>
                  <a:pt x="1674545" y="1088034"/>
                </a:lnTo>
                <a:lnTo>
                  <a:pt x="1698117" y="1046111"/>
                </a:lnTo>
                <a:lnTo>
                  <a:pt x="1724279" y="1003617"/>
                </a:lnTo>
                <a:lnTo>
                  <a:pt x="1724837" y="1003617"/>
                </a:lnTo>
                <a:lnTo>
                  <a:pt x="1725358" y="1003782"/>
                </a:lnTo>
                <a:lnTo>
                  <a:pt x="2587726" y="1003782"/>
                </a:lnTo>
                <a:lnTo>
                  <a:pt x="2588539" y="1003617"/>
                </a:lnTo>
                <a:lnTo>
                  <a:pt x="2637028" y="993825"/>
                </a:lnTo>
                <a:lnTo>
                  <a:pt x="2677299" y="966673"/>
                </a:lnTo>
                <a:lnTo>
                  <a:pt x="2704452" y="926414"/>
                </a:lnTo>
                <a:lnTo>
                  <a:pt x="2714409" y="877100"/>
                </a:lnTo>
                <a:lnTo>
                  <a:pt x="2704452" y="827798"/>
                </a:lnTo>
                <a:lnTo>
                  <a:pt x="2677299" y="787527"/>
                </a:lnTo>
                <a:lnTo>
                  <a:pt x="2637028" y="760374"/>
                </a:lnTo>
                <a:lnTo>
                  <a:pt x="2587726" y="750417"/>
                </a:lnTo>
                <a:lnTo>
                  <a:pt x="1918449" y="750417"/>
                </a:lnTo>
                <a:lnTo>
                  <a:pt x="1948662" y="716330"/>
                </a:lnTo>
                <a:lnTo>
                  <a:pt x="1979866" y="681990"/>
                </a:lnTo>
                <a:lnTo>
                  <a:pt x="2012010" y="647395"/>
                </a:lnTo>
                <a:lnTo>
                  <a:pt x="2045055" y="612559"/>
                </a:lnTo>
                <a:lnTo>
                  <a:pt x="2078926" y="577494"/>
                </a:lnTo>
                <a:lnTo>
                  <a:pt x="2113610" y="542213"/>
                </a:lnTo>
                <a:lnTo>
                  <a:pt x="2149030" y="506704"/>
                </a:lnTo>
                <a:lnTo>
                  <a:pt x="2185162" y="470992"/>
                </a:lnTo>
                <a:lnTo>
                  <a:pt x="2221954" y="435076"/>
                </a:lnTo>
                <a:lnTo>
                  <a:pt x="2297303" y="362648"/>
                </a:lnTo>
                <a:lnTo>
                  <a:pt x="2414079" y="252666"/>
                </a:lnTo>
                <a:lnTo>
                  <a:pt x="2687383" y="12"/>
                </a:lnTo>
                <a:lnTo>
                  <a:pt x="2146401" y="12"/>
                </a:lnTo>
                <a:lnTo>
                  <a:pt x="2069376" y="72491"/>
                </a:lnTo>
                <a:lnTo>
                  <a:pt x="1987892" y="150406"/>
                </a:lnTo>
                <a:lnTo>
                  <a:pt x="1947964" y="189191"/>
                </a:lnTo>
                <a:lnTo>
                  <a:pt x="1908632" y="227888"/>
                </a:lnTo>
                <a:lnTo>
                  <a:pt x="1869922" y="266471"/>
                </a:lnTo>
                <a:lnTo>
                  <a:pt x="1831911" y="304952"/>
                </a:lnTo>
                <a:lnTo>
                  <a:pt x="1794637" y="343331"/>
                </a:lnTo>
                <a:lnTo>
                  <a:pt x="1758124" y="381622"/>
                </a:lnTo>
                <a:lnTo>
                  <a:pt x="1722450" y="419811"/>
                </a:lnTo>
                <a:lnTo>
                  <a:pt x="1687626" y="457911"/>
                </a:lnTo>
                <a:lnTo>
                  <a:pt x="1653730" y="495922"/>
                </a:lnTo>
                <a:lnTo>
                  <a:pt x="1620786" y="533844"/>
                </a:lnTo>
                <a:lnTo>
                  <a:pt x="1588846" y="571690"/>
                </a:lnTo>
                <a:lnTo>
                  <a:pt x="1557959" y="609447"/>
                </a:lnTo>
                <a:lnTo>
                  <a:pt x="1528152" y="647115"/>
                </a:lnTo>
                <a:lnTo>
                  <a:pt x="1499501" y="684720"/>
                </a:lnTo>
                <a:lnTo>
                  <a:pt x="1472018" y="722249"/>
                </a:lnTo>
                <a:lnTo>
                  <a:pt x="1445780" y="759701"/>
                </a:lnTo>
                <a:lnTo>
                  <a:pt x="1420812" y="797077"/>
                </a:lnTo>
                <a:lnTo>
                  <a:pt x="1397165" y="834390"/>
                </a:lnTo>
                <a:lnTo>
                  <a:pt x="1374889" y="871639"/>
                </a:lnTo>
                <a:lnTo>
                  <a:pt x="1354023" y="908824"/>
                </a:lnTo>
                <a:lnTo>
                  <a:pt x="1334604" y="945946"/>
                </a:lnTo>
                <a:lnTo>
                  <a:pt x="1316697" y="983018"/>
                </a:lnTo>
                <a:lnTo>
                  <a:pt x="1300340" y="1020025"/>
                </a:lnTo>
                <a:lnTo>
                  <a:pt x="1285570" y="1056982"/>
                </a:lnTo>
                <a:lnTo>
                  <a:pt x="1272451" y="1093889"/>
                </a:lnTo>
                <a:lnTo>
                  <a:pt x="1251242" y="1162659"/>
                </a:lnTo>
                <a:lnTo>
                  <a:pt x="1233639" y="1230528"/>
                </a:lnTo>
                <a:lnTo>
                  <a:pt x="1219492" y="1297495"/>
                </a:lnTo>
                <a:lnTo>
                  <a:pt x="1208646" y="1363497"/>
                </a:lnTo>
                <a:lnTo>
                  <a:pt x="1200962" y="1428521"/>
                </a:lnTo>
                <a:lnTo>
                  <a:pt x="1196276" y="1492504"/>
                </a:lnTo>
                <a:lnTo>
                  <a:pt x="1194447" y="1555432"/>
                </a:lnTo>
                <a:lnTo>
                  <a:pt x="1195324" y="1617268"/>
                </a:lnTo>
                <a:lnTo>
                  <a:pt x="1198753" y="1677974"/>
                </a:lnTo>
                <a:lnTo>
                  <a:pt x="1204595" y="1737499"/>
                </a:lnTo>
                <a:lnTo>
                  <a:pt x="1212684" y="1795830"/>
                </a:lnTo>
                <a:lnTo>
                  <a:pt x="1222870" y="1852930"/>
                </a:lnTo>
                <a:lnTo>
                  <a:pt x="1235024" y="1908746"/>
                </a:lnTo>
                <a:lnTo>
                  <a:pt x="1248981" y="1963242"/>
                </a:lnTo>
                <a:lnTo>
                  <a:pt x="1264589" y="2016404"/>
                </a:lnTo>
                <a:lnTo>
                  <a:pt x="1281709" y="2068182"/>
                </a:lnTo>
                <a:lnTo>
                  <a:pt x="1300175" y="2118537"/>
                </a:lnTo>
                <a:lnTo>
                  <a:pt x="1319860" y="2167445"/>
                </a:lnTo>
                <a:lnTo>
                  <a:pt x="1340586" y="2214854"/>
                </a:lnTo>
                <a:lnTo>
                  <a:pt x="1362227" y="2260752"/>
                </a:lnTo>
                <a:lnTo>
                  <a:pt x="1384617" y="2305075"/>
                </a:lnTo>
                <a:lnTo>
                  <a:pt x="1407617" y="2347811"/>
                </a:lnTo>
                <a:lnTo>
                  <a:pt x="1431074" y="2388920"/>
                </a:lnTo>
                <a:lnTo>
                  <a:pt x="1454835" y="2428354"/>
                </a:lnTo>
                <a:lnTo>
                  <a:pt x="1478749" y="2466086"/>
                </a:lnTo>
                <a:lnTo>
                  <a:pt x="1502676" y="2502077"/>
                </a:lnTo>
                <a:lnTo>
                  <a:pt x="1526451" y="2536291"/>
                </a:lnTo>
                <a:lnTo>
                  <a:pt x="1549946" y="2568702"/>
                </a:lnTo>
                <a:lnTo>
                  <a:pt x="1572983" y="2599271"/>
                </a:lnTo>
                <a:lnTo>
                  <a:pt x="1617141" y="2654719"/>
                </a:lnTo>
                <a:lnTo>
                  <a:pt x="1657718" y="2702344"/>
                </a:lnTo>
                <a:lnTo>
                  <a:pt x="1693532" y="2741879"/>
                </a:lnTo>
                <a:lnTo>
                  <a:pt x="1723364" y="2773045"/>
                </a:lnTo>
                <a:lnTo>
                  <a:pt x="1754289" y="2803436"/>
                </a:lnTo>
                <a:lnTo>
                  <a:pt x="1791779" y="2833128"/>
                </a:lnTo>
                <a:lnTo>
                  <a:pt x="1853996" y="2856725"/>
                </a:lnTo>
                <a:lnTo>
                  <a:pt x="1886724" y="2859659"/>
                </a:lnTo>
                <a:lnTo>
                  <a:pt x="1923973" y="2855861"/>
                </a:lnTo>
                <a:lnTo>
                  <a:pt x="1993277" y="2825635"/>
                </a:lnTo>
                <a:lnTo>
                  <a:pt x="2022830" y="2799372"/>
                </a:lnTo>
                <a:lnTo>
                  <a:pt x="2050745" y="2758884"/>
                </a:lnTo>
                <a:lnTo>
                  <a:pt x="2066505" y="2714015"/>
                </a:lnTo>
                <a:lnTo>
                  <a:pt x="2070239" y="2667228"/>
                </a:lnTo>
                <a:lnTo>
                  <a:pt x="2062073" y="2621000"/>
                </a:lnTo>
                <a:lnTo>
                  <a:pt x="2042134" y="2577782"/>
                </a:lnTo>
                <a:lnTo>
                  <a:pt x="2010562" y="2540063"/>
                </a:lnTo>
                <a:lnTo>
                  <a:pt x="2002307" y="2532316"/>
                </a:lnTo>
                <a:lnTo>
                  <a:pt x="1986203" y="2516479"/>
                </a:lnTo>
                <a:lnTo>
                  <a:pt x="1934933" y="2461717"/>
                </a:lnTo>
                <a:lnTo>
                  <a:pt x="1902015" y="2423401"/>
                </a:lnTo>
                <a:lnTo>
                  <a:pt x="1865718" y="2378151"/>
                </a:lnTo>
                <a:lnTo>
                  <a:pt x="1827174" y="2326297"/>
                </a:lnTo>
                <a:lnTo>
                  <a:pt x="1787486" y="2268118"/>
                </a:lnTo>
                <a:lnTo>
                  <a:pt x="1747786" y="2203907"/>
                </a:lnTo>
                <a:lnTo>
                  <a:pt x="1709204" y="2133955"/>
                </a:lnTo>
                <a:lnTo>
                  <a:pt x="2085060" y="2133955"/>
                </a:lnTo>
                <a:lnTo>
                  <a:pt x="2134362" y="2123998"/>
                </a:lnTo>
                <a:lnTo>
                  <a:pt x="2174633" y="2096846"/>
                </a:lnTo>
                <a:lnTo>
                  <a:pt x="2201786" y="2056587"/>
                </a:lnTo>
                <a:lnTo>
                  <a:pt x="2211743" y="2007273"/>
                </a:lnTo>
                <a:lnTo>
                  <a:pt x="2201786" y="1957971"/>
                </a:lnTo>
                <a:lnTo>
                  <a:pt x="2174633" y="1917700"/>
                </a:lnTo>
                <a:lnTo>
                  <a:pt x="2134362" y="1890547"/>
                </a:lnTo>
                <a:lnTo>
                  <a:pt x="2085060" y="1880590"/>
                </a:lnTo>
                <a:lnTo>
                  <a:pt x="1607959" y="1880590"/>
                </a:lnTo>
                <a:lnTo>
                  <a:pt x="1595729" y="1834248"/>
                </a:lnTo>
                <a:lnTo>
                  <a:pt x="1585214" y="1786712"/>
                </a:lnTo>
                <a:lnTo>
                  <a:pt x="1576565" y="1738058"/>
                </a:lnTo>
                <a:lnTo>
                  <a:pt x="1569910" y="1688299"/>
                </a:lnTo>
                <a:lnTo>
                  <a:pt x="1565402" y="1637487"/>
                </a:lnTo>
                <a:lnTo>
                  <a:pt x="1563192" y="1585645"/>
                </a:lnTo>
                <a:lnTo>
                  <a:pt x="2688348" y="1585645"/>
                </a:lnTo>
                <a:lnTo>
                  <a:pt x="2737650" y="1575689"/>
                </a:lnTo>
                <a:lnTo>
                  <a:pt x="2777921" y="1548549"/>
                </a:lnTo>
                <a:lnTo>
                  <a:pt x="2805074" y="1508277"/>
                </a:lnTo>
                <a:lnTo>
                  <a:pt x="2815031" y="1458963"/>
                </a:lnTo>
                <a:close/>
              </a:path>
              <a:path w="4842509" h="4812030">
                <a:moveTo>
                  <a:pt x="3022498" y="2007273"/>
                </a:moveTo>
                <a:lnTo>
                  <a:pt x="3012541" y="1957959"/>
                </a:lnTo>
                <a:lnTo>
                  <a:pt x="2985389" y="1917700"/>
                </a:lnTo>
                <a:lnTo>
                  <a:pt x="2945130" y="1890547"/>
                </a:lnTo>
                <a:lnTo>
                  <a:pt x="2895816" y="1880590"/>
                </a:lnTo>
                <a:lnTo>
                  <a:pt x="2492959" y="1880590"/>
                </a:lnTo>
                <a:lnTo>
                  <a:pt x="2443645" y="1890547"/>
                </a:lnTo>
                <a:lnTo>
                  <a:pt x="2403373" y="1917700"/>
                </a:lnTo>
                <a:lnTo>
                  <a:pt x="2376220" y="1957959"/>
                </a:lnTo>
                <a:lnTo>
                  <a:pt x="2366264" y="2007273"/>
                </a:lnTo>
                <a:lnTo>
                  <a:pt x="2376220" y="2056587"/>
                </a:lnTo>
                <a:lnTo>
                  <a:pt x="2403373" y="2096846"/>
                </a:lnTo>
                <a:lnTo>
                  <a:pt x="2443645" y="2123998"/>
                </a:lnTo>
                <a:lnTo>
                  <a:pt x="2492959" y="2133955"/>
                </a:lnTo>
                <a:lnTo>
                  <a:pt x="2895816" y="2133955"/>
                </a:lnTo>
                <a:lnTo>
                  <a:pt x="2945130" y="2123998"/>
                </a:lnTo>
                <a:lnTo>
                  <a:pt x="2985389" y="2096846"/>
                </a:lnTo>
                <a:lnTo>
                  <a:pt x="3012541" y="2056587"/>
                </a:lnTo>
                <a:lnTo>
                  <a:pt x="3022498" y="2007273"/>
                </a:lnTo>
                <a:close/>
              </a:path>
              <a:path w="4842509" h="4812030">
                <a:moveTo>
                  <a:pt x="3290455" y="869467"/>
                </a:moveTo>
                <a:lnTo>
                  <a:pt x="3285413" y="824915"/>
                </a:lnTo>
                <a:lnTo>
                  <a:pt x="3271024" y="784021"/>
                </a:lnTo>
                <a:lnTo>
                  <a:pt x="3248456" y="747941"/>
                </a:lnTo>
                <a:lnTo>
                  <a:pt x="3218853" y="717854"/>
                </a:lnTo>
                <a:lnTo>
                  <a:pt x="3183344" y="694918"/>
                </a:lnTo>
                <a:lnTo>
                  <a:pt x="3143097" y="680300"/>
                </a:lnTo>
                <a:lnTo>
                  <a:pt x="3099257" y="675170"/>
                </a:lnTo>
                <a:lnTo>
                  <a:pt x="3055429" y="680300"/>
                </a:lnTo>
                <a:lnTo>
                  <a:pt x="3015183" y="694918"/>
                </a:lnTo>
                <a:lnTo>
                  <a:pt x="2979674" y="717854"/>
                </a:lnTo>
                <a:lnTo>
                  <a:pt x="2950070" y="747941"/>
                </a:lnTo>
                <a:lnTo>
                  <a:pt x="2927502" y="784021"/>
                </a:lnTo>
                <a:lnTo>
                  <a:pt x="2913113" y="824915"/>
                </a:lnTo>
                <a:lnTo>
                  <a:pt x="2908058" y="869467"/>
                </a:lnTo>
                <a:lnTo>
                  <a:pt x="2913113" y="914019"/>
                </a:lnTo>
                <a:lnTo>
                  <a:pt x="2927502" y="954925"/>
                </a:lnTo>
                <a:lnTo>
                  <a:pt x="2950070" y="990993"/>
                </a:lnTo>
                <a:lnTo>
                  <a:pt x="2979674" y="1021092"/>
                </a:lnTo>
                <a:lnTo>
                  <a:pt x="3015183" y="1044028"/>
                </a:lnTo>
                <a:lnTo>
                  <a:pt x="3055429" y="1058646"/>
                </a:lnTo>
                <a:lnTo>
                  <a:pt x="3099257" y="1063777"/>
                </a:lnTo>
                <a:lnTo>
                  <a:pt x="3143097" y="1058646"/>
                </a:lnTo>
                <a:lnTo>
                  <a:pt x="3183344" y="1044028"/>
                </a:lnTo>
                <a:lnTo>
                  <a:pt x="3218853" y="1021092"/>
                </a:lnTo>
                <a:lnTo>
                  <a:pt x="3248456" y="990993"/>
                </a:lnTo>
                <a:lnTo>
                  <a:pt x="3271024" y="954925"/>
                </a:lnTo>
                <a:lnTo>
                  <a:pt x="3285413" y="914019"/>
                </a:lnTo>
                <a:lnTo>
                  <a:pt x="3290455" y="869467"/>
                </a:lnTo>
                <a:close/>
              </a:path>
              <a:path w="4842509" h="4812030">
                <a:moveTo>
                  <a:pt x="3455378" y="1445844"/>
                </a:moveTo>
                <a:lnTo>
                  <a:pt x="3449624" y="1402283"/>
                </a:lnTo>
                <a:lnTo>
                  <a:pt x="3433368" y="1363154"/>
                </a:lnTo>
                <a:lnTo>
                  <a:pt x="3408159" y="1329994"/>
                </a:lnTo>
                <a:lnTo>
                  <a:pt x="3375533" y="1304378"/>
                </a:lnTo>
                <a:lnTo>
                  <a:pt x="3337026" y="1287868"/>
                </a:lnTo>
                <a:lnTo>
                  <a:pt x="3294164" y="1282014"/>
                </a:lnTo>
                <a:lnTo>
                  <a:pt x="3251314" y="1287868"/>
                </a:lnTo>
                <a:lnTo>
                  <a:pt x="3212795" y="1304378"/>
                </a:lnTo>
                <a:lnTo>
                  <a:pt x="3180169" y="1329994"/>
                </a:lnTo>
                <a:lnTo>
                  <a:pt x="3154959" y="1363154"/>
                </a:lnTo>
                <a:lnTo>
                  <a:pt x="3138716" y="1402283"/>
                </a:lnTo>
                <a:lnTo>
                  <a:pt x="3132950" y="1445844"/>
                </a:lnTo>
                <a:lnTo>
                  <a:pt x="3138716" y="1489392"/>
                </a:lnTo>
                <a:lnTo>
                  <a:pt x="3154959" y="1528533"/>
                </a:lnTo>
                <a:lnTo>
                  <a:pt x="3180169" y="1561680"/>
                </a:lnTo>
                <a:lnTo>
                  <a:pt x="3212795" y="1587309"/>
                </a:lnTo>
                <a:lnTo>
                  <a:pt x="3251314" y="1603819"/>
                </a:lnTo>
                <a:lnTo>
                  <a:pt x="3294164" y="1609674"/>
                </a:lnTo>
                <a:lnTo>
                  <a:pt x="3337026" y="1603819"/>
                </a:lnTo>
                <a:lnTo>
                  <a:pt x="3375533" y="1587309"/>
                </a:lnTo>
                <a:lnTo>
                  <a:pt x="3408159" y="1561680"/>
                </a:lnTo>
                <a:lnTo>
                  <a:pt x="3433368" y="1528533"/>
                </a:lnTo>
                <a:lnTo>
                  <a:pt x="3449624" y="1489392"/>
                </a:lnTo>
                <a:lnTo>
                  <a:pt x="3455378" y="1445844"/>
                </a:lnTo>
                <a:close/>
              </a:path>
              <a:path w="4842509" h="4812030">
                <a:moveTo>
                  <a:pt x="3677882" y="150622"/>
                </a:moveTo>
                <a:lnTo>
                  <a:pt x="3669868" y="100114"/>
                </a:lnTo>
                <a:lnTo>
                  <a:pt x="3647541" y="56248"/>
                </a:lnTo>
                <a:lnTo>
                  <a:pt x="3613505" y="21653"/>
                </a:lnTo>
                <a:lnTo>
                  <a:pt x="3572306" y="0"/>
                </a:lnTo>
                <a:lnTo>
                  <a:pt x="3468979" y="0"/>
                </a:lnTo>
                <a:lnTo>
                  <a:pt x="3427780" y="21653"/>
                </a:lnTo>
                <a:lnTo>
                  <a:pt x="3393744" y="56248"/>
                </a:lnTo>
                <a:lnTo>
                  <a:pt x="3371418" y="100114"/>
                </a:lnTo>
                <a:lnTo>
                  <a:pt x="3363404" y="150622"/>
                </a:lnTo>
                <a:lnTo>
                  <a:pt x="3371418" y="201129"/>
                </a:lnTo>
                <a:lnTo>
                  <a:pt x="3393744" y="244995"/>
                </a:lnTo>
                <a:lnTo>
                  <a:pt x="3427780" y="279577"/>
                </a:lnTo>
                <a:lnTo>
                  <a:pt x="3470935" y="302260"/>
                </a:lnTo>
                <a:lnTo>
                  <a:pt x="3520643" y="310413"/>
                </a:lnTo>
                <a:lnTo>
                  <a:pt x="3570338" y="302260"/>
                </a:lnTo>
                <a:lnTo>
                  <a:pt x="3613505" y="279577"/>
                </a:lnTo>
                <a:lnTo>
                  <a:pt x="3647541" y="244995"/>
                </a:lnTo>
                <a:lnTo>
                  <a:pt x="3669868" y="201129"/>
                </a:lnTo>
                <a:lnTo>
                  <a:pt x="3677882" y="150622"/>
                </a:lnTo>
                <a:close/>
              </a:path>
              <a:path w="4842509" h="4812030">
                <a:moveTo>
                  <a:pt x="3887127" y="718464"/>
                </a:moveTo>
                <a:lnTo>
                  <a:pt x="3882085" y="673912"/>
                </a:lnTo>
                <a:lnTo>
                  <a:pt x="3867696" y="633006"/>
                </a:lnTo>
                <a:lnTo>
                  <a:pt x="3845128" y="596925"/>
                </a:lnTo>
                <a:lnTo>
                  <a:pt x="3815524" y="566839"/>
                </a:lnTo>
                <a:lnTo>
                  <a:pt x="3780015" y="543902"/>
                </a:lnTo>
                <a:lnTo>
                  <a:pt x="3739769" y="529285"/>
                </a:lnTo>
                <a:lnTo>
                  <a:pt x="3695928" y="524154"/>
                </a:lnTo>
                <a:lnTo>
                  <a:pt x="3652101" y="529285"/>
                </a:lnTo>
                <a:lnTo>
                  <a:pt x="3611854" y="543902"/>
                </a:lnTo>
                <a:lnTo>
                  <a:pt x="3576345" y="566839"/>
                </a:lnTo>
                <a:lnTo>
                  <a:pt x="3546741" y="596925"/>
                </a:lnTo>
                <a:lnTo>
                  <a:pt x="3524173" y="633006"/>
                </a:lnTo>
                <a:lnTo>
                  <a:pt x="3509784" y="673912"/>
                </a:lnTo>
                <a:lnTo>
                  <a:pt x="3504730" y="718464"/>
                </a:lnTo>
                <a:lnTo>
                  <a:pt x="3509784" y="763016"/>
                </a:lnTo>
                <a:lnTo>
                  <a:pt x="3524173" y="803910"/>
                </a:lnTo>
                <a:lnTo>
                  <a:pt x="3546741" y="839990"/>
                </a:lnTo>
                <a:lnTo>
                  <a:pt x="3576345" y="870089"/>
                </a:lnTo>
                <a:lnTo>
                  <a:pt x="3611854" y="893025"/>
                </a:lnTo>
                <a:lnTo>
                  <a:pt x="3652101" y="907643"/>
                </a:lnTo>
                <a:lnTo>
                  <a:pt x="3695928" y="912774"/>
                </a:lnTo>
                <a:lnTo>
                  <a:pt x="3739769" y="907643"/>
                </a:lnTo>
                <a:lnTo>
                  <a:pt x="3780015" y="893025"/>
                </a:lnTo>
                <a:lnTo>
                  <a:pt x="3815524" y="870089"/>
                </a:lnTo>
                <a:lnTo>
                  <a:pt x="3845128" y="839990"/>
                </a:lnTo>
                <a:lnTo>
                  <a:pt x="3867696" y="803910"/>
                </a:lnTo>
                <a:lnTo>
                  <a:pt x="3882085" y="763016"/>
                </a:lnTo>
                <a:lnTo>
                  <a:pt x="3887127" y="718464"/>
                </a:lnTo>
                <a:close/>
              </a:path>
              <a:path w="4842509" h="4812030">
                <a:moveTo>
                  <a:pt x="4802949" y="2826423"/>
                </a:moveTo>
                <a:lnTo>
                  <a:pt x="4797895" y="2781871"/>
                </a:lnTo>
                <a:lnTo>
                  <a:pt x="4783518" y="2740977"/>
                </a:lnTo>
                <a:lnTo>
                  <a:pt x="4760950" y="2704896"/>
                </a:lnTo>
                <a:lnTo>
                  <a:pt x="4731334" y="2674810"/>
                </a:lnTo>
                <a:lnTo>
                  <a:pt x="4695837" y="2651874"/>
                </a:lnTo>
                <a:lnTo>
                  <a:pt x="4655591" y="2637256"/>
                </a:lnTo>
                <a:lnTo>
                  <a:pt x="4611751" y="2632113"/>
                </a:lnTo>
                <a:lnTo>
                  <a:pt x="4567910" y="2637256"/>
                </a:lnTo>
                <a:lnTo>
                  <a:pt x="4527664" y="2651874"/>
                </a:lnTo>
                <a:lnTo>
                  <a:pt x="4492168" y="2674810"/>
                </a:lnTo>
                <a:lnTo>
                  <a:pt x="4462551" y="2704896"/>
                </a:lnTo>
                <a:lnTo>
                  <a:pt x="4439983" y="2740977"/>
                </a:lnTo>
                <a:lnTo>
                  <a:pt x="4425607" y="2781871"/>
                </a:lnTo>
                <a:lnTo>
                  <a:pt x="4420552" y="2826423"/>
                </a:lnTo>
                <a:lnTo>
                  <a:pt x="4425607" y="2870987"/>
                </a:lnTo>
                <a:lnTo>
                  <a:pt x="4439983" y="2911881"/>
                </a:lnTo>
                <a:lnTo>
                  <a:pt x="4462551" y="2947962"/>
                </a:lnTo>
                <a:lnTo>
                  <a:pt x="4492168" y="2978048"/>
                </a:lnTo>
                <a:lnTo>
                  <a:pt x="4527664" y="3000984"/>
                </a:lnTo>
                <a:lnTo>
                  <a:pt x="4567910" y="3015602"/>
                </a:lnTo>
                <a:lnTo>
                  <a:pt x="4611751" y="3020733"/>
                </a:lnTo>
                <a:lnTo>
                  <a:pt x="4655591" y="3015602"/>
                </a:lnTo>
                <a:lnTo>
                  <a:pt x="4695837" y="3000984"/>
                </a:lnTo>
                <a:lnTo>
                  <a:pt x="4731334" y="2978048"/>
                </a:lnTo>
                <a:lnTo>
                  <a:pt x="4760950" y="2947962"/>
                </a:lnTo>
                <a:lnTo>
                  <a:pt x="4783518" y="2911881"/>
                </a:lnTo>
                <a:lnTo>
                  <a:pt x="4797895" y="2870987"/>
                </a:lnTo>
                <a:lnTo>
                  <a:pt x="4802949" y="2826423"/>
                </a:lnTo>
                <a:close/>
              </a:path>
              <a:path w="4842509" h="4812030">
                <a:moveTo>
                  <a:pt x="4841951" y="3211792"/>
                </a:moveTo>
                <a:lnTo>
                  <a:pt x="4773104" y="3214001"/>
                </a:lnTo>
                <a:lnTo>
                  <a:pt x="4732858" y="3228619"/>
                </a:lnTo>
                <a:lnTo>
                  <a:pt x="4697349" y="3251555"/>
                </a:lnTo>
                <a:lnTo>
                  <a:pt x="4667745" y="3281642"/>
                </a:lnTo>
                <a:lnTo>
                  <a:pt x="4645177" y="3317722"/>
                </a:lnTo>
                <a:lnTo>
                  <a:pt x="4630788" y="3358629"/>
                </a:lnTo>
                <a:lnTo>
                  <a:pt x="4625746" y="3403181"/>
                </a:lnTo>
                <a:lnTo>
                  <a:pt x="4630788" y="3447732"/>
                </a:lnTo>
                <a:lnTo>
                  <a:pt x="4645177" y="3488626"/>
                </a:lnTo>
                <a:lnTo>
                  <a:pt x="4667745" y="3524707"/>
                </a:lnTo>
                <a:lnTo>
                  <a:pt x="4697349" y="3554806"/>
                </a:lnTo>
                <a:lnTo>
                  <a:pt x="4732858" y="3577742"/>
                </a:lnTo>
                <a:lnTo>
                  <a:pt x="4773104" y="3592360"/>
                </a:lnTo>
                <a:lnTo>
                  <a:pt x="4816945" y="3597491"/>
                </a:lnTo>
                <a:lnTo>
                  <a:pt x="4841951" y="3594557"/>
                </a:lnTo>
                <a:lnTo>
                  <a:pt x="4841951" y="3211792"/>
                </a:lnTo>
                <a:close/>
              </a:path>
              <a:path w="4842509" h="4812030">
                <a:moveTo>
                  <a:pt x="4841951" y="1851342"/>
                </a:moveTo>
                <a:lnTo>
                  <a:pt x="4807712" y="1884832"/>
                </a:lnTo>
                <a:lnTo>
                  <a:pt x="4783315" y="1919909"/>
                </a:lnTo>
                <a:lnTo>
                  <a:pt x="4765014" y="1959063"/>
                </a:lnTo>
                <a:lnTo>
                  <a:pt x="4753534" y="2001583"/>
                </a:lnTo>
                <a:lnTo>
                  <a:pt x="4749546" y="2046757"/>
                </a:lnTo>
                <a:lnTo>
                  <a:pt x="4753534" y="2091944"/>
                </a:lnTo>
                <a:lnTo>
                  <a:pt x="4765014" y="2134463"/>
                </a:lnTo>
                <a:lnTo>
                  <a:pt x="4783315" y="2173617"/>
                </a:lnTo>
                <a:lnTo>
                  <a:pt x="4807712" y="2208695"/>
                </a:lnTo>
                <a:lnTo>
                  <a:pt x="4837519" y="2238997"/>
                </a:lnTo>
                <a:lnTo>
                  <a:pt x="4841951" y="2242185"/>
                </a:lnTo>
                <a:lnTo>
                  <a:pt x="4841951" y="1851342"/>
                </a:lnTo>
                <a:close/>
              </a:path>
              <a:path w="4842509" h="4812030">
                <a:moveTo>
                  <a:pt x="4841951" y="582485"/>
                </a:moveTo>
                <a:lnTo>
                  <a:pt x="4189387" y="582485"/>
                </a:lnTo>
                <a:lnTo>
                  <a:pt x="4140073" y="592455"/>
                </a:lnTo>
                <a:lnTo>
                  <a:pt x="4099814" y="619594"/>
                </a:lnTo>
                <a:lnTo>
                  <a:pt x="4072674" y="659866"/>
                </a:lnTo>
                <a:lnTo>
                  <a:pt x="4062730" y="709168"/>
                </a:lnTo>
                <a:lnTo>
                  <a:pt x="4072674" y="758482"/>
                </a:lnTo>
                <a:lnTo>
                  <a:pt x="4099814" y="798753"/>
                </a:lnTo>
                <a:lnTo>
                  <a:pt x="4140073" y="825906"/>
                </a:lnTo>
                <a:lnTo>
                  <a:pt x="4189387" y="835850"/>
                </a:lnTo>
                <a:lnTo>
                  <a:pt x="4767542" y="835850"/>
                </a:lnTo>
                <a:lnTo>
                  <a:pt x="4736668" y="873556"/>
                </a:lnTo>
                <a:lnTo>
                  <a:pt x="4705045" y="911199"/>
                </a:lnTo>
                <a:lnTo>
                  <a:pt x="4672723" y="948778"/>
                </a:lnTo>
                <a:lnTo>
                  <a:pt x="4639742" y="986294"/>
                </a:lnTo>
                <a:lnTo>
                  <a:pt x="4606137" y="1023747"/>
                </a:lnTo>
                <a:lnTo>
                  <a:pt x="4571949" y="1061110"/>
                </a:lnTo>
                <a:lnTo>
                  <a:pt x="4537214" y="1098384"/>
                </a:lnTo>
                <a:lnTo>
                  <a:pt x="4501985" y="1135583"/>
                </a:lnTo>
                <a:lnTo>
                  <a:pt x="4466285" y="1172667"/>
                </a:lnTo>
                <a:lnTo>
                  <a:pt x="4430166" y="1209662"/>
                </a:lnTo>
                <a:lnTo>
                  <a:pt x="4393654" y="1246543"/>
                </a:lnTo>
                <a:lnTo>
                  <a:pt x="4356811" y="1283309"/>
                </a:lnTo>
                <a:lnTo>
                  <a:pt x="4319663" y="1319961"/>
                </a:lnTo>
                <a:lnTo>
                  <a:pt x="4282249" y="1356474"/>
                </a:lnTo>
                <a:lnTo>
                  <a:pt x="4206786" y="1429118"/>
                </a:lnTo>
                <a:lnTo>
                  <a:pt x="4092625" y="1536966"/>
                </a:lnTo>
                <a:lnTo>
                  <a:pt x="3735552" y="1867319"/>
                </a:lnTo>
                <a:lnTo>
                  <a:pt x="3567468" y="2024532"/>
                </a:lnTo>
                <a:lnTo>
                  <a:pt x="3485985" y="2102446"/>
                </a:lnTo>
                <a:lnTo>
                  <a:pt x="3446056" y="2141245"/>
                </a:lnTo>
                <a:lnTo>
                  <a:pt x="3406711" y="2179929"/>
                </a:lnTo>
                <a:lnTo>
                  <a:pt x="3368014" y="2218512"/>
                </a:lnTo>
                <a:lnTo>
                  <a:pt x="3330003" y="2256993"/>
                </a:lnTo>
                <a:lnTo>
                  <a:pt x="3292716" y="2295372"/>
                </a:lnTo>
                <a:lnTo>
                  <a:pt x="3256216" y="2333663"/>
                </a:lnTo>
                <a:lnTo>
                  <a:pt x="3220529" y="2371852"/>
                </a:lnTo>
                <a:lnTo>
                  <a:pt x="3185718" y="2409952"/>
                </a:lnTo>
                <a:lnTo>
                  <a:pt x="3151809" y="2447963"/>
                </a:lnTo>
                <a:lnTo>
                  <a:pt x="3118866" y="2485885"/>
                </a:lnTo>
                <a:lnTo>
                  <a:pt x="3086925" y="2523731"/>
                </a:lnTo>
                <a:lnTo>
                  <a:pt x="3056039" y="2561488"/>
                </a:lnTo>
                <a:lnTo>
                  <a:pt x="3026245" y="2599169"/>
                </a:lnTo>
                <a:lnTo>
                  <a:pt x="2997581" y="2636761"/>
                </a:lnTo>
                <a:lnTo>
                  <a:pt x="2970111" y="2674289"/>
                </a:lnTo>
                <a:lnTo>
                  <a:pt x="2943860" y="2711742"/>
                </a:lnTo>
                <a:lnTo>
                  <a:pt x="2918904" y="2749118"/>
                </a:lnTo>
                <a:lnTo>
                  <a:pt x="2895257" y="2786430"/>
                </a:lnTo>
                <a:lnTo>
                  <a:pt x="2872981" y="2823680"/>
                </a:lnTo>
                <a:lnTo>
                  <a:pt x="2852102" y="2860865"/>
                </a:lnTo>
                <a:lnTo>
                  <a:pt x="2832697" y="2898000"/>
                </a:lnTo>
                <a:lnTo>
                  <a:pt x="2814790" y="2935059"/>
                </a:lnTo>
                <a:lnTo>
                  <a:pt x="2798432" y="2972066"/>
                </a:lnTo>
                <a:lnTo>
                  <a:pt x="2783662" y="3009023"/>
                </a:lnTo>
                <a:lnTo>
                  <a:pt x="2770543" y="3045930"/>
                </a:lnTo>
                <a:lnTo>
                  <a:pt x="2749334" y="3114700"/>
                </a:lnTo>
                <a:lnTo>
                  <a:pt x="2731732" y="3182582"/>
                </a:lnTo>
                <a:lnTo>
                  <a:pt x="2717584" y="3249536"/>
                </a:lnTo>
                <a:lnTo>
                  <a:pt x="2706751" y="3315551"/>
                </a:lnTo>
                <a:lnTo>
                  <a:pt x="2699054" y="3380562"/>
                </a:lnTo>
                <a:lnTo>
                  <a:pt x="2694368" y="3444557"/>
                </a:lnTo>
                <a:lnTo>
                  <a:pt x="2692539" y="3507486"/>
                </a:lnTo>
                <a:lnTo>
                  <a:pt x="2693416" y="3569322"/>
                </a:lnTo>
                <a:lnTo>
                  <a:pt x="2696845" y="3630015"/>
                </a:lnTo>
                <a:lnTo>
                  <a:pt x="2702687" y="3689553"/>
                </a:lnTo>
                <a:lnTo>
                  <a:pt x="2710777" y="3747884"/>
                </a:lnTo>
                <a:lnTo>
                  <a:pt x="2720975" y="3804970"/>
                </a:lnTo>
                <a:lnTo>
                  <a:pt x="2733116" y="3860787"/>
                </a:lnTo>
                <a:lnTo>
                  <a:pt x="2747073" y="3915295"/>
                </a:lnTo>
                <a:lnTo>
                  <a:pt x="2762681" y="3968458"/>
                </a:lnTo>
                <a:lnTo>
                  <a:pt x="2779801" y="4020235"/>
                </a:lnTo>
                <a:lnTo>
                  <a:pt x="2798267" y="4070591"/>
                </a:lnTo>
                <a:lnTo>
                  <a:pt x="2817952" y="4119499"/>
                </a:lnTo>
                <a:lnTo>
                  <a:pt x="2838678" y="4166908"/>
                </a:lnTo>
                <a:lnTo>
                  <a:pt x="2860319" y="4212806"/>
                </a:lnTo>
                <a:lnTo>
                  <a:pt x="2882709" y="4257129"/>
                </a:lnTo>
                <a:lnTo>
                  <a:pt x="2905709" y="4299864"/>
                </a:lnTo>
                <a:lnTo>
                  <a:pt x="2929166" y="4340974"/>
                </a:lnTo>
                <a:lnTo>
                  <a:pt x="2952927" y="4380408"/>
                </a:lnTo>
                <a:lnTo>
                  <a:pt x="2976854" y="4418139"/>
                </a:lnTo>
                <a:lnTo>
                  <a:pt x="3000768" y="4454131"/>
                </a:lnTo>
                <a:lnTo>
                  <a:pt x="3024555" y="4488345"/>
                </a:lnTo>
                <a:lnTo>
                  <a:pt x="3048038" y="4520755"/>
                </a:lnTo>
                <a:lnTo>
                  <a:pt x="3071076" y="4551324"/>
                </a:lnTo>
                <a:lnTo>
                  <a:pt x="3115233" y="4606772"/>
                </a:lnTo>
                <a:lnTo>
                  <a:pt x="3155810" y="4654410"/>
                </a:lnTo>
                <a:lnTo>
                  <a:pt x="3191624" y="4693945"/>
                </a:lnTo>
                <a:lnTo>
                  <a:pt x="3221456" y="4725098"/>
                </a:lnTo>
                <a:lnTo>
                  <a:pt x="3252393" y="4755489"/>
                </a:lnTo>
                <a:lnTo>
                  <a:pt x="3289871" y="4785195"/>
                </a:lnTo>
                <a:lnTo>
                  <a:pt x="3352101" y="4808791"/>
                </a:lnTo>
                <a:lnTo>
                  <a:pt x="3384816" y="4811725"/>
                </a:lnTo>
                <a:lnTo>
                  <a:pt x="3422065" y="4807928"/>
                </a:lnTo>
                <a:lnTo>
                  <a:pt x="3491369" y="4777714"/>
                </a:lnTo>
                <a:lnTo>
                  <a:pt x="3520922" y="4751438"/>
                </a:lnTo>
                <a:lnTo>
                  <a:pt x="3548837" y="4710963"/>
                </a:lnTo>
                <a:lnTo>
                  <a:pt x="3564598" y="4666081"/>
                </a:lnTo>
                <a:lnTo>
                  <a:pt x="3568331" y="4619295"/>
                </a:lnTo>
                <a:lnTo>
                  <a:pt x="3560165" y="4573067"/>
                </a:lnTo>
                <a:lnTo>
                  <a:pt x="3540239" y="4529861"/>
                </a:lnTo>
                <a:lnTo>
                  <a:pt x="3508654" y="4492129"/>
                </a:lnTo>
                <a:lnTo>
                  <a:pt x="3500399" y="4484382"/>
                </a:lnTo>
                <a:lnTo>
                  <a:pt x="3484295" y="4468546"/>
                </a:lnTo>
                <a:lnTo>
                  <a:pt x="3433026" y="4413796"/>
                </a:lnTo>
                <a:lnTo>
                  <a:pt x="3400107" y="4375455"/>
                </a:lnTo>
                <a:lnTo>
                  <a:pt x="3363798" y="4330217"/>
                </a:lnTo>
                <a:lnTo>
                  <a:pt x="3325253" y="4278363"/>
                </a:lnTo>
                <a:lnTo>
                  <a:pt x="3285566" y="4220172"/>
                </a:lnTo>
                <a:lnTo>
                  <a:pt x="3245878" y="4155960"/>
                </a:lnTo>
                <a:lnTo>
                  <a:pt x="3207283" y="4085996"/>
                </a:lnTo>
                <a:lnTo>
                  <a:pt x="3803065" y="4085996"/>
                </a:lnTo>
                <a:lnTo>
                  <a:pt x="3852380" y="4076039"/>
                </a:lnTo>
                <a:lnTo>
                  <a:pt x="3892639" y="4048887"/>
                </a:lnTo>
                <a:lnTo>
                  <a:pt x="3919766" y="4008628"/>
                </a:lnTo>
                <a:lnTo>
                  <a:pt x="3929723" y="3959314"/>
                </a:lnTo>
                <a:lnTo>
                  <a:pt x="3919766" y="3910012"/>
                </a:lnTo>
                <a:lnTo>
                  <a:pt x="3892639" y="3869740"/>
                </a:lnTo>
                <a:lnTo>
                  <a:pt x="3852380" y="3842588"/>
                </a:lnTo>
                <a:lnTo>
                  <a:pt x="3803065" y="3832631"/>
                </a:lnTo>
                <a:lnTo>
                  <a:pt x="3106051" y="3832631"/>
                </a:lnTo>
                <a:lnTo>
                  <a:pt x="3093821" y="3786289"/>
                </a:lnTo>
                <a:lnTo>
                  <a:pt x="3083318" y="3738765"/>
                </a:lnTo>
                <a:lnTo>
                  <a:pt x="3074657" y="3690099"/>
                </a:lnTo>
                <a:lnTo>
                  <a:pt x="3068002" y="3640340"/>
                </a:lnTo>
                <a:lnTo>
                  <a:pt x="3063494" y="3589528"/>
                </a:lnTo>
                <a:lnTo>
                  <a:pt x="3061284" y="3537686"/>
                </a:lnTo>
                <a:lnTo>
                  <a:pt x="4186415" y="3537686"/>
                </a:lnTo>
                <a:lnTo>
                  <a:pt x="4235729" y="3527742"/>
                </a:lnTo>
                <a:lnTo>
                  <a:pt x="4275988" y="3500590"/>
                </a:lnTo>
                <a:lnTo>
                  <a:pt x="4303128" y="3460318"/>
                </a:lnTo>
                <a:lnTo>
                  <a:pt x="4313072" y="3411004"/>
                </a:lnTo>
                <a:lnTo>
                  <a:pt x="4303128" y="3361702"/>
                </a:lnTo>
                <a:lnTo>
                  <a:pt x="4275988" y="3321431"/>
                </a:lnTo>
                <a:lnTo>
                  <a:pt x="4235729" y="3294291"/>
                </a:lnTo>
                <a:lnTo>
                  <a:pt x="4186415" y="3284321"/>
                </a:lnTo>
                <a:lnTo>
                  <a:pt x="3085935" y="3284321"/>
                </a:lnTo>
                <a:lnTo>
                  <a:pt x="3092831" y="3254083"/>
                </a:lnTo>
                <a:lnTo>
                  <a:pt x="3109315" y="3192983"/>
                </a:lnTo>
                <a:lnTo>
                  <a:pt x="3133902" y="3122079"/>
                </a:lnTo>
                <a:lnTo>
                  <a:pt x="3151809" y="3081401"/>
                </a:lnTo>
                <a:lnTo>
                  <a:pt x="3172637" y="3040075"/>
                </a:lnTo>
                <a:lnTo>
                  <a:pt x="3196209" y="2998165"/>
                </a:lnTo>
                <a:lnTo>
                  <a:pt x="3222371" y="2955658"/>
                </a:lnTo>
                <a:lnTo>
                  <a:pt x="3222929" y="2955658"/>
                </a:lnTo>
                <a:lnTo>
                  <a:pt x="3223450" y="2955823"/>
                </a:lnTo>
                <a:lnTo>
                  <a:pt x="4085818" y="2955823"/>
                </a:lnTo>
                <a:lnTo>
                  <a:pt x="4086631" y="2955658"/>
                </a:lnTo>
                <a:lnTo>
                  <a:pt x="4135132" y="2945866"/>
                </a:lnTo>
                <a:lnTo>
                  <a:pt x="4175391" y="2918714"/>
                </a:lnTo>
                <a:lnTo>
                  <a:pt x="4202519" y="2878455"/>
                </a:lnTo>
                <a:lnTo>
                  <a:pt x="4212475" y="2829141"/>
                </a:lnTo>
                <a:lnTo>
                  <a:pt x="4202519" y="2779839"/>
                </a:lnTo>
                <a:lnTo>
                  <a:pt x="4175391" y="2739567"/>
                </a:lnTo>
                <a:lnTo>
                  <a:pt x="4135132" y="2712415"/>
                </a:lnTo>
                <a:lnTo>
                  <a:pt x="4085818" y="2702458"/>
                </a:lnTo>
                <a:lnTo>
                  <a:pt x="3416541" y="2702458"/>
                </a:lnTo>
                <a:lnTo>
                  <a:pt x="3446754" y="2668371"/>
                </a:lnTo>
                <a:lnTo>
                  <a:pt x="3477958" y="2634030"/>
                </a:lnTo>
                <a:lnTo>
                  <a:pt x="3510102" y="2599436"/>
                </a:lnTo>
                <a:lnTo>
                  <a:pt x="3543135" y="2564612"/>
                </a:lnTo>
                <a:lnTo>
                  <a:pt x="3577018" y="2529548"/>
                </a:lnTo>
                <a:lnTo>
                  <a:pt x="3611702" y="2494267"/>
                </a:lnTo>
                <a:lnTo>
                  <a:pt x="3647122" y="2458758"/>
                </a:lnTo>
                <a:lnTo>
                  <a:pt x="3683254" y="2423045"/>
                </a:lnTo>
                <a:lnTo>
                  <a:pt x="3720046" y="2387117"/>
                </a:lnTo>
                <a:lnTo>
                  <a:pt x="3795395" y="2314702"/>
                </a:lnTo>
                <a:lnTo>
                  <a:pt x="3912184" y="2204707"/>
                </a:lnTo>
                <a:lnTo>
                  <a:pt x="4351325" y="1798180"/>
                </a:lnTo>
                <a:lnTo>
                  <a:pt x="4468863" y="1687245"/>
                </a:lnTo>
                <a:lnTo>
                  <a:pt x="4546206" y="1612912"/>
                </a:lnTo>
                <a:lnTo>
                  <a:pt x="4584484" y="1575625"/>
                </a:lnTo>
                <a:lnTo>
                  <a:pt x="4622444" y="1538236"/>
                </a:lnTo>
                <a:lnTo>
                  <a:pt x="4660087" y="1500771"/>
                </a:lnTo>
                <a:lnTo>
                  <a:pt x="4697361" y="1463205"/>
                </a:lnTo>
                <a:lnTo>
                  <a:pt x="4734242" y="1425549"/>
                </a:lnTo>
                <a:lnTo>
                  <a:pt x="4770691" y="1387792"/>
                </a:lnTo>
                <a:lnTo>
                  <a:pt x="4806696" y="1349933"/>
                </a:lnTo>
                <a:lnTo>
                  <a:pt x="4841951" y="1312240"/>
                </a:lnTo>
                <a:lnTo>
                  <a:pt x="4841951" y="582485"/>
                </a:lnTo>
                <a:close/>
              </a:path>
              <a:path w="4842509" h="4812030">
                <a:moveTo>
                  <a:pt x="4841951" y="7937"/>
                </a:moveTo>
                <a:lnTo>
                  <a:pt x="4133786" y="7937"/>
                </a:lnTo>
                <a:lnTo>
                  <a:pt x="4084472" y="17907"/>
                </a:lnTo>
                <a:lnTo>
                  <a:pt x="4044213" y="45046"/>
                </a:lnTo>
                <a:lnTo>
                  <a:pt x="4017073" y="85318"/>
                </a:lnTo>
                <a:lnTo>
                  <a:pt x="4007129" y="134620"/>
                </a:lnTo>
                <a:lnTo>
                  <a:pt x="4017073" y="183934"/>
                </a:lnTo>
                <a:lnTo>
                  <a:pt x="4044213" y="224205"/>
                </a:lnTo>
                <a:lnTo>
                  <a:pt x="4084472" y="251358"/>
                </a:lnTo>
                <a:lnTo>
                  <a:pt x="4133786" y="261315"/>
                </a:lnTo>
                <a:lnTo>
                  <a:pt x="4841951" y="261315"/>
                </a:lnTo>
                <a:lnTo>
                  <a:pt x="4841951" y="7937"/>
                </a:lnTo>
                <a:close/>
              </a:path>
            </a:pathLst>
          </a:custGeom>
          <a:solidFill>
            <a:srgbClr val="0E5C77">
              <a:alpha val="23999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9489945-D82B-16EA-87F9-4DB1AC09BCAB}"/>
              </a:ext>
            </a:extLst>
          </p:cNvPr>
          <p:cNvGrpSpPr/>
          <p:nvPr userDrawn="1"/>
        </p:nvGrpSpPr>
        <p:grpSpPr>
          <a:xfrm>
            <a:off x="9598" y="4557616"/>
            <a:ext cx="3097294" cy="2298207"/>
            <a:chOff x="9598" y="4557616"/>
            <a:chExt cx="3097294" cy="2298207"/>
          </a:xfrm>
        </p:grpSpPr>
        <p:sp>
          <p:nvSpPr>
            <p:cNvPr id="22" name="object 4">
              <a:extLst>
                <a:ext uri="{FF2B5EF4-FFF2-40B4-BE49-F238E27FC236}">
                  <a16:creationId xmlns:a16="http://schemas.microsoft.com/office/drawing/2014/main" id="{863EF05D-4F3C-2EAC-0BD4-17EC180015FD}"/>
                </a:ext>
              </a:extLst>
            </p:cNvPr>
            <p:cNvSpPr/>
            <p:nvPr/>
          </p:nvSpPr>
          <p:spPr>
            <a:xfrm>
              <a:off x="1316370" y="6327748"/>
              <a:ext cx="614398" cy="528026"/>
            </a:xfrm>
            <a:custGeom>
              <a:avLst/>
              <a:gdLst/>
              <a:ahLst/>
              <a:cxnLst/>
              <a:rect l="l" t="t" r="r" b="b"/>
              <a:pathLst>
                <a:path w="677544" h="582295">
                  <a:moveTo>
                    <a:pt x="166528" y="0"/>
                  </a:moveTo>
                  <a:lnTo>
                    <a:pt x="120868" y="10089"/>
                  </a:lnTo>
                  <a:lnTo>
                    <a:pt x="78669" y="31774"/>
                  </a:lnTo>
                  <a:lnTo>
                    <a:pt x="42356" y="64816"/>
                  </a:lnTo>
                  <a:lnTo>
                    <a:pt x="16032" y="106257"/>
                  </a:lnTo>
                  <a:lnTo>
                    <a:pt x="1987" y="151637"/>
                  </a:lnTo>
                  <a:lnTo>
                    <a:pt x="0" y="198494"/>
                  </a:lnTo>
                  <a:lnTo>
                    <a:pt x="9847" y="244368"/>
                  </a:lnTo>
                  <a:lnTo>
                    <a:pt x="31309" y="286798"/>
                  </a:lnTo>
                  <a:lnTo>
                    <a:pt x="64161" y="323324"/>
                  </a:lnTo>
                  <a:lnTo>
                    <a:pt x="72492" y="330740"/>
                  </a:lnTo>
                  <a:lnTo>
                    <a:pt x="89603" y="347032"/>
                  </a:lnTo>
                  <a:lnTo>
                    <a:pt x="143984" y="405507"/>
                  </a:lnTo>
                  <a:lnTo>
                    <a:pt x="178162" y="447320"/>
                  </a:lnTo>
                  <a:lnTo>
                    <a:pt x="214937" y="497272"/>
                  </a:lnTo>
                  <a:lnTo>
                    <a:pt x="252764" y="555177"/>
                  </a:lnTo>
                  <a:lnTo>
                    <a:pt x="267956" y="581905"/>
                  </a:lnTo>
                  <a:lnTo>
                    <a:pt x="676956" y="581905"/>
                  </a:lnTo>
                  <a:lnTo>
                    <a:pt x="654079" y="529010"/>
                  </a:lnTo>
                  <a:lnTo>
                    <a:pt x="630400" y="479497"/>
                  </a:lnTo>
                  <a:lnTo>
                    <a:pt x="605823" y="432480"/>
                  </a:lnTo>
                  <a:lnTo>
                    <a:pt x="580604" y="387985"/>
                  </a:lnTo>
                  <a:lnTo>
                    <a:pt x="555000" y="346039"/>
                  </a:lnTo>
                  <a:lnTo>
                    <a:pt x="529267" y="306670"/>
                  </a:lnTo>
                  <a:lnTo>
                    <a:pt x="503664" y="269906"/>
                  </a:lnTo>
                  <a:lnTo>
                    <a:pt x="478447" y="235772"/>
                  </a:lnTo>
                  <a:lnTo>
                    <a:pt x="453872" y="204296"/>
                  </a:lnTo>
                  <a:lnTo>
                    <a:pt x="407680" y="149427"/>
                  </a:lnTo>
                  <a:lnTo>
                    <a:pt x="367144" y="105516"/>
                  </a:lnTo>
                  <a:lnTo>
                    <a:pt x="334319" y="72781"/>
                  </a:lnTo>
                  <a:lnTo>
                    <a:pt x="300026" y="41702"/>
                  </a:lnTo>
                  <a:lnTo>
                    <a:pt x="258532" y="15566"/>
                  </a:lnTo>
                  <a:lnTo>
                    <a:pt x="213224" y="1745"/>
                  </a:lnTo>
                  <a:lnTo>
                    <a:pt x="16652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CB05B7DE-D1A8-92D2-6742-E486186D58AC}"/>
                </a:ext>
              </a:extLst>
            </p:cNvPr>
            <p:cNvSpPr/>
            <p:nvPr/>
          </p:nvSpPr>
          <p:spPr>
            <a:xfrm>
              <a:off x="809301" y="617207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6"/>
                  </a:lnTo>
                  <a:lnTo>
                    <a:pt x="42002" y="72776"/>
                  </a:lnTo>
                  <a:lnTo>
                    <a:pt x="19432" y="108852"/>
                  </a:lnTo>
                  <a:lnTo>
                    <a:pt x="5049" y="149748"/>
                  </a:lnTo>
                  <a:lnTo>
                    <a:pt x="0" y="194297"/>
                  </a:lnTo>
                  <a:lnTo>
                    <a:pt x="5049" y="238850"/>
                  </a:lnTo>
                  <a:lnTo>
                    <a:pt x="19432" y="279750"/>
                  </a:lnTo>
                  <a:lnTo>
                    <a:pt x="42002" y="315828"/>
                  </a:lnTo>
                  <a:lnTo>
                    <a:pt x="71611" y="345919"/>
                  </a:lnTo>
                  <a:lnTo>
                    <a:pt x="107112" y="368857"/>
                  </a:lnTo>
                  <a:lnTo>
                    <a:pt x="147357" y="383475"/>
                  </a:lnTo>
                  <a:lnTo>
                    <a:pt x="191198" y="388607"/>
                  </a:lnTo>
                  <a:lnTo>
                    <a:pt x="235039" y="383475"/>
                  </a:lnTo>
                  <a:lnTo>
                    <a:pt x="275284" y="368857"/>
                  </a:lnTo>
                  <a:lnTo>
                    <a:pt x="310785" y="345919"/>
                  </a:lnTo>
                  <a:lnTo>
                    <a:pt x="340394" y="315828"/>
                  </a:lnTo>
                  <a:lnTo>
                    <a:pt x="362964" y="279750"/>
                  </a:lnTo>
                  <a:lnTo>
                    <a:pt x="377347" y="238850"/>
                  </a:lnTo>
                  <a:lnTo>
                    <a:pt x="382397" y="194297"/>
                  </a:lnTo>
                  <a:lnTo>
                    <a:pt x="377347" y="149748"/>
                  </a:lnTo>
                  <a:lnTo>
                    <a:pt x="362964" y="108852"/>
                  </a:lnTo>
                  <a:lnTo>
                    <a:pt x="340394" y="72776"/>
                  </a:lnTo>
                  <a:lnTo>
                    <a:pt x="310785" y="42686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B42D0B40-8726-CFF6-45C8-D6DD9073ADC5}"/>
                </a:ext>
              </a:extLst>
            </p:cNvPr>
            <p:cNvSpPr/>
            <p:nvPr/>
          </p:nvSpPr>
          <p:spPr>
            <a:xfrm>
              <a:off x="1879928" y="6007961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10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20"/>
                  </a:lnTo>
                  <a:lnTo>
                    <a:pt x="235035" y="383488"/>
                  </a:lnTo>
                  <a:lnTo>
                    <a:pt x="275279" y="368870"/>
                  </a:lnTo>
                  <a:lnTo>
                    <a:pt x="310779" y="345932"/>
                  </a:lnTo>
                  <a:lnTo>
                    <a:pt x="340390" y="315841"/>
                  </a:lnTo>
                  <a:lnTo>
                    <a:pt x="362961" y="279762"/>
                  </a:lnTo>
                  <a:lnTo>
                    <a:pt x="377346" y="238863"/>
                  </a:lnTo>
                  <a:lnTo>
                    <a:pt x="382397" y="194310"/>
                  </a:lnTo>
                  <a:lnTo>
                    <a:pt x="377346" y="149756"/>
                  </a:lnTo>
                  <a:lnTo>
                    <a:pt x="362961" y="108857"/>
                  </a:lnTo>
                  <a:lnTo>
                    <a:pt x="340390" y="72778"/>
                  </a:lnTo>
                  <a:lnTo>
                    <a:pt x="310779" y="42687"/>
                  </a:lnTo>
                  <a:lnTo>
                    <a:pt x="275279" y="19749"/>
                  </a:lnTo>
                  <a:lnTo>
                    <a:pt x="235035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94932D03-1DB6-8192-A37F-9BC1EC4AD97E}"/>
                </a:ext>
              </a:extLst>
            </p:cNvPr>
            <p:cNvSpPr/>
            <p:nvPr/>
          </p:nvSpPr>
          <p:spPr>
            <a:xfrm>
              <a:off x="1755210" y="5407218"/>
              <a:ext cx="347219" cy="352401"/>
            </a:xfrm>
            <a:custGeom>
              <a:avLst/>
              <a:gdLst/>
              <a:ahLst/>
              <a:cxnLst/>
              <a:rect l="l" t="t" r="r" b="b"/>
              <a:pathLst>
                <a:path w="382905" h="388620">
                  <a:moveTo>
                    <a:pt x="191198" y="0"/>
                  </a:moveTo>
                  <a:lnTo>
                    <a:pt x="147357" y="5131"/>
                  </a:lnTo>
                  <a:lnTo>
                    <a:pt x="107112" y="19749"/>
                  </a:lnTo>
                  <a:lnTo>
                    <a:pt x="71611" y="42687"/>
                  </a:lnTo>
                  <a:lnTo>
                    <a:pt x="42002" y="72778"/>
                  </a:lnTo>
                  <a:lnTo>
                    <a:pt x="19432" y="108857"/>
                  </a:lnTo>
                  <a:lnTo>
                    <a:pt x="5049" y="149756"/>
                  </a:lnTo>
                  <a:lnTo>
                    <a:pt x="0" y="194309"/>
                  </a:lnTo>
                  <a:lnTo>
                    <a:pt x="5049" y="238863"/>
                  </a:lnTo>
                  <a:lnTo>
                    <a:pt x="19432" y="279762"/>
                  </a:lnTo>
                  <a:lnTo>
                    <a:pt x="42002" y="315841"/>
                  </a:lnTo>
                  <a:lnTo>
                    <a:pt x="71611" y="345932"/>
                  </a:lnTo>
                  <a:lnTo>
                    <a:pt x="107112" y="368870"/>
                  </a:lnTo>
                  <a:lnTo>
                    <a:pt x="147357" y="383488"/>
                  </a:lnTo>
                  <a:lnTo>
                    <a:pt x="191198" y="388619"/>
                  </a:lnTo>
                  <a:lnTo>
                    <a:pt x="235039" y="383488"/>
                  </a:lnTo>
                  <a:lnTo>
                    <a:pt x="275284" y="368870"/>
                  </a:lnTo>
                  <a:lnTo>
                    <a:pt x="310785" y="345932"/>
                  </a:lnTo>
                  <a:lnTo>
                    <a:pt x="340394" y="315841"/>
                  </a:lnTo>
                  <a:lnTo>
                    <a:pt x="362964" y="279762"/>
                  </a:lnTo>
                  <a:lnTo>
                    <a:pt x="377347" y="238863"/>
                  </a:lnTo>
                  <a:lnTo>
                    <a:pt x="382397" y="194309"/>
                  </a:lnTo>
                  <a:lnTo>
                    <a:pt x="377347" y="149756"/>
                  </a:lnTo>
                  <a:lnTo>
                    <a:pt x="362964" y="108857"/>
                  </a:lnTo>
                  <a:lnTo>
                    <a:pt x="340394" y="72778"/>
                  </a:lnTo>
                  <a:lnTo>
                    <a:pt x="310785" y="42687"/>
                  </a:lnTo>
                  <a:lnTo>
                    <a:pt x="275284" y="19749"/>
                  </a:lnTo>
                  <a:lnTo>
                    <a:pt x="235039" y="5131"/>
                  </a:lnTo>
                  <a:lnTo>
                    <a:pt x="1911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8">
              <a:extLst>
                <a:ext uri="{FF2B5EF4-FFF2-40B4-BE49-F238E27FC236}">
                  <a16:creationId xmlns:a16="http://schemas.microsoft.com/office/drawing/2014/main" id="{870B1266-3B19-111C-D391-A0174B1E3628}"/>
                </a:ext>
              </a:extLst>
            </p:cNvPr>
            <p:cNvSpPr/>
            <p:nvPr/>
          </p:nvSpPr>
          <p:spPr>
            <a:xfrm>
              <a:off x="1088618" y="5550074"/>
              <a:ext cx="415741" cy="422651"/>
            </a:xfrm>
            <a:custGeom>
              <a:avLst/>
              <a:gdLst/>
              <a:ahLst/>
              <a:cxnLst/>
              <a:rect l="l" t="t" r="r" b="b"/>
              <a:pathLst>
                <a:path w="458469" h="466090">
                  <a:moveTo>
                    <a:pt x="229044" y="0"/>
                  </a:moveTo>
                  <a:lnTo>
                    <a:pt x="182885" y="4728"/>
                  </a:lnTo>
                  <a:lnTo>
                    <a:pt x="139892" y="18290"/>
                  </a:lnTo>
                  <a:lnTo>
                    <a:pt x="100986" y="39750"/>
                  </a:lnTo>
                  <a:lnTo>
                    <a:pt x="67087" y="68172"/>
                  </a:lnTo>
                  <a:lnTo>
                    <a:pt x="39118" y="102620"/>
                  </a:lnTo>
                  <a:lnTo>
                    <a:pt x="18000" y="142158"/>
                  </a:lnTo>
                  <a:lnTo>
                    <a:pt x="4653" y="185852"/>
                  </a:lnTo>
                  <a:lnTo>
                    <a:pt x="0" y="232765"/>
                  </a:lnTo>
                  <a:lnTo>
                    <a:pt x="4653" y="279679"/>
                  </a:lnTo>
                  <a:lnTo>
                    <a:pt x="18000" y="323374"/>
                  </a:lnTo>
                  <a:lnTo>
                    <a:pt x="39118" y="362915"/>
                  </a:lnTo>
                  <a:lnTo>
                    <a:pt x="67087" y="397365"/>
                  </a:lnTo>
                  <a:lnTo>
                    <a:pt x="100986" y="425789"/>
                  </a:lnTo>
                  <a:lnTo>
                    <a:pt x="139892" y="447251"/>
                  </a:lnTo>
                  <a:lnTo>
                    <a:pt x="182885" y="460814"/>
                  </a:lnTo>
                  <a:lnTo>
                    <a:pt x="229044" y="465543"/>
                  </a:lnTo>
                  <a:lnTo>
                    <a:pt x="275207" y="460814"/>
                  </a:lnTo>
                  <a:lnTo>
                    <a:pt x="318203" y="447251"/>
                  </a:lnTo>
                  <a:lnTo>
                    <a:pt x="357112" y="425789"/>
                  </a:lnTo>
                  <a:lnTo>
                    <a:pt x="391012" y="397365"/>
                  </a:lnTo>
                  <a:lnTo>
                    <a:pt x="418982" y="362915"/>
                  </a:lnTo>
                  <a:lnTo>
                    <a:pt x="440101" y="323374"/>
                  </a:lnTo>
                  <a:lnTo>
                    <a:pt x="453448" y="279679"/>
                  </a:lnTo>
                  <a:lnTo>
                    <a:pt x="458101" y="232765"/>
                  </a:lnTo>
                  <a:lnTo>
                    <a:pt x="453448" y="185852"/>
                  </a:lnTo>
                  <a:lnTo>
                    <a:pt x="440101" y="142158"/>
                  </a:lnTo>
                  <a:lnTo>
                    <a:pt x="418982" y="102620"/>
                  </a:lnTo>
                  <a:lnTo>
                    <a:pt x="391012" y="68172"/>
                  </a:lnTo>
                  <a:lnTo>
                    <a:pt x="357112" y="39750"/>
                  </a:lnTo>
                  <a:lnTo>
                    <a:pt x="318203" y="18290"/>
                  </a:lnTo>
                  <a:lnTo>
                    <a:pt x="275207" y="4728"/>
                  </a:lnTo>
                  <a:lnTo>
                    <a:pt x="22904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9">
              <a:extLst>
                <a:ext uri="{FF2B5EF4-FFF2-40B4-BE49-F238E27FC236}">
                  <a16:creationId xmlns:a16="http://schemas.microsoft.com/office/drawing/2014/main" id="{A1B8B559-FDDD-3768-BE13-48E60B67B738}"/>
                </a:ext>
              </a:extLst>
            </p:cNvPr>
            <p:cNvSpPr/>
            <p:nvPr/>
          </p:nvSpPr>
          <p:spPr>
            <a:xfrm>
              <a:off x="2464854" y="6493633"/>
              <a:ext cx="642038" cy="362190"/>
            </a:xfrm>
            <a:custGeom>
              <a:avLst/>
              <a:gdLst/>
              <a:ahLst/>
              <a:cxnLst/>
              <a:rect l="l" t="t" r="r" b="b"/>
              <a:pathLst>
                <a:path w="708025" h="399415">
                  <a:moveTo>
                    <a:pt x="353898" y="0"/>
                  </a:moveTo>
                  <a:lnTo>
                    <a:pt x="305876" y="3283"/>
                  </a:lnTo>
                  <a:lnTo>
                    <a:pt x="259817" y="12847"/>
                  </a:lnTo>
                  <a:lnTo>
                    <a:pt x="216144" y="28263"/>
                  </a:lnTo>
                  <a:lnTo>
                    <a:pt x="175278" y="49103"/>
                  </a:lnTo>
                  <a:lnTo>
                    <a:pt x="137641" y="74938"/>
                  </a:lnTo>
                  <a:lnTo>
                    <a:pt x="103654" y="105340"/>
                  </a:lnTo>
                  <a:lnTo>
                    <a:pt x="73739" y="139879"/>
                  </a:lnTo>
                  <a:lnTo>
                    <a:pt x="48317" y="178129"/>
                  </a:lnTo>
                  <a:lnTo>
                    <a:pt x="27811" y="219659"/>
                  </a:lnTo>
                  <a:lnTo>
                    <a:pt x="12641" y="264042"/>
                  </a:lnTo>
                  <a:lnTo>
                    <a:pt x="3230" y="310849"/>
                  </a:lnTo>
                  <a:lnTo>
                    <a:pt x="0" y="359651"/>
                  </a:lnTo>
                  <a:lnTo>
                    <a:pt x="2602" y="398971"/>
                  </a:lnTo>
                  <a:lnTo>
                    <a:pt x="705193" y="398971"/>
                  </a:lnTo>
                  <a:lnTo>
                    <a:pt x="707796" y="359651"/>
                  </a:lnTo>
                  <a:lnTo>
                    <a:pt x="704565" y="310849"/>
                  </a:lnTo>
                  <a:lnTo>
                    <a:pt x="695154" y="264042"/>
                  </a:lnTo>
                  <a:lnTo>
                    <a:pt x="679985" y="219659"/>
                  </a:lnTo>
                  <a:lnTo>
                    <a:pt x="659479" y="178129"/>
                  </a:lnTo>
                  <a:lnTo>
                    <a:pt x="634057" y="139879"/>
                  </a:lnTo>
                  <a:lnTo>
                    <a:pt x="604142" y="105340"/>
                  </a:lnTo>
                  <a:lnTo>
                    <a:pt x="570155" y="74938"/>
                  </a:lnTo>
                  <a:lnTo>
                    <a:pt x="532517" y="49103"/>
                  </a:lnTo>
                  <a:lnTo>
                    <a:pt x="491651" y="28263"/>
                  </a:lnTo>
                  <a:lnTo>
                    <a:pt x="447978" y="12847"/>
                  </a:lnTo>
                  <a:lnTo>
                    <a:pt x="401920" y="3283"/>
                  </a:lnTo>
                  <a:lnTo>
                    <a:pt x="353898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10">
              <a:extLst>
                <a:ext uri="{FF2B5EF4-FFF2-40B4-BE49-F238E27FC236}">
                  <a16:creationId xmlns:a16="http://schemas.microsoft.com/office/drawing/2014/main" id="{9412B5DB-583A-8967-5D35-7E8CFCA6F004}"/>
                </a:ext>
              </a:extLst>
            </p:cNvPr>
            <p:cNvSpPr/>
            <p:nvPr/>
          </p:nvSpPr>
          <p:spPr>
            <a:xfrm>
              <a:off x="871644" y="4706903"/>
              <a:ext cx="536087" cy="545300"/>
            </a:xfrm>
            <a:custGeom>
              <a:avLst/>
              <a:gdLst/>
              <a:ahLst/>
              <a:cxnLst/>
              <a:rect l="l" t="t" r="r" b="b"/>
              <a:pathLst>
                <a:path w="591185" h="601345">
                  <a:moveTo>
                    <a:pt x="295554" y="0"/>
                  </a:moveTo>
                  <a:lnTo>
                    <a:pt x="247613" y="3930"/>
                  </a:lnTo>
                  <a:lnTo>
                    <a:pt x="202135" y="15311"/>
                  </a:lnTo>
                  <a:lnTo>
                    <a:pt x="159728" y="33523"/>
                  </a:lnTo>
                  <a:lnTo>
                    <a:pt x="121002" y="57949"/>
                  </a:lnTo>
                  <a:lnTo>
                    <a:pt x="86564" y="87969"/>
                  </a:lnTo>
                  <a:lnTo>
                    <a:pt x="57024" y="122966"/>
                  </a:lnTo>
                  <a:lnTo>
                    <a:pt x="32988" y="162321"/>
                  </a:lnTo>
                  <a:lnTo>
                    <a:pt x="15067" y="205417"/>
                  </a:lnTo>
                  <a:lnTo>
                    <a:pt x="3868" y="251634"/>
                  </a:lnTo>
                  <a:lnTo>
                    <a:pt x="0" y="300354"/>
                  </a:lnTo>
                  <a:lnTo>
                    <a:pt x="3868" y="349075"/>
                  </a:lnTo>
                  <a:lnTo>
                    <a:pt x="15067" y="395294"/>
                  </a:lnTo>
                  <a:lnTo>
                    <a:pt x="32988" y="438390"/>
                  </a:lnTo>
                  <a:lnTo>
                    <a:pt x="57024" y="477747"/>
                  </a:lnTo>
                  <a:lnTo>
                    <a:pt x="86564" y="512746"/>
                  </a:lnTo>
                  <a:lnTo>
                    <a:pt x="121002" y="542768"/>
                  </a:lnTo>
                  <a:lnTo>
                    <a:pt x="159728" y="567195"/>
                  </a:lnTo>
                  <a:lnTo>
                    <a:pt x="202135" y="585409"/>
                  </a:lnTo>
                  <a:lnTo>
                    <a:pt x="247613" y="596791"/>
                  </a:lnTo>
                  <a:lnTo>
                    <a:pt x="295554" y="600722"/>
                  </a:lnTo>
                  <a:lnTo>
                    <a:pt x="343495" y="596791"/>
                  </a:lnTo>
                  <a:lnTo>
                    <a:pt x="388973" y="585409"/>
                  </a:lnTo>
                  <a:lnTo>
                    <a:pt x="431379" y="567195"/>
                  </a:lnTo>
                  <a:lnTo>
                    <a:pt x="470106" y="542768"/>
                  </a:lnTo>
                  <a:lnTo>
                    <a:pt x="504544" y="512746"/>
                  </a:lnTo>
                  <a:lnTo>
                    <a:pt x="534084" y="477747"/>
                  </a:lnTo>
                  <a:lnTo>
                    <a:pt x="558120" y="438390"/>
                  </a:lnTo>
                  <a:lnTo>
                    <a:pt x="576041" y="395294"/>
                  </a:lnTo>
                  <a:lnTo>
                    <a:pt x="587240" y="349075"/>
                  </a:lnTo>
                  <a:lnTo>
                    <a:pt x="591108" y="300354"/>
                  </a:lnTo>
                  <a:lnTo>
                    <a:pt x="587240" y="251634"/>
                  </a:lnTo>
                  <a:lnTo>
                    <a:pt x="576041" y="205417"/>
                  </a:lnTo>
                  <a:lnTo>
                    <a:pt x="558120" y="162321"/>
                  </a:lnTo>
                  <a:lnTo>
                    <a:pt x="534084" y="122966"/>
                  </a:lnTo>
                  <a:lnTo>
                    <a:pt x="504544" y="87969"/>
                  </a:lnTo>
                  <a:lnTo>
                    <a:pt x="470106" y="57949"/>
                  </a:lnTo>
                  <a:lnTo>
                    <a:pt x="431379" y="33523"/>
                  </a:lnTo>
                  <a:lnTo>
                    <a:pt x="388973" y="15311"/>
                  </a:lnTo>
                  <a:lnTo>
                    <a:pt x="343495" y="3930"/>
                  </a:lnTo>
                  <a:lnTo>
                    <a:pt x="295554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11">
              <a:extLst>
                <a:ext uri="{FF2B5EF4-FFF2-40B4-BE49-F238E27FC236}">
                  <a16:creationId xmlns:a16="http://schemas.microsoft.com/office/drawing/2014/main" id="{357063B8-8F24-016B-ED8E-8A23E93B516A}"/>
                </a:ext>
              </a:extLst>
            </p:cNvPr>
            <p:cNvSpPr/>
            <p:nvPr/>
          </p:nvSpPr>
          <p:spPr>
            <a:xfrm>
              <a:off x="9598" y="4557616"/>
              <a:ext cx="660464" cy="2298092"/>
            </a:xfrm>
            <a:custGeom>
              <a:avLst/>
              <a:gdLst/>
              <a:ahLst/>
              <a:cxnLst/>
              <a:rect l="l" t="t" r="r" b="b"/>
              <a:pathLst>
                <a:path w="728345" h="2534284">
                  <a:moveTo>
                    <a:pt x="339378" y="1250138"/>
                  </a:moveTo>
                  <a:lnTo>
                    <a:pt x="0" y="1250138"/>
                  </a:lnTo>
                  <a:lnTo>
                    <a:pt x="0" y="1503516"/>
                  </a:lnTo>
                  <a:lnTo>
                    <a:pt x="293099" y="1503516"/>
                  </a:lnTo>
                  <a:lnTo>
                    <a:pt x="275124" y="1549292"/>
                  </a:lnTo>
                  <a:lnTo>
                    <a:pt x="255196" y="1595118"/>
                  </a:lnTo>
                  <a:lnTo>
                    <a:pt x="233381" y="1640986"/>
                  </a:lnTo>
                  <a:lnTo>
                    <a:pt x="209742" y="1686883"/>
                  </a:lnTo>
                  <a:lnTo>
                    <a:pt x="184347" y="1732802"/>
                  </a:lnTo>
                  <a:lnTo>
                    <a:pt x="157259" y="1778731"/>
                  </a:lnTo>
                  <a:lnTo>
                    <a:pt x="128545" y="1824661"/>
                  </a:lnTo>
                  <a:lnTo>
                    <a:pt x="0" y="1824661"/>
                  </a:lnTo>
                  <a:lnTo>
                    <a:pt x="0" y="2533969"/>
                  </a:lnTo>
                  <a:lnTo>
                    <a:pt x="37168" y="2533969"/>
                  </a:lnTo>
                  <a:lnTo>
                    <a:pt x="53615" y="2516081"/>
                  </a:lnTo>
                  <a:lnTo>
                    <a:pt x="88081" y="2477894"/>
                  </a:lnTo>
                  <a:lnTo>
                    <a:pt x="121975" y="2439592"/>
                  </a:lnTo>
                  <a:lnTo>
                    <a:pt x="155266" y="2401172"/>
                  </a:lnTo>
                  <a:lnTo>
                    <a:pt x="187926" y="2362631"/>
                  </a:lnTo>
                  <a:lnTo>
                    <a:pt x="219923" y="2323966"/>
                  </a:lnTo>
                  <a:lnTo>
                    <a:pt x="251229" y="2285174"/>
                  </a:lnTo>
                  <a:lnTo>
                    <a:pt x="281814" y="2246251"/>
                  </a:lnTo>
                  <a:lnTo>
                    <a:pt x="311647" y="2207195"/>
                  </a:lnTo>
                  <a:lnTo>
                    <a:pt x="340699" y="2168003"/>
                  </a:lnTo>
                  <a:lnTo>
                    <a:pt x="368940" y="2128671"/>
                  </a:lnTo>
                  <a:lnTo>
                    <a:pt x="396340" y="2089196"/>
                  </a:lnTo>
                  <a:lnTo>
                    <a:pt x="422870" y="2049575"/>
                  </a:lnTo>
                  <a:lnTo>
                    <a:pt x="448500" y="2009806"/>
                  </a:lnTo>
                  <a:lnTo>
                    <a:pt x="473199" y="1969884"/>
                  </a:lnTo>
                  <a:lnTo>
                    <a:pt x="496938" y="1929807"/>
                  </a:lnTo>
                  <a:lnTo>
                    <a:pt x="519688" y="1889572"/>
                  </a:lnTo>
                  <a:lnTo>
                    <a:pt x="541417" y="1849176"/>
                  </a:lnTo>
                  <a:lnTo>
                    <a:pt x="562098" y="1808615"/>
                  </a:lnTo>
                  <a:lnTo>
                    <a:pt x="581699" y="1767887"/>
                  </a:lnTo>
                  <a:lnTo>
                    <a:pt x="600190" y="1726988"/>
                  </a:lnTo>
                  <a:lnTo>
                    <a:pt x="617543" y="1685916"/>
                  </a:lnTo>
                  <a:lnTo>
                    <a:pt x="633727" y="1644667"/>
                  </a:lnTo>
                  <a:lnTo>
                    <a:pt x="648713" y="1603237"/>
                  </a:lnTo>
                  <a:lnTo>
                    <a:pt x="662470" y="1561625"/>
                  </a:lnTo>
                  <a:lnTo>
                    <a:pt x="674969" y="1519827"/>
                  </a:lnTo>
                  <a:lnTo>
                    <a:pt x="686180" y="1477840"/>
                  </a:lnTo>
                  <a:lnTo>
                    <a:pt x="696072" y="1435660"/>
                  </a:lnTo>
                  <a:lnTo>
                    <a:pt x="704618" y="1393285"/>
                  </a:lnTo>
                  <a:lnTo>
                    <a:pt x="711785" y="1350711"/>
                  </a:lnTo>
                  <a:lnTo>
                    <a:pt x="717546" y="1307936"/>
                  </a:lnTo>
                  <a:lnTo>
                    <a:pt x="722689" y="1252323"/>
                  </a:lnTo>
                  <a:lnTo>
                    <a:pt x="353602" y="1252323"/>
                  </a:lnTo>
                  <a:lnTo>
                    <a:pt x="346541" y="1251103"/>
                  </a:lnTo>
                  <a:lnTo>
                    <a:pt x="339378" y="1250138"/>
                  </a:lnTo>
                  <a:close/>
                </a:path>
                <a:path w="728345" h="2534284">
                  <a:moveTo>
                    <a:pt x="109487" y="0"/>
                  </a:moveTo>
                  <a:lnTo>
                    <a:pt x="63837" y="10091"/>
                  </a:lnTo>
                  <a:lnTo>
                    <a:pt x="21648" y="31783"/>
                  </a:lnTo>
                  <a:lnTo>
                    <a:pt x="37" y="51456"/>
                  </a:lnTo>
                  <a:lnTo>
                    <a:pt x="0" y="315397"/>
                  </a:lnTo>
                  <a:lnTo>
                    <a:pt x="7146" y="323343"/>
                  </a:lnTo>
                  <a:lnTo>
                    <a:pt x="15476" y="330759"/>
                  </a:lnTo>
                  <a:lnTo>
                    <a:pt x="32587" y="347051"/>
                  </a:lnTo>
                  <a:lnTo>
                    <a:pt x="86967" y="405526"/>
                  </a:lnTo>
                  <a:lnTo>
                    <a:pt x="121144" y="447339"/>
                  </a:lnTo>
                  <a:lnTo>
                    <a:pt x="157917" y="497291"/>
                  </a:lnTo>
                  <a:lnTo>
                    <a:pt x="195742" y="555196"/>
                  </a:lnTo>
                  <a:lnTo>
                    <a:pt x="233071" y="620872"/>
                  </a:lnTo>
                  <a:lnTo>
                    <a:pt x="268359" y="694132"/>
                  </a:lnTo>
                  <a:lnTo>
                    <a:pt x="0" y="694132"/>
                  </a:lnTo>
                  <a:lnTo>
                    <a:pt x="0" y="947497"/>
                  </a:lnTo>
                  <a:lnTo>
                    <a:pt x="344547" y="947497"/>
                  </a:lnTo>
                  <a:lnTo>
                    <a:pt x="351547" y="994539"/>
                  </a:lnTo>
                  <a:lnTo>
                    <a:pt x="356566" y="1043098"/>
                  </a:lnTo>
                  <a:lnTo>
                    <a:pt x="359442" y="1093166"/>
                  </a:lnTo>
                  <a:lnTo>
                    <a:pt x="360014" y="1144733"/>
                  </a:lnTo>
                  <a:lnTo>
                    <a:pt x="358121" y="1197788"/>
                  </a:lnTo>
                  <a:lnTo>
                    <a:pt x="353602" y="1252323"/>
                  </a:lnTo>
                  <a:lnTo>
                    <a:pt x="722689" y="1252323"/>
                  </a:lnTo>
                  <a:lnTo>
                    <a:pt x="724699" y="1230596"/>
                  </a:lnTo>
                  <a:lnTo>
                    <a:pt x="727870" y="1155425"/>
                  </a:lnTo>
                  <a:lnTo>
                    <a:pt x="727315" y="1082452"/>
                  </a:lnTo>
                  <a:lnTo>
                    <a:pt x="723292" y="1011702"/>
                  </a:lnTo>
                  <a:lnTo>
                    <a:pt x="716057" y="943204"/>
                  </a:lnTo>
                  <a:lnTo>
                    <a:pt x="705867" y="876984"/>
                  </a:lnTo>
                  <a:lnTo>
                    <a:pt x="692980" y="813069"/>
                  </a:lnTo>
                  <a:lnTo>
                    <a:pt x="677652" y="751487"/>
                  </a:lnTo>
                  <a:lnTo>
                    <a:pt x="660140" y="692264"/>
                  </a:lnTo>
                  <a:lnTo>
                    <a:pt x="640702" y="635429"/>
                  </a:lnTo>
                  <a:lnTo>
                    <a:pt x="619593" y="581007"/>
                  </a:lnTo>
                  <a:lnTo>
                    <a:pt x="597072" y="529026"/>
                  </a:lnTo>
                  <a:lnTo>
                    <a:pt x="573395" y="479514"/>
                  </a:lnTo>
                  <a:lnTo>
                    <a:pt x="548819" y="432497"/>
                  </a:lnTo>
                  <a:lnTo>
                    <a:pt x="523601" y="388002"/>
                  </a:lnTo>
                  <a:lnTo>
                    <a:pt x="497998" y="346057"/>
                  </a:lnTo>
                  <a:lnTo>
                    <a:pt x="472267" y="306688"/>
                  </a:lnTo>
                  <a:lnTo>
                    <a:pt x="446665" y="269924"/>
                  </a:lnTo>
                  <a:lnTo>
                    <a:pt x="421449" y="235790"/>
                  </a:lnTo>
                  <a:lnTo>
                    <a:pt x="396875" y="204314"/>
                  </a:lnTo>
                  <a:lnTo>
                    <a:pt x="350685" y="149446"/>
                  </a:lnTo>
                  <a:lnTo>
                    <a:pt x="310151" y="105535"/>
                  </a:lnTo>
                  <a:lnTo>
                    <a:pt x="277327" y="72800"/>
                  </a:lnTo>
                  <a:lnTo>
                    <a:pt x="247047" y="45123"/>
                  </a:lnTo>
                  <a:lnTo>
                    <a:pt x="201504" y="15575"/>
                  </a:lnTo>
                  <a:lnTo>
                    <a:pt x="156182" y="1748"/>
                  </a:lnTo>
                  <a:lnTo>
                    <a:pt x="109487" y="0"/>
                  </a:lnTo>
                  <a:close/>
                </a:path>
              </a:pathLst>
            </a:custGeom>
            <a:solidFill>
              <a:srgbClr val="0E5C77">
                <a:alpha val="23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70AF5EC-C3A2-AE47-AC58-C795316B7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346" y="593213"/>
            <a:ext cx="8915844" cy="752109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  <a:latin typeface="Quicksan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C4885-E653-9F9B-1C72-2AA34FCB44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5996" y="1882770"/>
            <a:ext cx="8915844" cy="3872235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912BFDD1-69DB-D848-4E1F-9342E314FF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512" y="5755005"/>
            <a:ext cx="887325" cy="866809"/>
          </a:xfrm>
          <a:prstGeom prst="rect">
            <a:avLst/>
          </a:prstGeom>
        </p:spPr>
      </p:pic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02C401B5-B453-3BF0-01CE-3F0F63B03A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6162" y="6114954"/>
            <a:ext cx="8909745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182418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4EB87F9-C985-966A-400F-52D66829C1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76B76F3-FEC8-871A-191B-CA2078D049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FC959E-0149-1FF5-4FA4-788854DC9B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20DC37-1F2A-17DB-1CFB-ADCB7B9EDE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AFB443-699D-1C6D-5F56-CD1436AA8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17887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9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48.xml"/><Relationship Id="rId34" Type="http://schemas.openxmlformats.org/officeDocument/2006/relationships/slideLayout" Target="../slideLayouts/slideLayout61.xml"/><Relationship Id="rId42" Type="http://schemas.openxmlformats.org/officeDocument/2006/relationships/slideLayout" Target="../slideLayouts/slideLayout69.xml"/><Relationship Id="rId47" Type="http://schemas.openxmlformats.org/officeDocument/2006/relationships/slideLayout" Target="../slideLayouts/slideLayout74.xml"/><Relationship Id="rId50" Type="http://schemas.openxmlformats.org/officeDocument/2006/relationships/slideLayout" Target="../slideLayouts/slideLayout77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slideLayout" Target="../slideLayouts/slideLayout59.xml"/><Relationship Id="rId37" Type="http://schemas.openxmlformats.org/officeDocument/2006/relationships/slideLayout" Target="../slideLayouts/slideLayout64.xml"/><Relationship Id="rId40" Type="http://schemas.openxmlformats.org/officeDocument/2006/relationships/slideLayout" Target="../slideLayouts/slideLayout67.xml"/><Relationship Id="rId45" Type="http://schemas.openxmlformats.org/officeDocument/2006/relationships/slideLayout" Target="../slideLayouts/slideLayout72.xml"/><Relationship Id="rId53" Type="http://schemas.openxmlformats.org/officeDocument/2006/relationships/theme" Target="../theme/theme2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slideLayout" Target="../slideLayouts/slideLayout58.xml"/><Relationship Id="rId44" Type="http://schemas.openxmlformats.org/officeDocument/2006/relationships/slideLayout" Target="../slideLayouts/slideLayout71.xml"/><Relationship Id="rId52" Type="http://schemas.openxmlformats.org/officeDocument/2006/relationships/slideLayout" Target="../slideLayouts/slideLayout79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slideLayout" Target="../slideLayouts/slideLayout57.xml"/><Relationship Id="rId35" Type="http://schemas.openxmlformats.org/officeDocument/2006/relationships/slideLayout" Target="../slideLayouts/slideLayout62.xml"/><Relationship Id="rId43" Type="http://schemas.openxmlformats.org/officeDocument/2006/relationships/slideLayout" Target="../slideLayouts/slideLayout70.xml"/><Relationship Id="rId48" Type="http://schemas.openxmlformats.org/officeDocument/2006/relationships/slideLayout" Target="../slideLayouts/slideLayout75.xml"/><Relationship Id="rId8" Type="http://schemas.openxmlformats.org/officeDocument/2006/relationships/slideLayout" Target="../slideLayouts/slideLayout35.xml"/><Relationship Id="rId51" Type="http://schemas.openxmlformats.org/officeDocument/2006/relationships/slideLayout" Target="../slideLayouts/slideLayout78.xml"/><Relationship Id="rId3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slideLayout" Target="../slideLayouts/slideLayout60.xml"/><Relationship Id="rId38" Type="http://schemas.openxmlformats.org/officeDocument/2006/relationships/slideLayout" Target="../slideLayouts/slideLayout65.xml"/><Relationship Id="rId4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47.xml"/><Relationship Id="rId41" Type="http://schemas.openxmlformats.org/officeDocument/2006/relationships/slideLayout" Target="../slideLayouts/slideLayout68.xml"/><Relationship Id="rId54" Type="http://schemas.openxmlformats.org/officeDocument/2006/relationships/image" Target="../media/image1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36" Type="http://schemas.openxmlformats.org/officeDocument/2006/relationships/slideLayout" Target="../slideLayouts/slideLayout63.xml"/><Relationship Id="rId49" Type="http://schemas.openxmlformats.org/officeDocument/2006/relationships/slideLayout" Target="../slideLayouts/slideLayout7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E338D11-380A-F98C-AE48-4EA3D89A1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1070315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74A5C5-5D96-5E1C-995F-E06CAC92FC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61B5FAC9-3535-A373-ACE1-F95DA7F453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  <a:latin typeface="Quicksand" pitchFamily="2" charset="0"/>
              </a:defRPr>
            </a:lvl1pPr>
          </a:lstStyle>
          <a:p>
            <a:endParaRPr lang="en-GB" dirty="0"/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E933B7D9-4B12-B8C9-F890-0F38A297D05F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840" y="5816863"/>
            <a:ext cx="667048" cy="723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97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37" r:id="rId23"/>
    <p:sldLayoutId id="2147483738" r:id="rId24"/>
    <p:sldLayoutId id="2147483739" r:id="rId25"/>
    <p:sldLayoutId id="2147483740" r:id="rId26"/>
    <p:sldLayoutId id="2147483741" r:id="rId2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Quicksand" pitchFamily="2" charset="0"/>
          <a:ea typeface="+mj-ea"/>
          <a:cs typeface="Quire Sans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200" b="0" kern="1200">
          <a:solidFill>
            <a:schemeClr val="tx1"/>
          </a:solidFill>
          <a:latin typeface="Quicksand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29">
          <p15:clr>
            <a:srgbClr val="F26B43"/>
          </p15:clr>
        </p15:guide>
        <p15:guide id="4" orient="horz" pos="754">
          <p15:clr>
            <a:srgbClr val="F26B43"/>
          </p15:clr>
        </p15:guide>
        <p15:guide id="5" orient="horz" pos="1321">
          <p15:clr>
            <a:srgbClr val="F26B43"/>
          </p15:clr>
        </p15:guide>
        <p15:guide id="6" orient="horz" pos="399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E338D11-380A-F98C-AE48-4EA3D89A1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841" y="365125"/>
            <a:ext cx="1070315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74A5C5-5D96-5E1C-995F-E06CAC92FC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1840" y="1825625"/>
            <a:ext cx="10703150" cy="37725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  <a:br>
              <a:rPr lang="en-US" dirty="0"/>
            </a:b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61B5FAC9-3535-A373-ACE1-F95DA7F453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840" y="6114954"/>
            <a:ext cx="8904068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  <a:latin typeface="Quicksand" pitchFamily="2" charset="0"/>
              </a:defRPr>
            </a:lvl1pPr>
          </a:lstStyle>
          <a:p>
            <a:endParaRPr lang="en-GB"/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E933B7D9-4B12-B8C9-F890-0F38A297D05F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840" y="5816863"/>
            <a:ext cx="667048" cy="723001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0D5D0E48-2AA9-46D5-DE06-69E3237AAB4E}"/>
              </a:ext>
            </a:extLst>
          </p:cNvPr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840" y="5816863"/>
            <a:ext cx="667048" cy="723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923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62" r:id="rId20"/>
    <p:sldLayoutId id="2147483763" r:id="rId21"/>
    <p:sldLayoutId id="2147483764" r:id="rId22"/>
    <p:sldLayoutId id="2147483765" r:id="rId23"/>
    <p:sldLayoutId id="2147483766" r:id="rId24"/>
    <p:sldLayoutId id="2147483767" r:id="rId25"/>
    <p:sldLayoutId id="2147483768" r:id="rId26"/>
    <p:sldLayoutId id="2147483769" r:id="rId27"/>
    <p:sldLayoutId id="2147483770" r:id="rId28"/>
    <p:sldLayoutId id="2147483771" r:id="rId29"/>
    <p:sldLayoutId id="2147483772" r:id="rId30"/>
    <p:sldLayoutId id="2147483773" r:id="rId31"/>
    <p:sldLayoutId id="2147483681" r:id="rId32"/>
    <p:sldLayoutId id="2147483649" r:id="rId33"/>
    <p:sldLayoutId id="2147483661" r:id="rId34"/>
    <p:sldLayoutId id="2147483682" r:id="rId35"/>
    <p:sldLayoutId id="2147483684" r:id="rId36"/>
    <p:sldLayoutId id="2147483662" r:id="rId37"/>
    <p:sldLayoutId id="2147483651" r:id="rId38"/>
    <p:sldLayoutId id="2147483664" r:id="rId39"/>
    <p:sldLayoutId id="2147483666" r:id="rId40"/>
    <p:sldLayoutId id="2147483652" r:id="rId41"/>
    <p:sldLayoutId id="2147483669" r:id="rId42"/>
    <p:sldLayoutId id="2147483653" r:id="rId43"/>
    <p:sldLayoutId id="2147483667" r:id="rId44"/>
    <p:sldLayoutId id="2147483668" r:id="rId45"/>
    <p:sldLayoutId id="2147483671" r:id="rId46"/>
    <p:sldLayoutId id="2147483676" r:id="rId47"/>
    <p:sldLayoutId id="2147483673" r:id="rId48"/>
    <p:sldLayoutId id="2147483677" r:id="rId49"/>
    <p:sldLayoutId id="2147483674" r:id="rId50"/>
    <p:sldLayoutId id="2147483679" r:id="rId51"/>
    <p:sldLayoutId id="2147483680" r:id="rId5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Quicksand" pitchFamily="2" charset="0"/>
          <a:ea typeface="+mj-ea"/>
          <a:cs typeface="Quire Sans" panose="020B0502040204020203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200" b="0" kern="1200">
          <a:solidFill>
            <a:schemeClr val="tx1"/>
          </a:solidFill>
          <a:latin typeface="Quicksand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200" kern="1200">
          <a:solidFill>
            <a:schemeClr val="tx1"/>
          </a:solidFill>
          <a:latin typeface="Quicksand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2160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529" userDrawn="1">
          <p15:clr>
            <a:srgbClr val="F26B43"/>
          </p15:clr>
        </p15:guide>
        <p15:guide id="10" orient="horz" pos="754" userDrawn="1">
          <p15:clr>
            <a:srgbClr val="F26B43"/>
          </p15:clr>
        </p15:guide>
        <p15:guide id="11" orient="horz" pos="1321" userDrawn="1">
          <p15:clr>
            <a:srgbClr val="F26B43"/>
          </p15:clr>
        </p15:guide>
        <p15:guide id="12" orient="horz" pos="399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A7179F7-218C-AA8C-F064-DB56022E31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C31F23-7336-D4E6-3272-725DF6DD99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AB2028-7899-7AC8-B9F8-266CDA9A86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D4AB6C-4A85-5446-B3E8-7C728880AC78}" type="datetimeFigureOut">
              <a:rPr lang="en-GB" smtClean="0"/>
              <a:t>03/05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3C2E81-7968-2DFA-094A-57B911CD54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80E72D-A4F6-F182-7896-7ED66A1799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2C636-C95F-234F-B23F-6BCF86172A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2762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Relationship Id="rId6" Type="http://schemas.microsoft.com/office/2007/relationships/hdphoto" Target="../media/hdphoto2.wdp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mailto:a.perrine@southpole.com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43.png"/><Relationship Id="rId4" Type="http://schemas.openxmlformats.org/officeDocument/2006/relationships/hyperlink" Target="http://www.southpole.com/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18" Type="http://schemas.openxmlformats.org/officeDocument/2006/relationships/image" Target="../media/image60.emf"/><Relationship Id="rId3" Type="http://schemas.openxmlformats.org/officeDocument/2006/relationships/image" Target="../media/image45.png"/><Relationship Id="rId21" Type="http://schemas.openxmlformats.org/officeDocument/2006/relationships/image" Target="../media/image63.jp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image" Target="../media/image44.png"/><Relationship Id="rId16" Type="http://schemas.openxmlformats.org/officeDocument/2006/relationships/image" Target="../media/image58.jpg"/><Relationship Id="rId20" Type="http://schemas.openxmlformats.org/officeDocument/2006/relationships/image" Target="../media/image62.jpg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48.sv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5" Type="http://schemas.openxmlformats.org/officeDocument/2006/relationships/image" Target="../media/image57.svg"/><Relationship Id="rId10" Type="http://schemas.openxmlformats.org/officeDocument/2006/relationships/image" Target="../media/image52.emf"/><Relationship Id="rId19" Type="http://schemas.openxmlformats.org/officeDocument/2006/relationships/image" Target="../media/image61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5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29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B5E4D85-7602-45A4-6D6C-F4B12E4A1E4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4262" y="1742826"/>
            <a:ext cx="5763477" cy="337234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6359DD2-52BC-2F4A-6D9D-AD636C642BD6}"/>
              </a:ext>
            </a:extLst>
          </p:cNvPr>
          <p:cNvSpPr/>
          <p:nvPr/>
        </p:nvSpPr>
        <p:spPr>
          <a:xfrm>
            <a:off x="10544175" y="5695950"/>
            <a:ext cx="895350" cy="1143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5783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55CC976-1571-0D17-946D-D813E83B3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AFFF"/>
                </a:solidFill>
              </a:rPr>
              <a:t>Who is involved in a carbon project?</a:t>
            </a:r>
          </a:p>
        </p:txBody>
      </p:sp>
      <p:sp>
        <p:nvSpPr>
          <p:cNvPr id="4" name="Google Shape;202;p69">
            <a:extLst>
              <a:ext uri="{FF2B5EF4-FFF2-40B4-BE49-F238E27FC236}">
                <a16:creationId xmlns:a16="http://schemas.microsoft.com/office/drawing/2014/main" id="{62A6DA0C-8388-F636-226A-CFB0A55B1459}"/>
              </a:ext>
            </a:extLst>
          </p:cNvPr>
          <p:cNvSpPr/>
          <p:nvPr/>
        </p:nvSpPr>
        <p:spPr>
          <a:xfrm>
            <a:off x="5266397" y="4341203"/>
            <a:ext cx="2457300" cy="1311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Quicksand" pitchFamily="2" charset="0"/>
                <a:ea typeface="Montserrat"/>
                <a:cs typeface="Montserrat"/>
                <a:sym typeface="Montserrat"/>
              </a:rPr>
              <a:t>Third-party </a:t>
            </a:r>
            <a:r>
              <a:rPr lang="en-US" b="1" kern="0" dirty="0">
                <a:solidFill>
                  <a:srgbClr val="FFFFFF"/>
                </a:solidFill>
                <a:latin typeface="Quicksand" pitchFamily="2" charset="0"/>
                <a:ea typeface="Montserrat"/>
                <a:cs typeface="Montserrat"/>
                <a:sym typeface="Montserrat"/>
              </a:rPr>
              <a:t>a</a:t>
            </a:r>
            <a:r>
              <a:rPr kumimoji="0" lang="en-US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Quicksand" pitchFamily="2" charset="0"/>
                <a:ea typeface="Montserrat"/>
                <a:cs typeface="Montserrat"/>
                <a:sym typeface="Montserrat"/>
              </a:rPr>
              <a:t>uditor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5" name="Google Shape;203;p69">
            <a:extLst>
              <a:ext uri="{FF2B5EF4-FFF2-40B4-BE49-F238E27FC236}">
                <a16:creationId xmlns:a16="http://schemas.microsoft.com/office/drawing/2014/main" id="{226B760B-3DC7-0BFA-E8EF-BAB3047119B2}"/>
              </a:ext>
            </a:extLst>
          </p:cNvPr>
          <p:cNvSpPr/>
          <p:nvPr/>
        </p:nvSpPr>
        <p:spPr>
          <a:xfrm>
            <a:off x="8232122" y="1836603"/>
            <a:ext cx="2093400" cy="2424600"/>
          </a:xfrm>
          <a:prstGeom prst="rect">
            <a:avLst/>
          </a:prstGeom>
          <a:solidFill>
            <a:srgbClr val="019CDB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Quicksand" pitchFamily="2" charset="0"/>
                <a:ea typeface="Montserrat"/>
                <a:cs typeface="Montserrat"/>
                <a:sym typeface="Montserrat"/>
              </a:rPr>
              <a:t>Credit retailer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6" name="Google Shape;205;p69">
            <a:extLst>
              <a:ext uri="{FF2B5EF4-FFF2-40B4-BE49-F238E27FC236}">
                <a16:creationId xmlns:a16="http://schemas.microsoft.com/office/drawing/2014/main" id="{1E88E099-EDF5-0056-52B5-332D6DC17676}"/>
              </a:ext>
            </a:extLst>
          </p:cNvPr>
          <p:cNvSpPr/>
          <p:nvPr/>
        </p:nvSpPr>
        <p:spPr>
          <a:xfrm>
            <a:off x="3212097" y="1836603"/>
            <a:ext cx="1972475" cy="3815700"/>
          </a:xfrm>
          <a:prstGeom prst="rect">
            <a:avLst/>
          </a:prstGeom>
          <a:solidFill>
            <a:srgbClr val="98C21F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Quicksand" pitchFamily="2" charset="0"/>
                <a:ea typeface="Montserrat"/>
                <a:cs typeface="Montserrat"/>
                <a:sym typeface="Montserrat"/>
              </a:rPr>
              <a:t>Project owner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1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7" name="Google Shape;206;p69">
            <a:extLst>
              <a:ext uri="{FF2B5EF4-FFF2-40B4-BE49-F238E27FC236}">
                <a16:creationId xmlns:a16="http://schemas.microsoft.com/office/drawing/2014/main" id="{F3A2F22C-B235-9824-C399-9126E0B39FDF}"/>
              </a:ext>
            </a:extLst>
          </p:cNvPr>
          <p:cNvSpPr/>
          <p:nvPr/>
        </p:nvSpPr>
        <p:spPr>
          <a:xfrm>
            <a:off x="5266397" y="1836603"/>
            <a:ext cx="2965800" cy="2424600"/>
          </a:xfrm>
          <a:prstGeom prst="rect">
            <a:avLst/>
          </a:prstGeom>
          <a:solidFill>
            <a:srgbClr val="005091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Quicksand" pitchFamily="2" charset="0"/>
                <a:ea typeface="Montserrat"/>
                <a:cs typeface="Montserrat"/>
                <a:sym typeface="Montserrat"/>
              </a:rPr>
              <a:t>Project developer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1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</p:txBody>
      </p:sp>
      <p:pic>
        <p:nvPicPr>
          <p:cNvPr id="8" name="Google Shape;207;p69">
            <a:extLst>
              <a:ext uri="{FF2B5EF4-FFF2-40B4-BE49-F238E27FC236}">
                <a16:creationId xmlns:a16="http://schemas.microsoft.com/office/drawing/2014/main" id="{B61F40AE-59C7-8ED0-FA7D-9AD01020A684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397852" y="1939981"/>
            <a:ext cx="235125" cy="224767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208;p69">
            <a:extLst>
              <a:ext uri="{FF2B5EF4-FFF2-40B4-BE49-F238E27FC236}">
                <a16:creationId xmlns:a16="http://schemas.microsoft.com/office/drawing/2014/main" id="{AE9FA05B-8879-DD26-5446-09FED7712673}"/>
              </a:ext>
            </a:extLst>
          </p:cNvPr>
          <p:cNvSpPr/>
          <p:nvPr/>
        </p:nvSpPr>
        <p:spPr>
          <a:xfrm>
            <a:off x="3742827" y="3147786"/>
            <a:ext cx="941704" cy="978285"/>
          </a:xfrm>
          <a:custGeom>
            <a:avLst/>
            <a:gdLst/>
            <a:ahLst/>
            <a:cxnLst/>
            <a:rect l="l" t="t" r="r" b="b"/>
            <a:pathLst>
              <a:path w="11658" h="11657" extrusionOk="0">
                <a:moveTo>
                  <a:pt x="5829" y="662"/>
                </a:moveTo>
                <a:cubicBezTo>
                  <a:pt x="6396" y="662"/>
                  <a:pt x="6869" y="1134"/>
                  <a:pt x="6869" y="1670"/>
                </a:cubicBezTo>
                <a:cubicBezTo>
                  <a:pt x="6869" y="2237"/>
                  <a:pt x="6396" y="2741"/>
                  <a:pt x="5829" y="2741"/>
                </a:cubicBezTo>
                <a:cubicBezTo>
                  <a:pt x="5294" y="2710"/>
                  <a:pt x="4821" y="2237"/>
                  <a:pt x="4821" y="1670"/>
                </a:cubicBezTo>
                <a:cubicBezTo>
                  <a:pt x="4821" y="1134"/>
                  <a:pt x="5294" y="662"/>
                  <a:pt x="5829" y="662"/>
                </a:cubicBezTo>
                <a:close/>
                <a:moveTo>
                  <a:pt x="5829" y="3403"/>
                </a:moveTo>
                <a:cubicBezTo>
                  <a:pt x="7058" y="3403"/>
                  <a:pt x="8034" y="4316"/>
                  <a:pt x="8192" y="5451"/>
                </a:cubicBezTo>
                <a:lnTo>
                  <a:pt x="3466" y="5451"/>
                </a:lnTo>
                <a:cubicBezTo>
                  <a:pt x="3624" y="4285"/>
                  <a:pt x="4600" y="3403"/>
                  <a:pt x="5829" y="3403"/>
                </a:cubicBezTo>
                <a:close/>
                <a:moveTo>
                  <a:pt x="1702" y="8885"/>
                </a:moveTo>
                <a:cubicBezTo>
                  <a:pt x="2269" y="8885"/>
                  <a:pt x="2710" y="9357"/>
                  <a:pt x="2710" y="9924"/>
                </a:cubicBezTo>
                <a:cubicBezTo>
                  <a:pt x="2710" y="10460"/>
                  <a:pt x="2269" y="10932"/>
                  <a:pt x="1702" y="10932"/>
                </a:cubicBezTo>
                <a:cubicBezTo>
                  <a:pt x="1135" y="10932"/>
                  <a:pt x="694" y="10460"/>
                  <a:pt x="694" y="9924"/>
                </a:cubicBezTo>
                <a:cubicBezTo>
                  <a:pt x="694" y="9357"/>
                  <a:pt x="1135" y="8885"/>
                  <a:pt x="1702" y="8885"/>
                </a:cubicBezTo>
                <a:close/>
                <a:moveTo>
                  <a:pt x="5829" y="8885"/>
                </a:moveTo>
                <a:cubicBezTo>
                  <a:pt x="6396" y="8885"/>
                  <a:pt x="6869" y="9357"/>
                  <a:pt x="6869" y="9924"/>
                </a:cubicBezTo>
                <a:cubicBezTo>
                  <a:pt x="6869" y="10460"/>
                  <a:pt x="6396" y="10932"/>
                  <a:pt x="5829" y="10932"/>
                </a:cubicBezTo>
                <a:cubicBezTo>
                  <a:pt x="5294" y="10932"/>
                  <a:pt x="4821" y="10460"/>
                  <a:pt x="4821" y="9924"/>
                </a:cubicBezTo>
                <a:cubicBezTo>
                  <a:pt x="4821" y="9357"/>
                  <a:pt x="5294" y="8885"/>
                  <a:pt x="5829" y="8885"/>
                </a:cubicBezTo>
                <a:close/>
                <a:moveTo>
                  <a:pt x="9956" y="8885"/>
                </a:moveTo>
                <a:cubicBezTo>
                  <a:pt x="10523" y="8885"/>
                  <a:pt x="10996" y="9357"/>
                  <a:pt x="10996" y="9924"/>
                </a:cubicBezTo>
                <a:cubicBezTo>
                  <a:pt x="10996" y="10460"/>
                  <a:pt x="10523" y="10932"/>
                  <a:pt x="9956" y="10932"/>
                </a:cubicBezTo>
                <a:cubicBezTo>
                  <a:pt x="9421" y="10932"/>
                  <a:pt x="8948" y="10460"/>
                  <a:pt x="8948" y="9924"/>
                </a:cubicBezTo>
                <a:cubicBezTo>
                  <a:pt x="8948" y="9357"/>
                  <a:pt x="9421" y="8885"/>
                  <a:pt x="9956" y="8885"/>
                </a:cubicBezTo>
                <a:close/>
                <a:moveTo>
                  <a:pt x="5829" y="0"/>
                </a:moveTo>
                <a:cubicBezTo>
                  <a:pt x="4884" y="0"/>
                  <a:pt x="4128" y="725"/>
                  <a:pt x="4128" y="1670"/>
                </a:cubicBezTo>
                <a:cubicBezTo>
                  <a:pt x="4128" y="2143"/>
                  <a:pt x="4285" y="2584"/>
                  <a:pt x="4663" y="2899"/>
                </a:cubicBezTo>
                <a:lnTo>
                  <a:pt x="4695" y="2930"/>
                </a:lnTo>
                <a:cubicBezTo>
                  <a:pt x="3561" y="3403"/>
                  <a:pt x="2773" y="4505"/>
                  <a:pt x="2773" y="5766"/>
                </a:cubicBezTo>
                <a:cubicBezTo>
                  <a:pt x="2773" y="5955"/>
                  <a:pt x="2931" y="6144"/>
                  <a:pt x="3120" y="6144"/>
                </a:cubicBezTo>
                <a:lnTo>
                  <a:pt x="5514" y="6144"/>
                </a:lnTo>
                <a:lnTo>
                  <a:pt x="5514" y="6837"/>
                </a:lnTo>
                <a:lnTo>
                  <a:pt x="2395" y="6837"/>
                </a:lnTo>
                <a:cubicBezTo>
                  <a:pt x="1860" y="6837"/>
                  <a:pt x="1387" y="7309"/>
                  <a:pt x="1387" y="7876"/>
                </a:cubicBezTo>
                <a:lnTo>
                  <a:pt x="1387" y="8254"/>
                </a:lnTo>
                <a:cubicBezTo>
                  <a:pt x="599" y="8412"/>
                  <a:pt x="1" y="9137"/>
                  <a:pt x="1" y="9956"/>
                </a:cubicBezTo>
                <a:cubicBezTo>
                  <a:pt x="1" y="10901"/>
                  <a:pt x="757" y="11657"/>
                  <a:pt x="1702" y="11657"/>
                </a:cubicBezTo>
                <a:cubicBezTo>
                  <a:pt x="2647" y="11657"/>
                  <a:pt x="3403" y="10901"/>
                  <a:pt x="3403" y="9956"/>
                </a:cubicBezTo>
                <a:cubicBezTo>
                  <a:pt x="3403" y="9137"/>
                  <a:pt x="2805" y="8412"/>
                  <a:pt x="2017" y="8254"/>
                </a:cubicBezTo>
                <a:lnTo>
                  <a:pt x="2017" y="7876"/>
                </a:lnTo>
                <a:cubicBezTo>
                  <a:pt x="2017" y="7656"/>
                  <a:pt x="2175" y="7498"/>
                  <a:pt x="2364" y="7498"/>
                </a:cubicBezTo>
                <a:lnTo>
                  <a:pt x="5483" y="7498"/>
                </a:lnTo>
                <a:lnTo>
                  <a:pt x="5483" y="8223"/>
                </a:lnTo>
                <a:cubicBezTo>
                  <a:pt x="4695" y="8380"/>
                  <a:pt x="4096" y="9074"/>
                  <a:pt x="4096" y="9924"/>
                </a:cubicBezTo>
                <a:cubicBezTo>
                  <a:pt x="4096" y="10869"/>
                  <a:pt x="4852" y="11594"/>
                  <a:pt x="5798" y="11594"/>
                </a:cubicBezTo>
                <a:cubicBezTo>
                  <a:pt x="6743" y="11594"/>
                  <a:pt x="7499" y="10869"/>
                  <a:pt x="7499" y="9924"/>
                </a:cubicBezTo>
                <a:cubicBezTo>
                  <a:pt x="7499" y="9074"/>
                  <a:pt x="6900" y="8380"/>
                  <a:pt x="6113" y="8223"/>
                </a:cubicBezTo>
                <a:lnTo>
                  <a:pt x="6113" y="7498"/>
                </a:lnTo>
                <a:lnTo>
                  <a:pt x="9232" y="7498"/>
                </a:lnTo>
                <a:cubicBezTo>
                  <a:pt x="9421" y="7498"/>
                  <a:pt x="9578" y="7656"/>
                  <a:pt x="9578" y="7876"/>
                </a:cubicBezTo>
                <a:lnTo>
                  <a:pt x="9578" y="8254"/>
                </a:lnTo>
                <a:cubicBezTo>
                  <a:pt x="8791" y="8412"/>
                  <a:pt x="8192" y="9137"/>
                  <a:pt x="8192" y="9956"/>
                </a:cubicBezTo>
                <a:cubicBezTo>
                  <a:pt x="8192" y="10901"/>
                  <a:pt x="8948" y="11657"/>
                  <a:pt x="9893" y="11657"/>
                </a:cubicBezTo>
                <a:cubicBezTo>
                  <a:pt x="10838" y="11657"/>
                  <a:pt x="11595" y="10901"/>
                  <a:pt x="11595" y="9956"/>
                </a:cubicBezTo>
                <a:cubicBezTo>
                  <a:pt x="11658" y="9074"/>
                  <a:pt x="11059" y="8412"/>
                  <a:pt x="10271" y="8254"/>
                </a:cubicBezTo>
                <a:lnTo>
                  <a:pt x="10271" y="7876"/>
                </a:lnTo>
                <a:cubicBezTo>
                  <a:pt x="10271" y="7309"/>
                  <a:pt x="9799" y="6837"/>
                  <a:pt x="9263" y="6837"/>
                </a:cubicBezTo>
                <a:lnTo>
                  <a:pt x="6144" y="6837"/>
                </a:lnTo>
                <a:lnTo>
                  <a:pt x="6144" y="6144"/>
                </a:lnTo>
                <a:lnTo>
                  <a:pt x="8539" y="6144"/>
                </a:lnTo>
                <a:cubicBezTo>
                  <a:pt x="8759" y="6144"/>
                  <a:pt x="8917" y="5955"/>
                  <a:pt x="8917" y="5766"/>
                </a:cubicBezTo>
                <a:cubicBezTo>
                  <a:pt x="8917" y="4474"/>
                  <a:pt x="8129" y="3371"/>
                  <a:pt x="6963" y="2930"/>
                </a:cubicBezTo>
                <a:lnTo>
                  <a:pt x="7026" y="2899"/>
                </a:lnTo>
                <a:cubicBezTo>
                  <a:pt x="7341" y="2584"/>
                  <a:pt x="7530" y="2143"/>
                  <a:pt x="7530" y="1670"/>
                </a:cubicBezTo>
                <a:cubicBezTo>
                  <a:pt x="7530" y="725"/>
                  <a:pt x="6774" y="0"/>
                  <a:pt x="582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  <a:buFont typeface="Arial"/>
              <a:buNone/>
            </a:pPr>
            <a:endParaRPr sz="1400" kern="0">
              <a:solidFill>
                <a:srgbClr val="000000"/>
              </a:solidFill>
              <a:latin typeface="Quicksand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2" name="Google Shape;209;p69">
            <a:extLst>
              <a:ext uri="{FF2B5EF4-FFF2-40B4-BE49-F238E27FC236}">
                <a16:creationId xmlns:a16="http://schemas.microsoft.com/office/drawing/2014/main" id="{49303877-1511-6AA5-DDC7-61574EE19882}"/>
              </a:ext>
            </a:extLst>
          </p:cNvPr>
          <p:cNvSpPr/>
          <p:nvPr/>
        </p:nvSpPr>
        <p:spPr>
          <a:xfrm>
            <a:off x="5330347" y="4071953"/>
            <a:ext cx="347400" cy="347400"/>
          </a:xfrm>
          <a:prstGeom prst="ellipse">
            <a:avLst/>
          </a:pr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48627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icksand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3" name="Google Shape;210;p69">
            <a:extLst>
              <a:ext uri="{FF2B5EF4-FFF2-40B4-BE49-F238E27FC236}">
                <a16:creationId xmlns:a16="http://schemas.microsoft.com/office/drawing/2014/main" id="{36283693-D9B8-7B1C-6792-B9274D1E835E}"/>
              </a:ext>
            </a:extLst>
          </p:cNvPr>
          <p:cNvSpPr/>
          <p:nvPr/>
        </p:nvSpPr>
        <p:spPr>
          <a:xfrm>
            <a:off x="7795997" y="4341203"/>
            <a:ext cx="2529600" cy="1311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Quicksand" pitchFamily="2" charset="0"/>
                <a:ea typeface="Montserrat"/>
                <a:cs typeface="Montserrat"/>
                <a:sym typeface="Montserrat"/>
              </a:rPr>
              <a:t>Certification standard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0"/>
              <a:buFont typeface="Arial"/>
              <a:buNone/>
              <a:tabLst/>
              <a:defRPr/>
            </a:pPr>
            <a:endParaRPr kumimoji="0" sz="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</p:txBody>
      </p:sp>
      <p:pic>
        <p:nvPicPr>
          <p:cNvPr id="14" name="Google Shape;211;p69">
            <a:extLst>
              <a:ext uri="{FF2B5EF4-FFF2-40B4-BE49-F238E27FC236}">
                <a16:creationId xmlns:a16="http://schemas.microsoft.com/office/drawing/2014/main" id="{19C26995-29D1-08B9-9FD8-EA6FD129936B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978972" y="1917670"/>
            <a:ext cx="235125" cy="22478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oogle Shape;212;p69">
            <a:extLst>
              <a:ext uri="{FF2B5EF4-FFF2-40B4-BE49-F238E27FC236}">
                <a16:creationId xmlns:a16="http://schemas.microsoft.com/office/drawing/2014/main" id="{DA74D9DF-4C92-CF09-A7B5-0997B35461C5}"/>
              </a:ext>
            </a:extLst>
          </p:cNvPr>
          <p:cNvGrpSpPr/>
          <p:nvPr/>
        </p:nvGrpSpPr>
        <p:grpSpPr>
          <a:xfrm>
            <a:off x="5972308" y="4728273"/>
            <a:ext cx="801644" cy="792486"/>
            <a:chOff x="-47529700" y="2342000"/>
            <a:chExt cx="302450" cy="299900"/>
          </a:xfrm>
        </p:grpSpPr>
        <p:sp>
          <p:nvSpPr>
            <p:cNvPr id="16" name="Google Shape;213;p69">
              <a:extLst>
                <a:ext uri="{FF2B5EF4-FFF2-40B4-BE49-F238E27FC236}">
                  <a16:creationId xmlns:a16="http://schemas.microsoft.com/office/drawing/2014/main" id="{F8628935-953F-ACC2-2614-35E681610CCB}"/>
                </a:ext>
              </a:extLst>
            </p:cNvPr>
            <p:cNvSpPr/>
            <p:nvPr/>
          </p:nvSpPr>
          <p:spPr>
            <a:xfrm>
              <a:off x="-47529700" y="2342000"/>
              <a:ext cx="302450" cy="299900"/>
            </a:xfrm>
            <a:custGeom>
              <a:avLst/>
              <a:gdLst/>
              <a:ahLst/>
              <a:cxnLst/>
              <a:rect l="l" t="t" r="r" b="b"/>
              <a:pathLst>
                <a:path w="12098" h="11996" extrusionOk="0">
                  <a:moveTo>
                    <a:pt x="7530" y="725"/>
                  </a:moveTo>
                  <a:cubicBezTo>
                    <a:pt x="9672" y="725"/>
                    <a:pt x="11405" y="2457"/>
                    <a:pt x="11405" y="4568"/>
                  </a:cubicBezTo>
                  <a:cubicBezTo>
                    <a:pt x="11405" y="6711"/>
                    <a:pt x="9672" y="8443"/>
                    <a:pt x="7530" y="8443"/>
                  </a:cubicBezTo>
                  <a:cubicBezTo>
                    <a:pt x="5419" y="8443"/>
                    <a:pt x="3686" y="6711"/>
                    <a:pt x="3686" y="4568"/>
                  </a:cubicBezTo>
                  <a:cubicBezTo>
                    <a:pt x="3686" y="2457"/>
                    <a:pt x="5419" y="725"/>
                    <a:pt x="7530" y="725"/>
                  </a:cubicBezTo>
                  <a:close/>
                  <a:moveTo>
                    <a:pt x="4064" y="7530"/>
                  </a:moveTo>
                  <a:cubicBezTo>
                    <a:pt x="4222" y="7719"/>
                    <a:pt x="4379" y="7876"/>
                    <a:pt x="4568" y="8034"/>
                  </a:cubicBezTo>
                  <a:lnTo>
                    <a:pt x="3686" y="8947"/>
                  </a:lnTo>
                  <a:lnTo>
                    <a:pt x="3151" y="8443"/>
                  </a:lnTo>
                  <a:lnTo>
                    <a:pt x="4064" y="7530"/>
                  </a:lnTo>
                  <a:close/>
                  <a:moveTo>
                    <a:pt x="2647" y="8916"/>
                  </a:moveTo>
                  <a:lnTo>
                    <a:pt x="3151" y="9420"/>
                  </a:lnTo>
                  <a:lnTo>
                    <a:pt x="1386" y="11184"/>
                  </a:lnTo>
                  <a:cubicBezTo>
                    <a:pt x="1323" y="11247"/>
                    <a:pt x="1237" y="11279"/>
                    <a:pt x="1146" y="11279"/>
                  </a:cubicBezTo>
                  <a:cubicBezTo>
                    <a:pt x="1056" y="11279"/>
                    <a:pt x="961" y="11247"/>
                    <a:pt x="882" y="11184"/>
                  </a:cubicBezTo>
                  <a:cubicBezTo>
                    <a:pt x="756" y="11090"/>
                    <a:pt x="756" y="10838"/>
                    <a:pt x="882" y="10680"/>
                  </a:cubicBezTo>
                  <a:lnTo>
                    <a:pt x="2647" y="8916"/>
                  </a:lnTo>
                  <a:close/>
                  <a:moveTo>
                    <a:pt x="7530" y="0"/>
                  </a:moveTo>
                  <a:cubicBezTo>
                    <a:pt x="5009" y="0"/>
                    <a:pt x="2962" y="2048"/>
                    <a:pt x="2962" y="4568"/>
                  </a:cubicBezTo>
                  <a:cubicBezTo>
                    <a:pt x="2962" y="5450"/>
                    <a:pt x="3214" y="6270"/>
                    <a:pt x="3623" y="6963"/>
                  </a:cubicBezTo>
                  <a:lnTo>
                    <a:pt x="410" y="10208"/>
                  </a:lnTo>
                  <a:cubicBezTo>
                    <a:pt x="0" y="10586"/>
                    <a:pt x="0" y="11279"/>
                    <a:pt x="410" y="11688"/>
                  </a:cubicBezTo>
                  <a:cubicBezTo>
                    <a:pt x="599" y="11893"/>
                    <a:pt x="867" y="11996"/>
                    <a:pt x="1138" y="11996"/>
                  </a:cubicBezTo>
                  <a:cubicBezTo>
                    <a:pt x="1410" y="11996"/>
                    <a:pt x="1686" y="11893"/>
                    <a:pt x="1890" y="11688"/>
                  </a:cubicBezTo>
                  <a:lnTo>
                    <a:pt x="5135" y="8475"/>
                  </a:lnTo>
                  <a:cubicBezTo>
                    <a:pt x="5829" y="8916"/>
                    <a:pt x="6679" y="9137"/>
                    <a:pt x="7530" y="9137"/>
                  </a:cubicBezTo>
                  <a:cubicBezTo>
                    <a:pt x="10050" y="9137"/>
                    <a:pt x="12098" y="7089"/>
                    <a:pt x="12098" y="4568"/>
                  </a:cubicBezTo>
                  <a:cubicBezTo>
                    <a:pt x="12098" y="2048"/>
                    <a:pt x="10050" y="0"/>
                    <a:pt x="75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icksand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7" name="Google Shape;214;p69">
              <a:extLst>
                <a:ext uri="{FF2B5EF4-FFF2-40B4-BE49-F238E27FC236}">
                  <a16:creationId xmlns:a16="http://schemas.microsoft.com/office/drawing/2014/main" id="{BB2AB90D-123F-8D9F-4A01-AA29B2148BD4}"/>
                </a:ext>
              </a:extLst>
            </p:cNvPr>
            <p:cNvSpPr/>
            <p:nvPr/>
          </p:nvSpPr>
          <p:spPr>
            <a:xfrm>
              <a:off x="-47404475" y="2395550"/>
              <a:ext cx="124475" cy="123675"/>
            </a:xfrm>
            <a:custGeom>
              <a:avLst/>
              <a:gdLst/>
              <a:ahLst/>
              <a:cxnLst/>
              <a:rect l="l" t="t" r="r" b="b"/>
              <a:pathLst>
                <a:path w="4979" h="4947" extrusionOk="0">
                  <a:moveTo>
                    <a:pt x="2804" y="2080"/>
                  </a:moveTo>
                  <a:cubicBezTo>
                    <a:pt x="2678" y="2395"/>
                    <a:pt x="2458" y="2647"/>
                    <a:pt x="2174" y="2710"/>
                  </a:cubicBezTo>
                  <a:lnTo>
                    <a:pt x="2174" y="2080"/>
                  </a:lnTo>
                  <a:close/>
                  <a:moveTo>
                    <a:pt x="1828" y="694"/>
                  </a:moveTo>
                  <a:cubicBezTo>
                    <a:pt x="2300" y="694"/>
                    <a:pt x="2678" y="977"/>
                    <a:pt x="2804" y="1418"/>
                  </a:cubicBezTo>
                  <a:lnTo>
                    <a:pt x="1828" y="1418"/>
                  </a:lnTo>
                  <a:cubicBezTo>
                    <a:pt x="1607" y="1418"/>
                    <a:pt x="1481" y="1576"/>
                    <a:pt x="1481" y="1765"/>
                  </a:cubicBezTo>
                  <a:lnTo>
                    <a:pt x="1481" y="2741"/>
                  </a:lnTo>
                  <a:cubicBezTo>
                    <a:pt x="1072" y="2584"/>
                    <a:pt x="757" y="2206"/>
                    <a:pt x="757" y="1765"/>
                  </a:cubicBezTo>
                  <a:cubicBezTo>
                    <a:pt x="757" y="1166"/>
                    <a:pt x="1229" y="694"/>
                    <a:pt x="1828" y="694"/>
                  </a:cubicBezTo>
                  <a:close/>
                  <a:moveTo>
                    <a:pt x="4254" y="2080"/>
                  </a:moveTo>
                  <a:lnTo>
                    <a:pt x="4254" y="4222"/>
                  </a:lnTo>
                  <a:lnTo>
                    <a:pt x="2143" y="4222"/>
                  </a:lnTo>
                  <a:lnTo>
                    <a:pt x="2143" y="3466"/>
                  </a:lnTo>
                  <a:cubicBezTo>
                    <a:pt x="2804" y="3308"/>
                    <a:pt x="3371" y="2804"/>
                    <a:pt x="3498" y="2080"/>
                  </a:cubicBezTo>
                  <a:close/>
                  <a:moveTo>
                    <a:pt x="1796" y="0"/>
                  </a:moveTo>
                  <a:cubicBezTo>
                    <a:pt x="788" y="0"/>
                    <a:pt x="0" y="788"/>
                    <a:pt x="0" y="1765"/>
                  </a:cubicBezTo>
                  <a:cubicBezTo>
                    <a:pt x="0" y="2615"/>
                    <a:pt x="599" y="3340"/>
                    <a:pt x="1418" y="3497"/>
                  </a:cubicBezTo>
                  <a:lnTo>
                    <a:pt x="1418" y="4600"/>
                  </a:lnTo>
                  <a:cubicBezTo>
                    <a:pt x="1418" y="4789"/>
                    <a:pt x="1576" y="4947"/>
                    <a:pt x="1796" y="4947"/>
                  </a:cubicBezTo>
                  <a:lnTo>
                    <a:pt x="4569" y="4947"/>
                  </a:lnTo>
                  <a:cubicBezTo>
                    <a:pt x="4789" y="4947"/>
                    <a:pt x="4947" y="4789"/>
                    <a:pt x="4947" y="4600"/>
                  </a:cubicBezTo>
                  <a:lnTo>
                    <a:pt x="4947" y="1796"/>
                  </a:lnTo>
                  <a:cubicBezTo>
                    <a:pt x="4978" y="1576"/>
                    <a:pt x="4821" y="1418"/>
                    <a:pt x="4632" y="1418"/>
                  </a:cubicBezTo>
                  <a:lnTo>
                    <a:pt x="3498" y="1418"/>
                  </a:lnTo>
                  <a:cubicBezTo>
                    <a:pt x="3371" y="631"/>
                    <a:pt x="2647" y="0"/>
                    <a:pt x="179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icksand" pitchFamily="2" charset="0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8" name="Google Shape;215;p69">
            <a:extLst>
              <a:ext uri="{FF2B5EF4-FFF2-40B4-BE49-F238E27FC236}">
                <a16:creationId xmlns:a16="http://schemas.microsoft.com/office/drawing/2014/main" id="{661437A7-1135-1A18-3DD8-4164DBA9FA18}"/>
              </a:ext>
            </a:extLst>
          </p:cNvPr>
          <p:cNvGrpSpPr/>
          <p:nvPr/>
        </p:nvGrpSpPr>
        <p:grpSpPr>
          <a:xfrm>
            <a:off x="9137053" y="4737127"/>
            <a:ext cx="801638" cy="774781"/>
            <a:chOff x="6787079" y="554258"/>
            <a:chExt cx="383541" cy="370708"/>
          </a:xfrm>
        </p:grpSpPr>
        <p:sp>
          <p:nvSpPr>
            <p:cNvPr id="19" name="Google Shape;216;p69">
              <a:extLst>
                <a:ext uri="{FF2B5EF4-FFF2-40B4-BE49-F238E27FC236}">
                  <a16:creationId xmlns:a16="http://schemas.microsoft.com/office/drawing/2014/main" id="{DEE131B2-4551-827F-74D9-48158F718104}"/>
                </a:ext>
              </a:extLst>
            </p:cNvPr>
            <p:cNvSpPr/>
            <p:nvPr/>
          </p:nvSpPr>
          <p:spPr>
            <a:xfrm>
              <a:off x="6787079" y="554258"/>
              <a:ext cx="383541" cy="370708"/>
            </a:xfrm>
            <a:custGeom>
              <a:avLst/>
              <a:gdLst/>
              <a:ahLst/>
              <a:cxnLst/>
              <a:rect l="l" t="t" r="r" b="b"/>
              <a:pathLst>
                <a:path w="11878" h="11806" extrusionOk="0">
                  <a:moveTo>
                    <a:pt x="6018" y="765"/>
                  </a:moveTo>
                  <a:lnTo>
                    <a:pt x="6868" y="1426"/>
                  </a:lnTo>
                  <a:cubicBezTo>
                    <a:pt x="6963" y="1458"/>
                    <a:pt x="7026" y="1489"/>
                    <a:pt x="7152" y="1489"/>
                  </a:cubicBezTo>
                  <a:lnTo>
                    <a:pt x="8223" y="1332"/>
                  </a:lnTo>
                  <a:lnTo>
                    <a:pt x="8664" y="2372"/>
                  </a:lnTo>
                  <a:cubicBezTo>
                    <a:pt x="8696" y="2435"/>
                    <a:pt x="8790" y="2529"/>
                    <a:pt x="8853" y="2561"/>
                  </a:cubicBezTo>
                  <a:lnTo>
                    <a:pt x="9893" y="2970"/>
                  </a:lnTo>
                  <a:lnTo>
                    <a:pt x="9735" y="4073"/>
                  </a:lnTo>
                  <a:cubicBezTo>
                    <a:pt x="9735" y="4136"/>
                    <a:pt x="9735" y="4262"/>
                    <a:pt x="9798" y="4325"/>
                  </a:cubicBezTo>
                  <a:lnTo>
                    <a:pt x="10460" y="5207"/>
                  </a:lnTo>
                  <a:lnTo>
                    <a:pt x="9798" y="6058"/>
                  </a:lnTo>
                  <a:cubicBezTo>
                    <a:pt x="9767" y="6152"/>
                    <a:pt x="9735" y="6215"/>
                    <a:pt x="9735" y="6341"/>
                  </a:cubicBezTo>
                  <a:lnTo>
                    <a:pt x="9893" y="7444"/>
                  </a:lnTo>
                  <a:lnTo>
                    <a:pt x="8853" y="7853"/>
                  </a:lnTo>
                  <a:cubicBezTo>
                    <a:pt x="8790" y="7885"/>
                    <a:pt x="8696" y="7948"/>
                    <a:pt x="8664" y="8042"/>
                  </a:cubicBezTo>
                  <a:lnTo>
                    <a:pt x="8255" y="9051"/>
                  </a:lnTo>
                  <a:lnTo>
                    <a:pt x="7120" y="8893"/>
                  </a:lnTo>
                  <a:cubicBezTo>
                    <a:pt x="7057" y="8893"/>
                    <a:pt x="6931" y="8893"/>
                    <a:pt x="6837" y="8988"/>
                  </a:cubicBezTo>
                  <a:lnTo>
                    <a:pt x="5986" y="9649"/>
                  </a:lnTo>
                  <a:lnTo>
                    <a:pt x="5104" y="8988"/>
                  </a:lnTo>
                  <a:cubicBezTo>
                    <a:pt x="5041" y="8925"/>
                    <a:pt x="5010" y="8893"/>
                    <a:pt x="4915" y="8893"/>
                  </a:cubicBezTo>
                  <a:lnTo>
                    <a:pt x="4884" y="8893"/>
                  </a:lnTo>
                  <a:lnTo>
                    <a:pt x="3781" y="9051"/>
                  </a:lnTo>
                  <a:lnTo>
                    <a:pt x="3371" y="8042"/>
                  </a:lnTo>
                  <a:cubicBezTo>
                    <a:pt x="3340" y="7948"/>
                    <a:pt x="3277" y="7885"/>
                    <a:pt x="3182" y="7853"/>
                  </a:cubicBezTo>
                  <a:lnTo>
                    <a:pt x="2143" y="7444"/>
                  </a:lnTo>
                  <a:lnTo>
                    <a:pt x="2300" y="6341"/>
                  </a:lnTo>
                  <a:cubicBezTo>
                    <a:pt x="2300" y="6278"/>
                    <a:pt x="2300" y="6152"/>
                    <a:pt x="2237" y="6058"/>
                  </a:cubicBezTo>
                  <a:lnTo>
                    <a:pt x="1576" y="5207"/>
                  </a:lnTo>
                  <a:lnTo>
                    <a:pt x="2237" y="4325"/>
                  </a:lnTo>
                  <a:cubicBezTo>
                    <a:pt x="2269" y="4262"/>
                    <a:pt x="2300" y="4167"/>
                    <a:pt x="2300" y="4073"/>
                  </a:cubicBezTo>
                  <a:lnTo>
                    <a:pt x="2143" y="2970"/>
                  </a:lnTo>
                  <a:lnTo>
                    <a:pt x="3182" y="2561"/>
                  </a:lnTo>
                  <a:cubicBezTo>
                    <a:pt x="3277" y="2529"/>
                    <a:pt x="3340" y="2435"/>
                    <a:pt x="3371" y="2372"/>
                  </a:cubicBezTo>
                  <a:lnTo>
                    <a:pt x="3812" y="1332"/>
                  </a:lnTo>
                  <a:lnTo>
                    <a:pt x="4884" y="1489"/>
                  </a:lnTo>
                  <a:cubicBezTo>
                    <a:pt x="4947" y="1489"/>
                    <a:pt x="5073" y="1489"/>
                    <a:pt x="5167" y="1426"/>
                  </a:cubicBezTo>
                  <a:lnTo>
                    <a:pt x="6018" y="765"/>
                  </a:lnTo>
                  <a:close/>
                  <a:moveTo>
                    <a:pt x="2174" y="8168"/>
                  </a:moveTo>
                  <a:lnTo>
                    <a:pt x="2804" y="8420"/>
                  </a:lnTo>
                  <a:lnTo>
                    <a:pt x="3277" y="9586"/>
                  </a:lnTo>
                  <a:cubicBezTo>
                    <a:pt x="3308" y="9681"/>
                    <a:pt x="3434" y="9775"/>
                    <a:pt x="3529" y="9775"/>
                  </a:cubicBezTo>
                  <a:lnTo>
                    <a:pt x="2647" y="10720"/>
                  </a:lnTo>
                  <a:lnTo>
                    <a:pt x="2426" y="9649"/>
                  </a:lnTo>
                  <a:cubicBezTo>
                    <a:pt x="2395" y="9523"/>
                    <a:pt x="2332" y="9429"/>
                    <a:pt x="2174" y="9366"/>
                  </a:cubicBezTo>
                  <a:lnTo>
                    <a:pt x="1134" y="9177"/>
                  </a:lnTo>
                  <a:lnTo>
                    <a:pt x="2174" y="8168"/>
                  </a:lnTo>
                  <a:close/>
                  <a:moveTo>
                    <a:pt x="9861" y="8105"/>
                  </a:moveTo>
                  <a:lnTo>
                    <a:pt x="10901" y="9145"/>
                  </a:lnTo>
                  <a:lnTo>
                    <a:pt x="9893" y="9366"/>
                  </a:lnTo>
                  <a:cubicBezTo>
                    <a:pt x="9767" y="9429"/>
                    <a:pt x="9641" y="9492"/>
                    <a:pt x="9609" y="9649"/>
                  </a:cubicBezTo>
                  <a:lnTo>
                    <a:pt x="9389" y="10720"/>
                  </a:lnTo>
                  <a:lnTo>
                    <a:pt x="8507" y="9712"/>
                  </a:lnTo>
                  <a:cubicBezTo>
                    <a:pt x="8601" y="9712"/>
                    <a:pt x="8727" y="9649"/>
                    <a:pt x="8759" y="9523"/>
                  </a:cubicBezTo>
                  <a:lnTo>
                    <a:pt x="9231" y="8389"/>
                  </a:lnTo>
                  <a:lnTo>
                    <a:pt x="9861" y="8105"/>
                  </a:lnTo>
                  <a:close/>
                  <a:moveTo>
                    <a:pt x="6002" y="1"/>
                  </a:moveTo>
                  <a:cubicBezTo>
                    <a:pt x="5923" y="1"/>
                    <a:pt x="5844" y="24"/>
                    <a:pt x="5797" y="72"/>
                  </a:cubicBezTo>
                  <a:lnTo>
                    <a:pt x="4852" y="828"/>
                  </a:lnTo>
                  <a:lnTo>
                    <a:pt x="3623" y="670"/>
                  </a:lnTo>
                  <a:cubicBezTo>
                    <a:pt x="3607" y="667"/>
                    <a:pt x="3590" y="665"/>
                    <a:pt x="3573" y="665"/>
                  </a:cubicBezTo>
                  <a:cubicBezTo>
                    <a:pt x="3434" y="665"/>
                    <a:pt x="3305" y="775"/>
                    <a:pt x="3277" y="859"/>
                  </a:cubicBezTo>
                  <a:lnTo>
                    <a:pt x="2804" y="2025"/>
                  </a:lnTo>
                  <a:lnTo>
                    <a:pt x="1639" y="2498"/>
                  </a:lnTo>
                  <a:cubicBezTo>
                    <a:pt x="1481" y="2561"/>
                    <a:pt x="1418" y="2687"/>
                    <a:pt x="1450" y="2844"/>
                  </a:cubicBezTo>
                  <a:lnTo>
                    <a:pt x="1607" y="4073"/>
                  </a:lnTo>
                  <a:lnTo>
                    <a:pt x="851" y="5018"/>
                  </a:lnTo>
                  <a:cubicBezTo>
                    <a:pt x="788" y="5112"/>
                    <a:pt x="788" y="5333"/>
                    <a:pt x="851" y="5428"/>
                  </a:cubicBezTo>
                  <a:lnTo>
                    <a:pt x="1607" y="6373"/>
                  </a:lnTo>
                  <a:lnTo>
                    <a:pt x="1450" y="7601"/>
                  </a:lnTo>
                  <a:cubicBezTo>
                    <a:pt x="1450" y="7696"/>
                    <a:pt x="1450" y="7759"/>
                    <a:pt x="1481" y="7853"/>
                  </a:cubicBezTo>
                  <a:lnTo>
                    <a:pt x="189" y="9145"/>
                  </a:lnTo>
                  <a:cubicBezTo>
                    <a:pt x="0" y="9334"/>
                    <a:pt x="126" y="9649"/>
                    <a:pt x="347" y="9744"/>
                  </a:cubicBezTo>
                  <a:lnTo>
                    <a:pt x="1765" y="10059"/>
                  </a:lnTo>
                  <a:lnTo>
                    <a:pt x="2080" y="11539"/>
                  </a:lnTo>
                  <a:cubicBezTo>
                    <a:pt x="2099" y="11714"/>
                    <a:pt x="2250" y="11805"/>
                    <a:pt x="2407" y="11805"/>
                  </a:cubicBezTo>
                  <a:cubicBezTo>
                    <a:pt x="2505" y="11805"/>
                    <a:pt x="2606" y="11770"/>
                    <a:pt x="2678" y="11697"/>
                  </a:cubicBezTo>
                  <a:cubicBezTo>
                    <a:pt x="4410" y="9858"/>
                    <a:pt x="4587" y="9665"/>
                    <a:pt x="4601" y="9649"/>
                  </a:cubicBezTo>
                  <a:lnTo>
                    <a:pt x="4601" y="9649"/>
                  </a:lnTo>
                  <a:lnTo>
                    <a:pt x="4789" y="9618"/>
                  </a:lnTo>
                  <a:lnTo>
                    <a:pt x="5734" y="10374"/>
                  </a:lnTo>
                  <a:cubicBezTo>
                    <a:pt x="5829" y="10405"/>
                    <a:pt x="5860" y="10437"/>
                    <a:pt x="5955" y="10437"/>
                  </a:cubicBezTo>
                  <a:cubicBezTo>
                    <a:pt x="6018" y="10437"/>
                    <a:pt x="6112" y="10405"/>
                    <a:pt x="6144" y="10374"/>
                  </a:cubicBezTo>
                  <a:lnTo>
                    <a:pt x="7089" y="9618"/>
                  </a:lnTo>
                  <a:lnTo>
                    <a:pt x="7278" y="9649"/>
                  </a:lnTo>
                  <a:lnTo>
                    <a:pt x="9200" y="11697"/>
                  </a:lnTo>
                  <a:cubicBezTo>
                    <a:pt x="9284" y="11770"/>
                    <a:pt x="9388" y="11805"/>
                    <a:pt x="9485" y="11805"/>
                  </a:cubicBezTo>
                  <a:cubicBezTo>
                    <a:pt x="9640" y="11805"/>
                    <a:pt x="9779" y="11714"/>
                    <a:pt x="9798" y="11539"/>
                  </a:cubicBezTo>
                  <a:lnTo>
                    <a:pt x="10113" y="10059"/>
                  </a:lnTo>
                  <a:lnTo>
                    <a:pt x="11531" y="9744"/>
                  </a:lnTo>
                  <a:cubicBezTo>
                    <a:pt x="11815" y="9681"/>
                    <a:pt x="11878" y="9334"/>
                    <a:pt x="11689" y="9145"/>
                  </a:cubicBezTo>
                  <a:lnTo>
                    <a:pt x="10523" y="7853"/>
                  </a:lnTo>
                  <a:cubicBezTo>
                    <a:pt x="10554" y="7759"/>
                    <a:pt x="10586" y="7696"/>
                    <a:pt x="10554" y="7601"/>
                  </a:cubicBezTo>
                  <a:lnTo>
                    <a:pt x="10397" y="6373"/>
                  </a:lnTo>
                  <a:lnTo>
                    <a:pt x="11153" y="5428"/>
                  </a:lnTo>
                  <a:cubicBezTo>
                    <a:pt x="11216" y="5333"/>
                    <a:pt x="11216" y="5112"/>
                    <a:pt x="11153" y="5018"/>
                  </a:cubicBezTo>
                  <a:lnTo>
                    <a:pt x="10397" y="4073"/>
                  </a:lnTo>
                  <a:lnTo>
                    <a:pt x="10554" y="2844"/>
                  </a:lnTo>
                  <a:cubicBezTo>
                    <a:pt x="10586" y="2687"/>
                    <a:pt x="10460" y="2529"/>
                    <a:pt x="10365" y="2498"/>
                  </a:cubicBezTo>
                  <a:lnTo>
                    <a:pt x="9200" y="2025"/>
                  </a:lnTo>
                  <a:lnTo>
                    <a:pt x="8727" y="859"/>
                  </a:lnTo>
                  <a:cubicBezTo>
                    <a:pt x="8675" y="728"/>
                    <a:pt x="8578" y="662"/>
                    <a:pt x="8457" y="662"/>
                  </a:cubicBezTo>
                  <a:cubicBezTo>
                    <a:pt x="8432" y="662"/>
                    <a:pt x="8407" y="665"/>
                    <a:pt x="8381" y="670"/>
                  </a:cubicBezTo>
                  <a:lnTo>
                    <a:pt x="7152" y="828"/>
                  </a:lnTo>
                  <a:lnTo>
                    <a:pt x="6207" y="72"/>
                  </a:lnTo>
                  <a:cubicBezTo>
                    <a:pt x="6160" y="24"/>
                    <a:pt x="6081" y="1"/>
                    <a:pt x="6002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icksand" pitchFamily="2" charset="0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20" name="Google Shape;217;p69">
              <a:extLst>
                <a:ext uri="{FF2B5EF4-FFF2-40B4-BE49-F238E27FC236}">
                  <a16:creationId xmlns:a16="http://schemas.microsoft.com/office/drawing/2014/main" id="{A60C0348-F4DF-5320-CF7A-5E499386CAD6}"/>
                </a:ext>
              </a:extLst>
            </p:cNvPr>
            <p:cNvGrpSpPr/>
            <p:nvPr/>
          </p:nvGrpSpPr>
          <p:grpSpPr>
            <a:xfrm>
              <a:off x="6873580" y="615314"/>
              <a:ext cx="210548" cy="210489"/>
              <a:chOff x="7820105" y="962355"/>
              <a:chExt cx="293692" cy="293692"/>
            </a:xfrm>
          </p:grpSpPr>
          <p:sp>
            <p:nvSpPr>
              <p:cNvPr id="21" name="Google Shape;218;p69">
                <a:extLst>
                  <a:ext uri="{FF2B5EF4-FFF2-40B4-BE49-F238E27FC236}">
                    <a16:creationId xmlns:a16="http://schemas.microsoft.com/office/drawing/2014/main" id="{8B99EDEA-A887-1338-8A9B-5248FFD44454}"/>
                  </a:ext>
                </a:extLst>
              </p:cNvPr>
              <p:cNvSpPr/>
              <p:nvPr/>
            </p:nvSpPr>
            <p:spPr>
              <a:xfrm>
                <a:off x="7820105" y="962355"/>
                <a:ext cx="293692" cy="293692"/>
              </a:xfrm>
              <a:custGeom>
                <a:avLst/>
                <a:gdLst/>
                <a:ahLst/>
                <a:cxnLst/>
                <a:rect l="l" t="t" r="r" b="b"/>
                <a:pathLst>
                  <a:path w="19325" h="19325" extrusionOk="0">
                    <a:moveTo>
                      <a:pt x="9662" y="1133"/>
                    </a:moveTo>
                    <a:cubicBezTo>
                      <a:pt x="11824" y="1133"/>
                      <a:pt x="13983" y="1975"/>
                      <a:pt x="15668" y="3657"/>
                    </a:cubicBezTo>
                    <a:cubicBezTo>
                      <a:pt x="19035" y="7027"/>
                      <a:pt x="19035" y="12302"/>
                      <a:pt x="15668" y="15668"/>
                    </a:cubicBezTo>
                    <a:cubicBezTo>
                      <a:pt x="13983" y="17352"/>
                      <a:pt x="11822" y="18193"/>
                      <a:pt x="9661" y="18193"/>
                    </a:cubicBezTo>
                    <a:cubicBezTo>
                      <a:pt x="7500" y="18193"/>
                      <a:pt x="5340" y="17352"/>
                      <a:pt x="3657" y="15668"/>
                    </a:cubicBezTo>
                    <a:cubicBezTo>
                      <a:pt x="290" y="12302"/>
                      <a:pt x="290" y="7024"/>
                      <a:pt x="3657" y="3657"/>
                    </a:cubicBezTo>
                    <a:cubicBezTo>
                      <a:pt x="5342" y="1975"/>
                      <a:pt x="7500" y="1133"/>
                      <a:pt x="9662" y="1133"/>
                    </a:cubicBezTo>
                    <a:close/>
                    <a:moveTo>
                      <a:pt x="9662" y="1"/>
                    </a:moveTo>
                    <a:cubicBezTo>
                      <a:pt x="7117" y="1"/>
                      <a:pt x="4698" y="1015"/>
                      <a:pt x="2857" y="2857"/>
                    </a:cubicBezTo>
                    <a:cubicBezTo>
                      <a:pt x="1015" y="4699"/>
                      <a:pt x="0" y="7117"/>
                      <a:pt x="0" y="9663"/>
                    </a:cubicBezTo>
                    <a:cubicBezTo>
                      <a:pt x="0" y="12208"/>
                      <a:pt x="1015" y="14627"/>
                      <a:pt x="2857" y="16469"/>
                    </a:cubicBezTo>
                    <a:cubicBezTo>
                      <a:pt x="4698" y="18310"/>
                      <a:pt x="7117" y="19325"/>
                      <a:pt x="9662" y="19325"/>
                    </a:cubicBezTo>
                    <a:cubicBezTo>
                      <a:pt x="12208" y="19325"/>
                      <a:pt x="14626" y="18310"/>
                      <a:pt x="16468" y="16469"/>
                    </a:cubicBezTo>
                    <a:cubicBezTo>
                      <a:pt x="18310" y="14627"/>
                      <a:pt x="19325" y="12208"/>
                      <a:pt x="19325" y="9663"/>
                    </a:cubicBezTo>
                    <a:cubicBezTo>
                      <a:pt x="19325" y="7117"/>
                      <a:pt x="18310" y="4699"/>
                      <a:pt x="16468" y="2857"/>
                    </a:cubicBezTo>
                    <a:cubicBezTo>
                      <a:pt x="14626" y="1015"/>
                      <a:pt x="12208" y="1"/>
                      <a:pt x="966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sz="1100" b="0" i="0" u="none" strike="noStrike" kern="0" cap="none" spc="0" normalizeH="0" baseline="0" noProof="0">
                  <a:ln>
                    <a:noFill/>
                  </a:ln>
                  <a:solidFill>
                    <a:srgbClr val="435D74"/>
                  </a:solidFill>
                  <a:effectLst/>
                  <a:uLnTx/>
                  <a:uFillTx/>
                  <a:latin typeface="Quicksand" pitchFamily="2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" name="Google Shape;219;p69">
                <a:extLst>
                  <a:ext uri="{FF2B5EF4-FFF2-40B4-BE49-F238E27FC236}">
                    <a16:creationId xmlns:a16="http://schemas.microsoft.com/office/drawing/2014/main" id="{7E610D77-B36C-EEAD-A91E-027BF83DDB00}"/>
                  </a:ext>
                </a:extLst>
              </p:cNvPr>
              <p:cNvSpPr/>
              <p:nvPr/>
            </p:nvSpPr>
            <p:spPr>
              <a:xfrm>
                <a:off x="7890257" y="1053661"/>
                <a:ext cx="152188" cy="111079"/>
              </a:xfrm>
              <a:custGeom>
                <a:avLst/>
                <a:gdLst/>
                <a:ahLst/>
                <a:cxnLst/>
                <a:rect l="l" t="t" r="r" b="b"/>
                <a:pathLst>
                  <a:path w="10014" h="7309" extrusionOk="0">
                    <a:moveTo>
                      <a:pt x="8149" y="1134"/>
                    </a:moveTo>
                    <a:cubicBezTo>
                      <a:pt x="8294" y="1134"/>
                      <a:pt x="8439" y="1189"/>
                      <a:pt x="8549" y="1300"/>
                    </a:cubicBezTo>
                    <a:cubicBezTo>
                      <a:pt x="8769" y="1520"/>
                      <a:pt x="8769" y="1879"/>
                      <a:pt x="8549" y="2100"/>
                    </a:cubicBezTo>
                    <a:lnTo>
                      <a:pt x="4639" y="6007"/>
                    </a:lnTo>
                    <a:cubicBezTo>
                      <a:pt x="4527" y="6120"/>
                      <a:pt x="4377" y="6177"/>
                      <a:pt x="4227" y="6177"/>
                    </a:cubicBezTo>
                    <a:cubicBezTo>
                      <a:pt x="4081" y="6177"/>
                      <a:pt x="3937" y="6123"/>
                      <a:pt x="3830" y="6016"/>
                    </a:cubicBezTo>
                    <a:lnTo>
                      <a:pt x="1547" y="3748"/>
                    </a:lnTo>
                    <a:cubicBezTo>
                      <a:pt x="1296" y="3534"/>
                      <a:pt x="1281" y="3151"/>
                      <a:pt x="1514" y="2918"/>
                    </a:cubicBezTo>
                    <a:cubicBezTo>
                      <a:pt x="1626" y="2806"/>
                      <a:pt x="1771" y="2750"/>
                      <a:pt x="1916" y="2750"/>
                    </a:cubicBezTo>
                    <a:cubicBezTo>
                      <a:pt x="2074" y="2750"/>
                      <a:pt x="2232" y="2817"/>
                      <a:pt x="2344" y="2948"/>
                    </a:cubicBezTo>
                    <a:lnTo>
                      <a:pt x="3784" y="4388"/>
                    </a:lnTo>
                    <a:cubicBezTo>
                      <a:pt x="3793" y="4401"/>
                      <a:pt x="3805" y="4410"/>
                      <a:pt x="3817" y="4419"/>
                    </a:cubicBezTo>
                    <a:cubicBezTo>
                      <a:pt x="3817" y="4422"/>
                      <a:pt x="3820" y="4422"/>
                      <a:pt x="3823" y="4425"/>
                    </a:cubicBezTo>
                    <a:cubicBezTo>
                      <a:pt x="3934" y="4535"/>
                      <a:pt x="4078" y="4590"/>
                      <a:pt x="4222" y="4590"/>
                    </a:cubicBezTo>
                    <a:cubicBezTo>
                      <a:pt x="4367" y="4590"/>
                      <a:pt x="4512" y="4535"/>
                      <a:pt x="4624" y="4425"/>
                    </a:cubicBezTo>
                    <a:lnTo>
                      <a:pt x="7749" y="1300"/>
                    </a:lnTo>
                    <a:cubicBezTo>
                      <a:pt x="7859" y="1189"/>
                      <a:pt x="8004" y="1134"/>
                      <a:pt x="8149" y="1134"/>
                    </a:cubicBezTo>
                    <a:close/>
                    <a:moveTo>
                      <a:pt x="8146" y="1"/>
                    </a:moveTo>
                    <a:cubicBezTo>
                      <a:pt x="7712" y="1"/>
                      <a:pt x="7279" y="166"/>
                      <a:pt x="6949" y="496"/>
                    </a:cubicBezTo>
                    <a:lnTo>
                      <a:pt x="6946" y="496"/>
                    </a:lnTo>
                    <a:lnTo>
                      <a:pt x="4219" y="3223"/>
                    </a:lnTo>
                    <a:lnTo>
                      <a:pt x="3144" y="2148"/>
                    </a:lnTo>
                    <a:cubicBezTo>
                      <a:pt x="2808" y="1779"/>
                      <a:pt x="2348" y="1594"/>
                      <a:pt x="1887" y="1594"/>
                    </a:cubicBezTo>
                    <a:cubicBezTo>
                      <a:pt x="1453" y="1594"/>
                      <a:pt x="1019" y="1758"/>
                      <a:pt x="686" y="2091"/>
                    </a:cubicBezTo>
                    <a:cubicBezTo>
                      <a:pt x="1" y="2776"/>
                      <a:pt x="28" y="3896"/>
                      <a:pt x="747" y="4549"/>
                    </a:cubicBezTo>
                    <a:lnTo>
                      <a:pt x="3029" y="6819"/>
                    </a:lnTo>
                    <a:cubicBezTo>
                      <a:pt x="3344" y="7131"/>
                      <a:pt x="3768" y="7308"/>
                      <a:pt x="4214" y="7308"/>
                    </a:cubicBezTo>
                    <a:cubicBezTo>
                      <a:pt x="4218" y="7308"/>
                      <a:pt x="4221" y="7308"/>
                      <a:pt x="4225" y="7308"/>
                    </a:cubicBezTo>
                    <a:cubicBezTo>
                      <a:pt x="4678" y="7308"/>
                      <a:pt x="5116" y="7127"/>
                      <a:pt x="5439" y="6807"/>
                    </a:cubicBezTo>
                    <a:lnTo>
                      <a:pt x="9349" y="2900"/>
                    </a:lnTo>
                    <a:cubicBezTo>
                      <a:pt x="10013" y="2236"/>
                      <a:pt x="10013" y="1161"/>
                      <a:pt x="9349" y="499"/>
                    </a:cubicBezTo>
                    <a:cubicBezTo>
                      <a:pt x="9017" y="167"/>
                      <a:pt x="8581" y="1"/>
                      <a:pt x="814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00"/>
                  <a:buFont typeface="Arial"/>
                  <a:buNone/>
                  <a:tabLst/>
                  <a:defRPr/>
                </a:pPr>
                <a:endParaRPr kumimoji="0" sz="1100" b="0" i="0" u="none" strike="noStrike" kern="0" cap="none" spc="0" normalizeH="0" baseline="0" noProof="0">
                  <a:ln>
                    <a:noFill/>
                  </a:ln>
                  <a:solidFill>
                    <a:srgbClr val="435D74"/>
                  </a:solidFill>
                  <a:effectLst/>
                  <a:uLnTx/>
                  <a:uFillTx/>
                  <a:latin typeface="Quicksand" pitchFamily="2" charset="0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23" name="Google Shape;220;p69">
            <a:extLst>
              <a:ext uri="{FF2B5EF4-FFF2-40B4-BE49-F238E27FC236}">
                <a16:creationId xmlns:a16="http://schemas.microsoft.com/office/drawing/2014/main" id="{AFA6A2EF-76FE-F3F4-B57B-A2B52E7FE13E}"/>
              </a:ext>
            </a:extLst>
          </p:cNvPr>
          <p:cNvSpPr/>
          <p:nvPr/>
        </p:nvSpPr>
        <p:spPr>
          <a:xfrm>
            <a:off x="6091541" y="2491193"/>
            <a:ext cx="1165535" cy="1115425"/>
          </a:xfrm>
          <a:custGeom>
            <a:avLst/>
            <a:gdLst/>
            <a:ahLst/>
            <a:cxnLst/>
            <a:rect l="l" t="t" r="r" b="b"/>
            <a:pathLst>
              <a:path w="12005" h="11815" extrusionOk="0">
                <a:moveTo>
                  <a:pt x="6003" y="693"/>
                </a:moveTo>
                <a:cubicBezTo>
                  <a:pt x="6089" y="693"/>
                  <a:pt x="6176" y="725"/>
                  <a:pt x="6239" y="788"/>
                </a:cubicBezTo>
                <a:lnTo>
                  <a:pt x="8444" y="2993"/>
                </a:lnTo>
                <a:lnTo>
                  <a:pt x="7972" y="3466"/>
                </a:lnTo>
                <a:lnTo>
                  <a:pt x="7751" y="3214"/>
                </a:lnTo>
                <a:cubicBezTo>
                  <a:pt x="7562" y="3025"/>
                  <a:pt x="7279" y="2899"/>
                  <a:pt x="6995" y="2899"/>
                </a:cubicBezTo>
                <a:cubicBezTo>
                  <a:pt x="6711" y="2899"/>
                  <a:pt x="6459" y="3025"/>
                  <a:pt x="6239" y="3214"/>
                </a:cubicBezTo>
                <a:cubicBezTo>
                  <a:pt x="5861" y="3623"/>
                  <a:pt x="5861" y="4285"/>
                  <a:pt x="6239" y="4663"/>
                </a:cubicBezTo>
                <a:lnTo>
                  <a:pt x="6491" y="4915"/>
                </a:lnTo>
                <a:lnTo>
                  <a:pt x="6018" y="5388"/>
                </a:lnTo>
                <a:lnTo>
                  <a:pt x="5262" y="4631"/>
                </a:lnTo>
                <a:cubicBezTo>
                  <a:pt x="5199" y="4568"/>
                  <a:pt x="5113" y="4537"/>
                  <a:pt x="5026" y="4537"/>
                </a:cubicBezTo>
                <a:cubicBezTo>
                  <a:pt x="4939" y="4537"/>
                  <a:pt x="4853" y="4568"/>
                  <a:pt x="4790" y="4631"/>
                </a:cubicBezTo>
                <a:lnTo>
                  <a:pt x="4317" y="5104"/>
                </a:lnTo>
                <a:cubicBezTo>
                  <a:pt x="4254" y="5167"/>
                  <a:pt x="4167" y="5198"/>
                  <a:pt x="4081" y="5198"/>
                </a:cubicBezTo>
                <a:cubicBezTo>
                  <a:pt x="3994" y="5198"/>
                  <a:pt x="3907" y="5167"/>
                  <a:pt x="3844" y="5104"/>
                </a:cubicBezTo>
                <a:cubicBezTo>
                  <a:pt x="3718" y="4978"/>
                  <a:pt x="3718" y="4757"/>
                  <a:pt x="3844" y="4631"/>
                </a:cubicBezTo>
                <a:lnTo>
                  <a:pt x="4317" y="4159"/>
                </a:lnTo>
                <a:cubicBezTo>
                  <a:pt x="4443" y="4033"/>
                  <a:pt x="4443" y="3812"/>
                  <a:pt x="4317" y="3686"/>
                </a:cubicBezTo>
                <a:lnTo>
                  <a:pt x="3624" y="2993"/>
                </a:lnTo>
                <a:lnTo>
                  <a:pt x="5766" y="788"/>
                </a:lnTo>
                <a:cubicBezTo>
                  <a:pt x="5829" y="725"/>
                  <a:pt x="5916" y="693"/>
                  <a:pt x="6003" y="693"/>
                </a:cubicBezTo>
                <a:close/>
                <a:moveTo>
                  <a:pt x="3088" y="3466"/>
                </a:moveTo>
                <a:lnTo>
                  <a:pt x="3561" y="3938"/>
                </a:lnTo>
                <a:lnTo>
                  <a:pt x="3340" y="4159"/>
                </a:lnTo>
                <a:cubicBezTo>
                  <a:pt x="2931" y="4568"/>
                  <a:pt x="2931" y="5230"/>
                  <a:pt x="3340" y="5608"/>
                </a:cubicBezTo>
                <a:cubicBezTo>
                  <a:pt x="3529" y="5813"/>
                  <a:pt x="3797" y="5915"/>
                  <a:pt x="4065" y="5915"/>
                </a:cubicBezTo>
                <a:cubicBezTo>
                  <a:pt x="4333" y="5915"/>
                  <a:pt x="4601" y="5813"/>
                  <a:pt x="4790" y="5608"/>
                </a:cubicBezTo>
                <a:lnTo>
                  <a:pt x="5042" y="5388"/>
                </a:lnTo>
                <a:lnTo>
                  <a:pt x="5514" y="5860"/>
                </a:lnTo>
                <a:lnTo>
                  <a:pt x="4758" y="6616"/>
                </a:lnTo>
                <a:cubicBezTo>
                  <a:pt x="4632" y="6711"/>
                  <a:pt x="4632" y="6963"/>
                  <a:pt x="4758" y="7089"/>
                </a:cubicBezTo>
                <a:lnTo>
                  <a:pt x="5231" y="7561"/>
                </a:lnTo>
                <a:cubicBezTo>
                  <a:pt x="5357" y="7656"/>
                  <a:pt x="5357" y="7908"/>
                  <a:pt x="5231" y="8002"/>
                </a:cubicBezTo>
                <a:cubicBezTo>
                  <a:pt x="5168" y="8065"/>
                  <a:pt x="5081" y="8097"/>
                  <a:pt x="4994" y="8097"/>
                </a:cubicBezTo>
                <a:cubicBezTo>
                  <a:pt x="4908" y="8097"/>
                  <a:pt x="4821" y="8065"/>
                  <a:pt x="4758" y="8002"/>
                </a:cubicBezTo>
                <a:lnTo>
                  <a:pt x="4286" y="7561"/>
                </a:lnTo>
                <a:cubicBezTo>
                  <a:pt x="4223" y="7498"/>
                  <a:pt x="4136" y="7467"/>
                  <a:pt x="4049" y="7467"/>
                </a:cubicBezTo>
                <a:cubicBezTo>
                  <a:pt x="3963" y="7467"/>
                  <a:pt x="3876" y="7498"/>
                  <a:pt x="3813" y="7561"/>
                </a:cubicBezTo>
                <a:lnTo>
                  <a:pt x="3088" y="8254"/>
                </a:lnTo>
                <a:lnTo>
                  <a:pt x="883" y="6049"/>
                </a:lnTo>
                <a:cubicBezTo>
                  <a:pt x="789" y="6018"/>
                  <a:pt x="789" y="5829"/>
                  <a:pt x="883" y="5671"/>
                </a:cubicBezTo>
                <a:lnTo>
                  <a:pt x="3088" y="3466"/>
                </a:lnTo>
                <a:close/>
                <a:moveTo>
                  <a:pt x="8917" y="3529"/>
                </a:moveTo>
                <a:lnTo>
                  <a:pt x="11122" y="5671"/>
                </a:lnTo>
                <a:cubicBezTo>
                  <a:pt x="11248" y="5766"/>
                  <a:pt x="11248" y="6018"/>
                  <a:pt x="11122" y="6144"/>
                </a:cubicBezTo>
                <a:lnTo>
                  <a:pt x="8917" y="8349"/>
                </a:lnTo>
                <a:lnTo>
                  <a:pt x="8444" y="7876"/>
                </a:lnTo>
                <a:lnTo>
                  <a:pt x="8696" y="7624"/>
                </a:lnTo>
                <a:cubicBezTo>
                  <a:pt x="9074" y="7246"/>
                  <a:pt x="9074" y="6553"/>
                  <a:pt x="8696" y="6175"/>
                </a:cubicBezTo>
                <a:cubicBezTo>
                  <a:pt x="8491" y="5970"/>
                  <a:pt x="8224" y="5868"/>
                  <a:pt x="7956" y="5868"/>
                </a:cubicBezTo>
                <a:cubicBezTo>
                  <a:pt x="7688" y="5868"/>
                  <a:pt x="7420" y="5970"/>
                  <a:pt x="7216" y="6175"/>
                </a:cubicBezTo>
                <a:lnTo>
                  <a:pt x="6995" y="6396"/>
                </a:lnTo>
                <a:lnTo>
                  <a:pt x="6522" y="5923"/>
                </a:lnTo>
                <a:lnTo>
                  <a:pt x="7279" y="5198"/>
                </a:lnTo>
                <a:cubicBezTo>
                  <a:pt x="7373" y="5072"/>
                  <a:pt x="7373" y="4820"/>
                  <a:pt x="7279" y="4726"/>
                </a:cubicBezTo>
                <a:lnTo>
                  <a:pt x="6806" y="4222"/>
                </a:lnTo>
                <a:cubicBezTo>
                  <a:pt x="6680" y="4127"/>
                  <a:pt x="6680" y="3875"/>
                  <a:pt x="6806" y="3749"/>
                </a:cubicBezTo>
                <a:cubicBezTo>
                  <a:pt x="6869" y="3686"/>
                  <a:pt x="6963" y="3655"/>
                  <a:pt x="7026" y="3655"/>
                </a:cubicBezTo>
                <a:cubicBezTo>
                  <a:pt x="7121" y="3655"/>
                  <a:pt x="7216" y="3686"/>
                  <a:pt x="7279" y="3749"/>
                </a:cubicBezTo>
                <a:lnTo>
                  <a:pt x="7751" y="4222"/>
                </a:lnTo>
                <a:cubicBezTo>
                  <a:pt x="7798" y="4285"/>
                  <a:pt x="7885" y="4316"/>
                  <a:pt x="7976" y="4316"/>
                </a:cubicBezTo>
                <a:cubicBezTo>
                  <a:pt x="8066" y="4316"/>
                  <a:pt x="8161" y="4285"/>
                  <a:pt x="8224" y="4222"/>
                </a:cubicBezTo>
                <a:lnTo>
                  <a:pt x="8917" y="3529"/>
                </a:lnTo>
                <a:close/>
                <a:moveTo>
                  <a:pt x="5987" y="6396"/>
                </a:moveTo>
                <a:lnTo>
                  <a:pt x="6711" y="7152"/>
                </a:lnTo>
                <a:cubicBezTo>
                  <a:pt x="6774" y="7215"/>
                  <a:pt x="6869" y="7246"/>
                  <a:pt x="6960" y="7246"/>
                </a:cubicBezTo>
                <a:cubicBezTo>
                  <a:pt x="7050" y="7246"/>
                  <a:pt x="7137" y="7215"/>
                  <a:pt x="7184" y="7152"/>
                </a:cubicBezTo>
                <a:lnTo>
                  <a:pt x="7657" y="6679"/>
                </a:lnTo>
                <a:cubicBezTo>
                  <a:pt x="7720" y="6616"/>
                  <a:pt x="7814" y="6585"/>
                  <a:pt x="7905" y="6585"/>
                </a:cubicBezTo>
                <a:cubicBezTo>
                  <a:pt x="7995" y="6585"/>
                  <a:pt x="8082" y="6616"/>
                  <a:pt x="8129" y="6679"/>
                </a:cubicBezTo>
                <a:cubicBezTo>
                  <a:pt x="8255" y="6805"/>
                  <a:pt x="8255" y="7026"/>
                  <a:pt x="8129" y="7152"/>
                </a:cubicBezTo>
                <a:lnTo>
                  <a:pt x="7657" y="7624"/>
                </a:lnTo>
                <a:cubicBezTo>
                  <a:pt x="7562" y="7750"/>
                  <a:pt x="7562" y="7971"/>
                  <a:pt x="7657" y="8097"/>
                </a:cubicBezTo>
                <a:lnTo>
                  <a:pt x="8381" y="8822"/>
                </a:lnTo>
                <a:lnTo>
                  <a:pt x="6239" y="11027"/>
                </a:lnTo>
                <a:cubicBezTo>
                  <a:pt x="6192" y="11074"/>
                  <a:pt x="6105" y="11098"/>
                  <a:pt x="6014" y="11098"/>
                </a:cubicBezTo>
                <a:cubicBezTo>
                  <a:pt x="5924" y="11098"/>
                  <a:pt x="5829" y="11074"/>
                  <a:pt x="5766" y="11027"/>
                </a:cubicBezTo>
                <a:lnTo>
                  <a:pt x="3561" y="8822"/>
                </a:lnTo>
                <a:lnTo>
                  <a:pt x="4034" y="8349"/>
                </a:lnTo>
                <a:lnTo>
                  <a:pt x="4286" y="8570"/>
                </a:lnTo>
                <a:cubicBezTo>
                  <a:pt x="4475" y="8774"/>
                  <a:pt x="4742" y="8877"/>
                  <a:pt x="5010" y="8877"/>
                </a:cubicBezTo>
                <a:cubicBezTo>
                  <a:pt x="5278" y="8877"/>
                  <a:pt x="5546" y="8774"/>
                  <a:pt x="5735" y="8570"/>
                </a:cubicBezTo>
                <a:cubicBezTo>
                  <a:pt x="6144" y="8191"/>
                  <a:pt x="6144" y="7498"/>
                  <a:pt x="5735" y="7120"/>
                </a:cubicBezTo>
                <a:lnTo>
                  <a:pt x="5514" y="6868"/>
                </a:lnTo>
                <a:lnTo>
                  <a:pt x="5987" y="6396"/>
                </a:lnTo>
                <a:close/>
                <a:moveTo>
                  <a:pt x="5999" y="0"/>
                </a:moveTo>
                <a:cubicBezTo>
                  <a:pt x="5735" y="0"/>
                  <a:pt x="5467" y="95"/>
                  <a:pt x="5262" y="284"/>
                </a:cubicBezTo>
                <a:lnTo>
                  <a:pt x="379" y="5167"/>
                </a:lnTo>
                <a:cubicBezTo>
                  <a:pt x="1" y="5577"/>
                  <a:pt x="1" y="6238"/>
                  <a:pt x="379" y="6648"/>
                </a:cubicBezTo>
                <a:lnTo>
                  <a:pt x="5262" y="11531"/>
                </a:lnTo>
                <a:cubicBezTo>
                  <a:pt x="5467" y="11720"/>
                  <a:pt x="5735" y="11814"/>
                  <a:pt x="5999" y="11814"/>
                </a:cubicBezTo>
                <a:cubicBezTo>
                  <a:pt x="6262" y="11814"/>
                  <a:pt x="6522" y="11720"/>
                  <a:pt x="6711" y="11531"/>
                </a:cubicBezTo>
                <a:lnTo>
                  <a:pt x="11595" y="6648"/>
                </a:lnTo>
                <a:cubicBezTo>
                  <a:pt x="12004" y="6238"/>
                  <a:pt x="12004" y="5577"/>
                  <a:pt x="11595" y="5167"/>
                </a:cubicBezTo>
                <a:lnTo>
                  <a:pt x="6711" y="284"/>
                </a:lnTo>
                <a:cubicBezTo>
                  <a:pt x="6522" y="95"/>
                  <a:pt x="6262" y="0"/>
                  <a:pt x="5999" y="0"/>
                </a:cubicBezTo>
                <a:close/>
              </a:path>
            </a:pathLst>
          </a:custGeom>
          <a:solidFill>
            <a:srgbClr val="FFFFFF"/>
          </a:solidFill>
          <a:ln w="9525" cap="flat" cmpd="sng">
            <a:solidFill>
              <a:srgbClr val="00509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icksand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24" name="Google Shape;221;p69">
            <a:extLst>
              <a:ext uri="{FF2B5EF4-FFF2-40B4-BE49-F238E27FC236}">
                <a16:creationId xmlns:a16="http://schemas.microsoft.com/office/drawing/2014/main" id="{FF2088E7-E677-8252-27E0-17D2F9D8CCBA}"/>
              </a:ext>
            </a:extLst>
          </p:cNvPr>
          <p:cNvGrpSpPr/>
          <p:nvPr/>
        </p:nvGrpSpPr>
        <p:grpSpPr>
          <a:xfrm>
            <a:off x="8808150" y="2470782"/>
            <a:ext cx="1025540" cy="1017535"/>
            <a:chOff x="2508825" y="2318350"/>
            <a:chExt cx="297750" cy="295400"/>
          </a:xfrm>
        </p:grpSpPr>
        <p:sp>
          <p:nvSpPr>
            <p:cNvPr id="25" name="Google Shape;222;p69">
              <a:extLst>
                <a:ext uri="{FF2B5EF4-FFF2-40B4-BE49-F238E27FC236}">
                  <a16:creationId xmlns:a16="http://schemas.microsoft.com/office/drawing/2014/main" id="{154D4DBF-0553-0749-4A28-3AC1C8358FB9}"/>
                </a:ext>
              </a:extLst>
            </p:cNvPr>
            <p:cNvSpPr/>
            <p:nvPr/>
          </p:nvSpPr>
          <p:spPr>
            <a:xfrm>
              <a:off x="2508825" y="2318350"/>
              <a:ext cx="297750" cy="295400"/>
            </a:xfrm>
            <a:custGeom>
              <a:avLst/>
              <a:gdLst/>
              <a:ahLst/>
              <a:cxnLst/>
              <a:rect l="l" t="t" r="r" b="b"/>
              <a:pathLst>
                <a:path w="11910" h="11816" extrusionOk="0">
                  <a:moveTo>
                    <a:pt x="5892" y="694"/>
                  </a:moveTo>
                  <a:cubicBezTo>
                    <a:pt x="7625" y="694"/>
                    <a:pt x="9043" y="2112"/>
                    <a:pt x="9043" y="3845"/>
                  </a:cubicBezTo>
                  <a:cubicBezTo>
                    <a:pt x="9043" y="5483"/>
                    <a:pt x="7751" y="6838"/>
                    <a:pt x="6081" y="6932"/>
                  </a:cubicBezTo>
                  <a:cubicBezTo>
                    <a:pt x="6018" y="6932"/>
                    <a:pt x="5987" y="6901"/>
                    <a:pt x="5924" y="6869"/>
                  </a:cubicBezTo>
                  <a:lnTo>
                    <a:pt x="5766" y="6711"/>
                  </a:lnTo>
                  <a:cubicBezTo>
                    <a:pt x="5297" y="6298"/>
                    <a:pt x="4683" y="6101"/>
                    <a:pt x="4072" y="6101"/>
                  </a:cubicBezTo>
                  <a:cubicBezTo>
                    <a:pt x="3985" y="6101"/>
                    <a:pt x="3899" y="6105"/>
                    <a:pt x="3813" y="6113"/>
                  </a:cubicBezTo>
                  <a:cubicBezTo>
                    <a:pt x="3151" y="5577"/>
                    <a:pt x="2773" y="4727"/>
                    <a:pt x="2773" y="3845"/>
                  </a:cubicBezTo>
                  <a:cubicBezTo>
                    <a:pt x="2773" y="2112"/>
                    <a:pt x="4191" y="694"/>
                    <a:pt x="5892" y="694"/>
                  </a:cubicBezTo>
                  <a:close/>
                  <a:moveTo>
                    <a:pt x="4171" y="6822"/>
                  </a:moveTo>
                  <a:cubicBezTo>
                    <a:pt x="4577" y="6822"/>
                    <a:pt x="4979" y="6964"/>
                    <a:pt x="5294" y="7247"/>
                  </a:cubicBezTo>
                  <a:cubicBezTo>
                    <a:pt x="5420" y="7373"/>
                    <a:pt x="5735" y="7657"/>
                    <a:pt x="5892" y="7657"/>
                  </a:cubicBezTo>
                  <a:lnTo>
                    <a:pt x="7972" y="7657"/>
                  </a:lnTo>
                  <a:cubicBezTo>
                    <a:pt x="8192" y="7657"/>
                    <a:pt x="8350" y="7814"/>
                    <a:pt x="8350" y="8003"/>
                  </a:cubicBezTo>
                  <a:cubicBezTo>
                    <a:pt x="8350" y="8192"/>
                    <a:pt x="8192" y="8350"/>
                    <a:pt x="7972" y="8350"/>
                  </a:cubicBezTo>
                  <a:lnTo>
                    <a:pt x="5514" y="8350"/>
                  </a:lnTo>
                  <a:cubicBezTo>
                    <a:pt x="5294" y="8350"/>
                    <a:pt x="5136" y="8507"/>
                    <a:pt x="5136" y="8728"/>
                  </a:cubicBezTo>
                  <a:cubicBezTo>
                    <a:pt x="5136" y="8917"/>
                    <a:pt x="5294" y="9074"/>
                    <a:pt x="5514" y="9074"/>
                  </a:cubicBezTo>
                  <a:lnTo>
                    <a:pt x="8224" y="9074"/>
                  </a:lnTo>
                  <a:cubicBezTo>
                    <a:pt x="8507" y="9074"/>
                    <a:pt x="8759" y="8948"/>
                    <a:pt x="8980" y="8759"/>
                  </a:cubicBezTo>
                  <a:lnTo>
                    <a:pt x="10492" y="7090"/>
                  </a:lnTo>
                  <a:cubicBezTo>
                    <a:pt x="10568" y="7033"/>
                    <a:pt x="10666" y="6987"/>
                    <a:pt x="10766" y="6987"/>
                  </a:cubicBezTo>
                  <a:cubicBezTo>
                    <a:pt x="10833" y="6987"/>
                    <a:pt x="10902" y="7008"/>
                    <a:pt x="10965" y="7058"/>
                  </a:cubicBezTo>
                  <a:cubicBezTo>
                    <a:pt x="11122" y="7184"/>
                    <a:pt x="11185" y="7373"/>
                    <a:pt x="11059" y="7531"/>
                  </a:cubicBezTo>
                  <a:lnTo>
                    <a:pt x="9389" y="9767"/>
                  </a:lnTo>
                  <a:cubicBezTo>
                    <a:pt x="9074" y="10209"/>
                    <a:pt x="8570" y="10492"/>
                    <a:pt x="8035" y="10492"/>
                  </a:cubicBezTo>
                  <a:lnTo>
                    <a:pt x="2773" y="10492"/>
                  </a:lnTo>
                  <a:lnTo>
                    <a:pt x="2773" y="7468"/>
                  </a:lnTo>
                  <a:lnTo>
                    <a:pt x="3025" y="7247"/>
                  </a:lnTo>
                  <a:cubicBezTo>
                    <a:pt x="3356" y="6964"/>
                    <a:pt x="3766" y="6822"/>
                    <a:pt x="4171" y="6822"/>
                  </a:cubicBezTo>
                  <a:close/>
                  <a:moveTo>
                    <a:pt x="1734" y="6932"/>
                  </a:moveTo>
                  <a:cubicBezTo>
                    <a:pt x="1923" y="6932"/>
                    <a:pt x="2080" y="7090"/>
                    <a:pt x="2080" y="7310"/>
                  </a:cubicBezTo>
                  <a:lnTo>
                    <a:pt x="2080" y="10807"/>
                  </a:lnTo>
                  <a:cubicBezTo>
                    <a:pt x="2080" y="10996"/>
                    <a:pt x="1923" y="11154"/>
                    <a:pt x="1734" y="11154"/>
                  </a:cubicBezTo>
                  <a:lnTo>
                    <a:pt x="662" y="11154"/>
                  </a:lnTo>
                  <a:lnTo>
                    <a:pt x="662" y="6932"/>
                  </a:lnTo>
                  <a:close/>
                  <a:moveTo>
                    <a:pt x="5924" y="1"/>
                  </a:moveTo>
                  <a:cubicBezTo>
                    <a:pt x="3844" y="1"/>
                    <a:pt x="2112" y="1734"/>
                    <a:pt x="2112" y="3845"/>
                  </a:cubicBezTo>
                  <a:cubicBezTo>
                    <a:pt x="2112" y="4790"/>
                    <a:pt x="2458" y="5672"/>
                    <a:pt x="3088" y="6396"/>
                  </a:cubicBezTo>
                  <a:cubicBezTo>
                    <a:pt x="2931" y="6459"/>
                    <a:pt x="2773" y="6585"/>
                    <a:pt x="2616" y="6711"/>
                  </a:cubicBezTo>
                  <a:cubicBezTo>
                    <a:pt x="2427" y="6428"/>
                    <a:pt x="2112" y="6270"/>
                    <a:pt x="1765" y="6270"/>
                  </a:cubicBezTo>
                  <a:lnTo>
                    <a:pt x="347" y="6270"/>
                  </a:lnTo>
                  <a:cubicBezTo>
                    <a:pt x="158" y="6270"/>
                    <a:pt x="1" y="6428"/>
                    <a:pt x="1" y="6585"/>
                  </a:cubicBezTo>
                  <a:lnTo>
                    <a:pt x="1" y="11469"/>
                  </a:lnTo>
                  <a:cubicBezTo>
                    <a:pt x="1" y="11658"/>
                    <a:pt x="158" y="11815"/>
                    <a:pt x="347" y="11815"/>
                  </a:cubicBezTo>
                  <a:lnTo>
                    <a:pt x="1765" y="11815"/>
                  </a:lnTo>
                  <a:cubicBezTo>
                    <a:pt x="2238" y="11815"/>
                    <a:pt x="2584" y="11563"/>
                    <a:pt x="2742" y="11122"/>
                  </a:cubicBezTo>
                  <a:lnTo>
                    <a:pt x="8035" y="11122"/>
                  </a:lnTo>
                  <a:cubicBezTo>
                    <a:pt x="8759" y="11122"/>
                    <a:pt x="9515" y="10776"/>
                    <a:pt x="9956" y="10146"/>
                  </a:cubicBezTo>
                  <a:lnTo>
                    <a:pt x="11595" y="7877"/>
                  </a:lnTo>
                  <a:cubicBezTo>
                    <a:pt x="11910" y="7468"/>
                    <a:pt x="11878" y="6838"/>
                    <a:pt x="11437" y="6459"/>
                  </a:cubicBezTo>
                  <a:cubicBezTo>
                    <a:pt x="11249" y="6301"/>
                    <a:pt x="11015" y="6221"/>
                    <a:pt x="10780" y="6221"/>
                  </a:cubicBezTo>
                  <a:cubicBezTo>
                    <a:pt x="10503" y="6221"/>
                    <a:pt x="10224" y="6332"/>
                    <a:pt x="10019" y="6554"/>
                  </a:cubicBezTo>
                  <a:lnTo>
                    <a:pt x="9011" y="7657"/>
                  </a:lnTo>
                  <a:cubicBezTo>
                    <a:pt x="8885" y="7247"/>
                    <a:pt x="8539" y="6932"/>
                    <a:pt x="8098" y="6932"/>
                  </a:cubicBezTo>
                  <a:cubicBezTo>
                    <a:pt x="8287" y="6838"/>
                    <a:pt x="8444" y="6680"/>
                    <a:pt x="8602" y="6522"/>
                  </a:cubicBezTo>
                  <a:cubicBezTo>
                    <a:pt x="9358" y="5798"/>
                    <a:pt x="9767" y="4821"/>
                    <a:pt x="9767" y="3845"/>
                  </a:cubicBezTo>
                  <a:cubicBezTo>
                    <a:pt x="9767" y="1734"/>
                    <a:pt x="8035" y="1"/>
                    <a:pt x="5924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019CD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icksand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6" name="Google Shape;223;p69">
              <a:extLst>
                <a:ext uri="{FF2B5EF4-FFF2-40B4-BE49-F238E27FC236}">
                  <a16:creationId xmlns:a16="http://schemas.microsoft.com/office/drawing/2014/main" id="{0E1209EE-AF7B-6814-AFCB-4F16FFFD34CB}"/>
                </a:ext>
              </a:extLst>
            </p:cNvPr>
            <p:cNvSpPr/>
            <p:nvPr/>
          </p:nvSpPr>
          <p:spPr>
            <a:xfrm>
              <a:off x="2629350" y="2353025"/>
              <a:ext cx="54350" cy="121300"/>
            </a:xfrm>
            <a:custGeom>
              <a:avLst/>
              <a:gdLst/>
              <a:ahLst/>
              <a:cxnLst/>
              <a:rect l="l" t="t" r="r" b="b"/>
              <a:pathLst>
                <a:path w="2174" h="4852" extrusionOk="0">
                  <a:moveTo>
                    <a:pt x="1071" y="0"/>
                  </a:moveTo>
                  <a:cubicBezTo>
                    <a:pt x="882" y="0"/>
                    <a:pt x="725" y="158"/>
                    <a:pt x="725" y="347"/>
                  </a:cubicBezTo>
                  <a:lnTo>
                    <a:pt x="725" y="756"/>
                  </a:lnTo>
                  <a:cubicBezTo>
                    <a:pt x="315" y="914"/>
                    <a:pt x="63" y="1292"/>
                    <a:pt x="63" y="1733"/>
                  </a:cubicBezTo>
                  <a:cubicBezTo>
                    <a:pt x="0" y="2332"/>
                    <a:pt x="473" y="2804"/>
                    <a:pt x="1071" y="2804"/>
                  </a:cubicBezTo>
                  <a:cubicBezTo>
                    <a:pt x="1260" y="2804"/>
                    <a:pt x="1418" y="2962"/>
                    <a:pt x="1418" y="3151"/>
                  </a:cubicBezTo>
                  <a:cubicBezTo>
                    <a:pt x="1418" y="3308"/>
                    <a:pt x="1355" y="3434"/>
                    <a:pt x="1229" y="3466"/>
                  </a:cubicBezTo>
                  <a:cubicBezTo>
                    <a:pt x="1185" y="3492"/>
                    <a:pt x="1140" y="3503"/>
                    <a:pt x="1093" y="3503"/>
                  </a:cubicBezTo>
                  <a:cubicBezTo>
                    <a:pt x="970" y="3503"/>
                    <a:pt x="839" y="3422"/>
                    <a:pt x="725" y="3308"/>
                  </a:cubicBezTo>
                  <a:cubicBezTo>
                    <a:pt x="662" y="3245"/>
                    <a:pt x="575" y="3214"/>
                    <a:pt x="488" y="3214"/>
                  </a:cubicBezTo>
                  <a:cubicBezTo>
                    <a:pt x="402" y="3214"/>
                    <a:pt x="315" y="3245"/>
                    <a:pt x="252" y="3308"/>
                  </a:cubicBezTo>
                  <a:cubicBezTo>
                    <a:pt x="126" y="3434"/>
                    <a:pt x="126" y="3655"/>
                    <a:pt x="252" y="3781"/>
                  </a:cubicBezTo>
                  <a:cubicBezTo>
                    <a:pt x="410" y="3938"/>
                    <a:pt x="567" y="4064"/>
                    <a:pt x="756" y="4096"/>
                  </a:cubicBezTo>
                  <a:lnTo>
                    <a:pt x="756" y="4505"/>
                  </a:lnTo>
                  <a:cubicBezTo>
                    <a:pt x="756" y="4694"/>
                    <a:pt x="914" y="4852"/>
                    <a:pt x="1103" y="4852"/>
                  </a:cubicBezTo>
                  <a:cubicBezTo>
                    <a:pt x="1323" y="4852"/>
                    <a:pt x="1481" y="4694"/>
                    <a:pt x="1481" y="4505"/>
                  </a:cubicBezTo>
                  <a:lnTo>
                    <a:pt x="1481" y="4096"/>
                  </a:lnTo>
                  <a:cubicBezTo>
                    <a:pt x="1481" y="4096"/>
                    <a:pt x="1512" y="4096"/>
                    <a:pt x="1512" y="4064"/>
                  </a:cubicBezTo>
                  <a:cubicBezTo>
                    <a:pt x="1890" y="3907"/>
                    <a:pt x="2142" y="3497"/>
                    <a:pt x="2142" y="3119"/>
                  </a:cubicBezTo>
                  <a:cubicBezTo>
                    <a:pt x="2142" y="2521"/>
                    <a:pt x="1670" y="2079"/>
                    <a:pt x="1103" y="2079"/>
                  </a:cubicBezTo>
                  <a:cubicBezTo>
                    <a:pt x="914" y="2079"/>
                    <a:pt x="756" y="1922"/>
                    <a:pt x="756" y="1733"/>
                  </a:cubicBezTo>
                  <a:cubicBezTo>
                    <a:pt x="756" y="1575"/>
                    <a:pt x="851" y="1449"/>
                    <a:pt x="1008" y="1418"/>
                  </a:cubicBezTo>
                  <a:cubicBezTo>
                    <a:pt x="1047" y="1405"/>
                    <a:pt x="1085" y="1399"/>
                    <a:pt x="1124" y="1399"/>
                  </a:cubicBezTo>
                  <a:cubicBezTo>
                    <a:pt x="1273" y="1399"/>
                    <a:pt x="1418" y="1494"/>
                    <a:pt x="1544" y="1670"/>
                  </a:cubicBezTo>
                  <a:cubicBezTo>
                    <a:pt x="1610" y="1753"/>
                    <a:pt x="1703" y="1792"/>
                    <a:pt x="1795" y="1792"/>
                  </a:cubicBezTo>
                  <a:cubicBezTo>
                    <a:pt x="1876" y="1792"/>
                    <a:pt x="1957" y="1761"/>
                    <a:pt x="2016" y="1701"/>
                  </a:cubicBezTo>
                  <a:cubicBezTo>
                    <a:pt x="2174" y="1575"/>
                    <a:pt x="2174" y="1323"/>
                    <a:pt x="2048" y="1229"/>
                  </a:cubicBezTo>
                  <a:cubicBezTo>
                    <a:pt x="1859" y="977"/>
                    <a:pt x="1670" y="819"/>
                    <a:pt x="1418" y="756"/>
                  </a:cubicBezTo>
                  <a:lnTo>
                    <a:pt x="1418" y="347"/>
                  </a:lnTo>
                  <a:cubicBezTo>
                    <a:pt x="1418" y="158"/>
                    <a:pt x="1260" y="0"/>
                    <a:pt x="1071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019CDB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icksand" pitchFamily="2" charset="0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7" name="Google Shape;224;p69">
            <a:extLst>
              <a:ext uri="{FF2B5EF4-FFF2-40B4-BE49-F238E27FC236}">
                <a16:creationId xmlns:a16="http://schemas.microsoft.com/office/drawing/2014/main" id="{830EFB7B-3C43-6F8B-47E7-B8FA4E1DD616}"/>
              </a:ext>
            </a:extLst>
          </p:cNvPr>
          <p:cNvSpPr/>
          <p:nvPr/>
        </p:nvSpPr>
        <p:spPr>
          <a:xfrm rot="-5400000">
            <a:off x="5384360" y="4183821"/>
            <a:ext cx="239100" cy="123600"/>
          </a:xfrm>
          <a:prstGeom prst="leftRightArrow">
            <a:avLst>
              <a:gd name="adj1" fmla="val 50000"/>
              <a:gd name="adj2" fmla="val 50000"/>
            </a:avLst>
          </a:prstGeom>
          <a:noFill/>
          <a:ln w="1905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icksand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28" name="Google Shape;225;p69">
            <a:extLst>
              <a:ext uri="{FF2B5EF4-FFF2-40B4-BE49-F238E27FC236}">
                <a16:creationId xmlns:a16="http://schemas.microsoft.com/office/drawing/2014/main" id="{FEF82429-DDFE-5CF6-ECE6-B9DF20953A6B}"/>
              </a:ext>
            </a:extLst>
          </p:cNvPr>
          <p:cNvSpPr/>
          <p:nvPr/>
        </p:nvSpPr>
        <p:spPr>
          <a:xfrm>
            <a:off x="5035733" y="2351778"/>
            <a:ext cx="387300" cy="387300"/>
          </a:xfrm>
          <a:prstGeom prst="ellipse">
            <a:avLst/>
          </a:prstGeom>
          <a:solidFill>
            <a:srgbClr val="98C21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48627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icksand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29" name="Google Shape;226;p69">
            <a:extLst>
              <a:ext uri="{FF2B5EF4-FFF2-40B4-BE49-F238E27FC236}">
                <a16:creationId xmlns:a16="http://schemas.microsoft.com/office/drawing/2014/main" id="{4E350E2F-D10A-9E80-4B3A-EC3492F1EFD7}"/>
              </a:ext>
            </a:extLst>
          </p:cNvPr>
          <p:cNvGrpSpPr/>
          <p:nvPr/>
        </p:nvGrpSpPr>
        <p:grpSpPr>
          <a:xfrm>
            <a:off x="5082466" y="2389189"/>
            <a:ext cx="292938" cy="266691"/>
            <a:chOff x="877372" y="1755551"/>
            <a:chExt cx="211829" cy="192877"/>
          </a:xfrm>
        </p:grpSpPr>
        <p:sp>
          <p:nvSpPr>
            <p:cNvPr id="30" name="Google Shape;227;p69">
              <a:extLst>
                <a:ext uri="{FF2B5EF4-FFF2-40B4-BE49-F238E27FC236}">
                  <a16:creationId xmlns:a16="http://schemas.microsoft.com/office/drawing/2014/main" id="{90AD0A93-67EC-8CFD-D39B-E392F321C717}"/>
                </a:ext>
              </a:extLst>
            </p:cNvPr>
            <p:cNvSpPr/>
            <p:nvPr/>
          </p:nvSpPr>
          <p:spPr>
            <a:xfrm>
              <a:off x="975627" y="1755551"/>
              <a:ext cx="12408" cy="29860"/>
            </a:xfrm>
            <a:custGeom>
              <a:avLst/>
              <a:gdLst/>
              <a:ahLst/>
              <a:cxnLst/>
              <a:rect l="l" t="t" r="r" b="b"/>
              <a:pathLst>
                <a:path w="406" h="977" extrusionOk="0">
                  <a:moveTo>
                    <a:pt x="215" y="0"/>
                  </a:moveTo>
                  <a:lnTo>
                    <a:pt x="120" y="24"/>
                  </a:lnTo>
                  <a:lnTo>
                    <a:pt x="1" y="119"/>
                  </a:lnTo>
                  <a:lnTo>
                    <a:pt x="1" y="214"/>
                  </a:lnTo>
                  <a:lnTo>
                    <a:pt x="1" y="786"/>
                  </a:lnTo>
                  <a:lnTo>
                    <a:pt x="1" y="857"/>
                  </a:lnTo>
                  <a:lnTo>
                    <a:pt x="120" y="977"/>
                  </a:lnTo>
                  <a:lnTo>
                    <a:pt x="215" y="977"/>
                  </a:lnTo>
                  <a:lnTo>
                    <a:pt x="287" y="977"/>
                  </a:lnTo>
                  <a:lnTo>
                    <a:pt x="406" y="857"/>
                  </a:lnTo>
                  <a:lnTo>
                    <a:pt x="406" y="786"/>
                  </a:lnTo>
                  <a:lnTo>
                    <a:pt x="406" y="214"/>
                  </a:lnTo>
                  <a:lnTo>
                    <a:pt x="406" y="119"/>
                  </a:lnTo>
                  <a:lnTo>
                    <a:pt x="287" y="24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icksand" pitchFamily="2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228;p69">
              <a:extLst>
                <a:ext uri="{FF2B5EF4-FFF2-40B4-BE49-F238E27FC236}">
                  <a16:creationId xmlns:a16="http://schemas.microsoft.com/office/drawing/2014/main" id="{8759E56E-146D-254E-707F-353451ABC98E}"/>
                </a:ext>
              </a:extLst>
            </p:cNvPr>
            <p:cNvSpPr/>
            <p:nvPr/>
          </p:nvSpPr>
          <p:spPr>
            <a:xfrm>
              <a:off x="926148" y="1779572"/>
              <a:ext cx="25489" cy="24022"/>
            </a:xfrm>
            <a:custGeom>
              <a:avLst/>
              <a:gdLst/>
              <a:ahLst/>
              <a:cxnLst/>
              <a:rect l="l" t="t" r="r" b="b"/>
              <a:pathLst>
                <a:path w="834" h="786" extrusionOk="0">
                  <a:moveTo>
                    <a:pt x="215" y="0"/>
                  </a:moveTo>
                  <a:lnTo>
                    <a:pt x="143" y="0"/>
                  </a:lnTo>
                  <a:lnTo>
                    <a:pt x="72" y="48"/>
                  </a:lnTo>
                  <a:lnTo>
                    <a:pt x="0" y="191"/>
                  </a:lnTo>
                  <a:lnTo>
                    <a:pt x="72" y="333"/>
                  </a:lnTo>
                  <a:lnTo>
                    <a:pt x="477" y="738"/>
                  </a:lnTo>
                  <a:lnTo>
                    <a:pt x="548" y="786"/>
                  </a:lnTo>
                  <a:lnTo>
                    <a:pt x="643" y="786"/>
                  </a:lnTo>
                  <a:lnTo>
                    <a:pt x="715" y="786"/>
                  </a:lnTo>
                  <a:lnTo>
                    <a:pt x="786" y="738"/>
                  </a:lnTo>
                  <a:lnTo>
                    <a:pt x="834" y="595"/>
                  </a:lnTo>
                  <a:lnTo>
                    <a:pt x="786" y="476"/>
                  </a:lnTo>
                  <a:lnTo>
                    <a:pt x="358" y="48"/>
                  </a:lnTo>
                  <a:lnTo>
                    <a:pt x="286" y="0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Quicksand" pitchFamily="2" charset="0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32" name="Google Shape;229;p69">
              <a:extLst>
                <a:ext uri="{FF2B5EF4-FFF2-40B4-BE49-F238E27FC236}">
                  <a16:creationId xmlns:a16="http://schemas.microsoft.com/office/drawing/2014/main" id="{AA036BA9-0895-84F8-C22E-9908791FFD21}"/>
                </a:ext>
              </a:extLst>
            </p:cNvPr>
            <p:cNvGrpSpPr/>
            <p:nvPr/>
          </p:nvGrpSpPr>
          <p:grpSpPr>
            <a:xfrm>
              <a:off x="877372" y="1779572"/>
              <a:ext cx="211829" cy="168856"/>
              <a:chOff x="877372" y="1779572"/>
              <a:chExt cx="211829" cy="168856"/>
            </a:xfrm>
          </p:grpSpPr>
          <p:sp>
            <p:nvSpPr>
              <p:cNvPr id="33" name="Google Shape;230;p69">
                <a:extLst>
                  <a:ext uri="{FF2B5EF4-FFF2-40B4-BE49-F238E27FC236}">
                    <a16:creationId xmlns:a16="http://schemas.microsoft.com/office/drawing/2014/main" id="{DC0EF5EC-28BE-AFC3-D305-6877AAA7112A}"/>
                  </a:ext>
                </a:extLst>
              </p:cNvPr>
              <p:cNvSpPr/>
              <p:nvPr/>
            </p:nvSpPr>
            <p:spPr>
              <a:xfrm>
                <a:off x="877372" y="1815206"/>
                <a:ext cx="211829" cy="133222"/>
              </a:xfrm>
              <a:custGeom>
                <a:avLst/>
                <a:gdLst/>
                <a:ahLst/>
                <a:cxnLst/>
                <a:rect l="l" t="t" r="r" b="b"/>
                <a:pathLst>
                  <a:path w="6931" h="4359" extrusionOk="0">
                    <a:moveTo>
                      <a:pt x="5621" y="1192"/>
                    </a:moveTo>
                    <a:lnTo>
                      <a:pt x="5621" y="2930"/>
                    </a:lnTo>
                    <a:lnTo>
                      <a:pt x="5573" y="2811"/>
                    </a:lnTo>
                    <a:lnTo>
                      <a:pt x="5502" y="2692"/>
                    </a:lnTo>
                    <a:lnTo>
                      <a:pt x="4478" y="1716"/>
                    </a:lnTo>
                    <a:lnTo>
                      <a:pt x="4288" y="1573"/>
                    </a:lnTo>
                    <a:lnTo>
                      <a:pt x="4049" y="1549"/>
                    </a:lnTo>
                    <a:lnTo>
                      <a:pt x="3454" y="1549"/>
                    </a:lnTo>
                    <a:lnTo>
                      <a:pt x="3359" y="1573"/>
                    </a:lnTo>
                    <a:lnTo>
                      <a:pt x="3263" y="1668"/>
                    </a:lnTo>
                    <a:lnTo>
                      <a:pt x="3121" y="1930"/>
                    </a:lnTo>
                    <a:lnTo>
                      <a:pt x="3025" y="2073"/>
                    </a:lnTo>
                    <a:lnTo>
                      <a:pt x="2716" y="2239"/>
                    </a:lnTo>
                    <a:lnTo>
                      <a:pt x="2549" y="2263"/>
                    </a:lnTo>
                    <a:lnTo>
                      <a:pt x="3073" y="1311"/>
                    </a:lnTo>
                    <a:lnTo>
                      <a:pt x="3144" y="1215"/>
                    </a:lnTo>
                    <a:lnTo>
                      <a:pt x="3240" y="1192"/>
                    </a:lnTo>
                    <a:close/>
                    <a:moveTo>
                      <a:pt x="763" y="1192"/>
                    </a:moveTo>
                    <a:lnTo>
                      <a:pt x="763" y="3144"/>
                    </a:lnTo>
                    <a:lnTo>
                      <a:pt x="382" y="3144"/>
                    </a:lnTo>
                    <a:lnTo>
                      <a:pt x="382" y="1192"/>
                    </a:lnTo>
                    <a:close/>
                    <a:moveTo>
                      <a:pt x="6455" y="1192"/>
                    </a:moveTo>
                    <a:lnTo>
                      <a:pt x="6455" y="3144"/>
                    </a:lnTo>
                    <a:lnTo>
                      <a:pt x="6050" y="3144"/>
                    </a:lnTo>
                    <a:lnTo>
                      <a:pt x="6050" y="1192"/>
                    </a:lnTo>
                    <a:close/>
                    <a:moveTo>
                      <a:pt x="3978" y="382"/>
                    </a:moveTo>
                    <a:lnTo>
                      <a:pt x="3906" y="525"/>
                    </a:lnTo>
                    <a:lnTo>
                      <a:pt x="3621" y="739"/>
                    </a:lnTo>
                    <a:lnTo>
                      <a:pt x="3406" y="763"/>
                    </a:lnTo>
                    <a:lnTo>
                      <a:pt x="3240" y="763"/>
                    </a:lnTo>
                    <a:lnTo>
                      <a:pt x="3073" y="787"/>
                    </a:lnTo>
                    <a:lnTo>
                      <a:pt x="2811" y="954"/>
                    </a:lnTo>
                    <a:lnTo>
                      <a:pt x="2716" y="1096"/>
                    </a:lnTo>
                    <a:lnTo>
                      <a:pt x="2073" y="2311"/>
                    </a:lnTo>
                    <a:lnTo>
                      <a:pt x="2049" y="2382"/>
                    </a:lnTo>
                    <a:lnTo>
                      <a:pt x="2073" y="2454"/>
                    </a:lnTo>
                    <a:lnTo>
                      <a:pt x="2120" y="2525"/>
                    </a:lnTo>
                    <a:lnTo>
                      <a:pt x="2192" y="2573"/>
                    </a:lnTo>
                    <a:lnTo>
                      <a:pt x="2382" y="2644"/>
                    </a:lnTo>
                    <a:lnTo>
                      <a:pt x="2597" y="2668"/>
                    </a:lnTo>
                    <a:lnTo>
                      <a:pt x="2859" y="2644"/>
                    </a:lnTo>
                    <a:lnTo>
                      <a:pt x="3335" y="2359"/>
                    </a:lnTo>
                    <a:lnTo>
                      <a:pt x="3502" y="2097"/>
                    </a:lnTo>
                    <a:lnTo>
                      <a:pt x="3573" y="1954"/>
                    </a:lnTo>
                    <a:lnTo>
                      <a:pt x="4026" y="1954"/>
                    </a:lnTo>
                    <a:lnTo>
                      <a:pt x="4097" y="1978"/>
                    </a:lnTo>
                    <a:lnTo>
                      <a:pt x="4145" y="2025"/>
                    </a:lnTo>
                    <a:lnTo>
                      <a:pt x="5145" y="3002"/>
                    </a:lnTo>
                    <a:lnTo>
                      <a:pt x="5240" y="3121"/>
                    </a:lnTo>
                    <a:lnTo>
                      <a:pt x="5216" y="3216"/>
                    </a:lnTo>
                    <a:lnTo>
                      <a:pt x="5192" y="3287"/>
                    </a:lnTo>
                    <a:lnTo>
                      <a:pt x="5097" y="3335"/>
                    </a:lnTo>
                    <a:lnTo>
                      <a:pt x="3144" y="3859"/>
                    </a:lnTo>
                    <a:lnTo>
                      <a:pt x="3097" y="3859"/>
                    </a:lnTo>
                    <a:lnTo>
                      <a:pt x="3002" y="3835"/>
                    </a:lnTo>
                    <a:lnTo>
                      <a:pt x="2954" y="3835"/>
                    </a:lnTo>
                    <a:lnTo>
                      <a:pt x="2287" y="3216"/>
                    </a:lnTo>
                    <a:lnTo>
                      <a:pt x="2239" y="3144"/>
                    </a:lnTo>
                    <a:lnTo>
                      <a:pt x="2168" y="3144"/>
                    </a:lnTo>
                    <a:lnTo>
                      <a:pt x="1168" y="3144"/>
                    </a:lnTo>
                    <a:lnTo>
                      <a:pt x="1168" y="1192"/>
                    </a:lnTo>
                    <a:lnTo>
                      <a:pt x="1525" y="1192"/>
                    </a:lnTo>
                    <a:lnTo>
                      <a:pt x="1668" y="1168"/>
                    </a:lnTo>
                    <a:lnTo>
                      <a:pt x="1954" y="977"/>
                    </a:lnTo>
                    <a:lnTo>
                      <a:pt x="2049" y="858"/>
                    </a:lnTo>
                    <a:lnTo>
                      <a:pt x="2216" y="501"/>
                    </a:lnTo>
                    <a:lnTo>
                      <a:pt x="2311" y="406"/>
                    </a:lnTo>
                    <a:lnTo>
                      <a:pt x="2406" y="382"/>
                    </a:lnTo>
                    <a:lnTo>
                      <a:pt x="3978" y="382"/>
                    </a:lnTo>
                    <a:close/>
                    <a:moveTo>
                      <a:pt x="2478" y="25"/>
                    </a:moveTo>
                    <a:lnTo>
                      <a:pt x="2287" y="25"/>
                    </a:lnTo>
                    <a:lnTo>
                      <a:pt x="2001" y="191"/>
                    </a:lnTo>
                    <a:lnTo>
                      <a:pt x="1930" y="358"/>
                    </a:lnTo>
                    <a:lnTo>
                      <a:pt x="1763" y="692"/>
                    </a:lnTo>
                    <a:lnTo>
                      <a:pt x="1668" y="787"/>
                    </a:lnTo>
                    <a:lnTo>
                      <a:pt x="1573" y="811"/>
                    </a:lnTo>
                    <a:lnTo>
                      <a:pt x="215" y="811"/>
                    </a:lnTo>
                    <a:lnTo>
                      <a:pt x="120" y="834"/>
                    </a:lnTo>
                    <a:lnTo>
                      <a:pt x="1" y="954"/>
                    </a:lnTo>
                    <a:lnTo>
                      <a:pt x="1" y="1025"/>
                    </a:lnTo>
                    <a:lnTo>
                      <a:pt x="1" y="3406"/>
                    </a:lnTo>
                    <a:lnTo>
                      <a:pt x="1" y="3502"/>
                    </a:lnTo>
                    <a:lnTo>
                      <a:pt x="120" y="3621"/>
                    </a:lnTo>
                    <a:lnTo>
                      <a:pt x="215" y="3621"/>
                    </a:lnTo>
                    <a:lnTo>
                      <a:pt x="2144" y="3621"/>
                    </a:lnTo>
                    <a:lnTo>
                      <a:pt x="2716" y="4192"/>
                    </a:lnTo>
                    <a:lnTo>
                      <a:pt x="2906" y="4335"/>
                    </a:lnTo>
                    <a:lnTo>
                      <a:pt x="3121" y="4359"/>
                    </a:lnTo>
                    <a:lnTo>
                      <a:pt x="3216" y="4359"/>
                    </a:lnTo>
                    <a:lnTo>
                      <a:pt x="3335" y="4335"/>
                    </a:lnTo>
                    <a:lnTo>
                      <a:pt x="5264" y="3764"/>
                    </a:lnTo>
                    <a:lnTo>
                      <a:pt x="5431" y="3716"/>
                    </a:lnTo>
                    <a:lnTo>
                      <a:pt x="5573" y="3597"/>
                    </a:lnTo>
                    <a:lnTo>
                      <a:pt x="6717" y="3597"/>
                    </a:lnTo>
                    <a:lnTo>
                      <a:pt x="6812" y="3573"/>
                    </a:lnTo>
                    <a:lnTo>
                      <a:pt x="6931" y="3478"/>
                    </a:lnTo>
                    <a:lnTo>
                      <a:pt x="6931" y="3383"/>
                    </a:lnTo>
                    <a:lnTo>
                      <a:pt x="6931" y="1001"/>
                    </a:lnTo>
                    <a:lnTo>
                      <a:pt x="6859" y="834"/>
                    </a:lnTo>
                    <a:lnTo>
                      <a:pt x="6693" y="787"/>
                    </a:lnTo>
                    <a:lnTo>
                      <a:pt x="4288" y="787"/>
                    </a:lnTo>
                    <a:lnTo>
                      <a:pt x="4454" y="525"/>
                    </a:lnTo>
                    <a:lnTo>
                      <a:pt x="4502" y="191"/>
                    </a:lnTo>
                    <a:lnTo>
                      <a:pt x="4478" y="120"/>
                    </a:lnTo>
                    <a:lnTo>
                      <a:pt x="4359" y="1"/>
                    </a:lnTo>
                    <a:lnTo>
                      <a:pt x="4288" y="1"/>
                    </a:lnTo>
                    <a:lnTo>
                      <a:pt x="2478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icksand" pitchFamily="2" charset="0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" name="Google Shape;231;p69">
                <a:extLst>
                  <a:ext uri="{FF2B5EF4-FFF2-40B4-BE49-F238E27FC236}">
                    <a16:creationId xmlns:a16="http://schemas.microsoft.com/office/drawing/2014/main" id="{DA8FD758-28A2-27FC-1420-0BAE3B839FF0}"/>
                  </a:ext>
                </a:extLst>
              </p:cNvPr>
              <p:cNvSpPr/>
              <p:nvPr/>
            </p:nvSpPr>
            <p:spPr>
              <a:xfrm>
                <a:off x="1012026" y="1779572"/>
                <a:ext cx="24786" cy="24022"/>
              </a:xfrm>
              <a:custGeom>
                <a:avLst/>
                <a:gdLst/>
                <a:ahLst/>
                <a:cxnLst/>
                <a:rect l="l" t="t" r="r" b="b"/>
                <a:pathLst>
                  <a:path w="811" h="786" extrusionOk="0">
                    <a:moveTo>
                      <a:pt x="620" y="0"/>
                    </a:moveTo>
                    <a:lnTo>
                      <a:pt x="548" y="0"/>
                    </a:lnTo>
                    <a:lnTo>
                      <a:pt x="477" y="48"/>
                    </a:lnTo>
                    <a:lnTo>
                      <a:pt x="48" y="476"/>
                    </a:lnTo>
                    <a:lnTo>
                      <a:pt x="1" y="595"/>
                    </a:lnTo>
                    <a:lnTo>
                      <a:pt x="48" y="738"/>
                    </a:lnTo>
                    <a:lnTo>
                      <a:pt x="120" y="786"/>
                    </a:lnTo>
                    <a:lnTo>
                      <a:pt x="167" y="786"/>
                    </a:lnTo>
                    <a:lnTo>
                      <a:pt x="263" y="786"/>
                    </a:lnTo>
                    <a:lnTo>
                      <a:pt x="334" y="738"/>
                    </a:lnTo>
                    <a:lnTo>
                      <a:pt x="739" y="333"/>
                    </a:lnTo>
                    <a:lnTo>
                      <a:pt x="810" y="191"/>
                    </a:lnTo>
                    <a:lnTo>
                      <a:pt x="739" y="48"/>
                    </a:lnTo>
                    <a:lnTo>
                      <a:pt x="691" y="0"/>
                    </a:lnTo>
                    <a:lnTo>
                      <a:pt x="62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Quicksand" pitchFamily="2" charset="0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35" name="Google Shape;232;p69">
            <a:extLst>
              <a:ext uri="{FF2B5EF4-FFF2-40B4-BE49-F238E27FC236}">
                <a16:creationId xmlns:a16="http://schemas.microsoft.com/office/drawing/2014/main" id="{11D07E19-8D3E-9336-9621-E8E95BB1A327}"/>
              </a:ext>
            </a:extLst>
          </p:cNvPr>
          <p:cNvSpPr/>
          <p:nvPr/>
        </p:nvSpPr>
        <p:spPr>
          <a:xfrm>
            <a:off x="7829259" y="4071953"/>
            <a:ext cx="347400" cy="347400"/>
          </a:xfrm>
          <a:prstGeom prst="ellipse">
            <a:avLst/>
          </a:prstGeom>
          <a:solidFill>
            <a:schemeClr val="accent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48627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icksand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36" name="Google Shape;233;p69">
            <a:extLst>
              <a:ext uri="{FF2B5EF4-FFF2-40B4-BE49-F238E27FC236}">
                <a16:creationId xmlns:a16="http://schemas.microsoft.com/office/drawing/2014/main" id="{2BCD44B0-007B-92FF-E87B-6784341D43C7}"/>
              </a:ext>
            </a:extLst>
          </p:cNvPr>
          <p:cNvSpPr/>
          <p:nvPr/>
        </p:nvSpPr>
        <p:spPr>
          <a:xfrm rot="-5400000">
            <a:off x="7883271" y="4183821"/>
            <a:ext cx="239100" cy="123600"/>
          </a:xfrm>
          <a:prstGeom prst="left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1905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icksand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102" name="Google Shape;205;p69">
            <a:extLst>
              <a:ext uri="{FF2B5EF4-FFF2-40B4-BE49-F238E27FC236}">
                <a16:creationId xmlns:a16="http://schemas.microsoft.com/office/drawing/2014/main" id="{8C10DB40-9BDE-B00F-FBF0-C5C1504178D8}"/>
              </a:ext>
            </a:extLst>
          </p:cNvPr>
          <p:cNvSpPr/>
          <p:nvPr/>
        </p:nvSpPr>
        <p:spPr>
          <a:xfrm>
            <a:off x="1186754" y="1836603"/>
            <a:ext cx="1952456" cy="3815700"/>
          </a:xfrm>
          <a:prstGeom prst="rect">
            <a:avLst/>
          </a:prstGeom>
          <a:solidFill>
            <a:srgbClr val="98C21F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lang="en-US" b="1" kern="0" dirty="0">
                <a:solidFill>
                  <a:srgbClr val="FFFFFF"/>
                </a:solidFill>
                <a:latin typeface="Quicksand" pitchFamily="2" charset="0"/>
                <a:sym typeface="Montserrat"/>
              </a:rPr>
              <a:t>Water users</a:t>
            </a:r>
            <a:endParaRPr b="1" kern="0" dirty="0">
              <a:solidFill>
                <a:srgbClr val="FFFFFF"/>
              </a:solidFill>
              <a:latin typeface="Quicksand" pitchFamily="2" charset="0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  <a:p>
            <a:pPr marL="0" marR="0" lvl="1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tabLst/>
              <a:defRPr/>
            </a:pP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Quicksand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2" name="Google Shape;225;p69">
            <a:extLst>
              <a:ext uri="{FF2B5EF4-FFF2-40B4-BE49-F238E27FC236}">
                <a16:creationId xmlns:a16="http://schemas.microsoft.com/office/drawing/2014/main" id="{913CA245-1AC6-9DA4-1085-2F56D14DD07E}"/>
              </a:ext>
            </a:extLst>
          </p:cNvPr>
          <p:cNvSpPr/>
          <p:nvPr/>
        </p:nvSpPr>
        <p:spPr>
          <a:xfrm>
            <a:off x="2978494" y="3490207"/>
            <a:ext cx="387300" cy="387300"/>
          </a:xfrm>
          <a:prstGeom prst="ellipse">
            <a:avLst/>
          </a:prstGeom>
          <a:solidFill>
            <a:srgbClr val="98C21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48627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icksand" pitchFamily="2" charset="0"/>
              <a:ea typeface="Arial"/>
              <a:cs typeface="Arial"/>
              <a:sym typeface="Arial"/>
            </a:endParaRPr>
          </a:p>
        </p:txBody>
      </p:sp>
      <p:sp>
        <p:nvSpPr>
          <p:cNvPr id="3" name="Google Shape;230;p69">
            <a:extLst>
              <a:ext uri="{FF2B5EF4-FFF2-40B4-BE49-F238E27FC236}">
                <a16:creationId xmlns:a16="http://schemas.microsoft.com/office/drawing/2014/main" id="{196C1BFA-8C15-99DF-0146-3790C58D3991}"/>
              </a:ext>
            </a:extLst>
          </p:cNvPr>
          <p:cNvSpPr/>
          <p:nvPr/>
        </p:nvSpPr>
        <p:spPr>
          <a:xfrm>
            <a:off x="3036816" y="3596649"/>
            <a:ext cx="292938" cy="184206"/>
          </a:xfrm>
          <a:custGeom>
            <a:avLst/>
            <a:gdLst/>
            <a:ahLst/>
            <a:cxnLst/>
            <a:rect l="l" t="t" r="r" b="b"/>
            <a:pathLst>
              <a:path w="6931" h="4359" extrusionOk="0">
                <a:moveTo>
                  <a:pt x="5621" y="1192"/>
                </a:moveTo>
                <a:lnTo>
                  <a:pt x="5621" y="2930"/>
                </a:lnTo>
                <a:lnTo>
                  <a:pt x="5573" y="2811"/>
                </a:lnTo>
                <a:lnTo>
                  <a:pt x="5502" y="2692"/>
                </a:lnTo>
                <a:lnTo>
                  <a:pt x="4478" y="1716"/>
                </a:lnTo>
                <a:lnTo>
                  <a:pt x="4288" y="1573"/>
                </a:lnTo>
                <a:lnTo>
                  <a:pt x="4049" y="1549"/>
                </a:lnTo>
                <a:lnTo>
                  <a:pt x="3454" y="1549"/>
                </a:lnTo>
                <a:lnTo>
                  <a:pt x="3359" y="1573"/>
                </a:lnTo>
                <a:lnTo>
                  <a:pt x="3263" y="1668"/>
                </a:lnTo>
                <a:lnTo>
                  <a:pt x="3121" y="1930"/>
                </a:lnTo>
                <a:lnTo>
                  <a:pt x="3025" y="2073"/>
                </a:lnTo>
                <a:lnTo>
                  <a:pt x="2716" y="2239"/>
                </a:lnTo>
                <a:lnTo>
                  <a:pt x="2549" y="2263"/>
                </a:lnTo>
                <a:lnTo>
                  <a:pt x="3073" y="1311"/>
                </a:lnTo>
                <a:lnTo>
                  <a:pt x="3144" y="1215"/>
                </a:lnTo>
                <a:lnTo>
                  <a:pt x="3240" y="1192"/>
                </a:lnTo>
                <a:close/>
                <a:moveTo>
                  <a:pt x="763" y="1192"/>
                </a:moveTo>
                <a:lnTo>
                  <a:pt x="763" y="3144"/>
                </a:lnTo>
                <a:lnTo>
                  <a:pt x="382" y="3144"/>
                </a:lnTo>
                <a:lnTo>
                  <a:pt x="382" y="1192"/>
                </a:lnTo>
                <a:close/>
                <a:moveTo>
                  <a:pt x="6455" y="1192"/>
                </a:moveTo>
                <a:lnTo>
                  <a:pt x="6455" y="3144"/>
                </a:lnTo>
                <a:lnTo>
                  <a:pt x="6050" y="3144"/>
                </a:lnTo>
                <a:lnTo>
                  <a:pt x="6050" y="1192"/>
                </a:lnTo>
                <a:close/>
                <a:moveTo>
                  <a:pt x="3978" y="382"/>
                </a:moveTo>
                <a:lnTo>
                  <a:pt x="3906" y="525"/>
                </a:lnTo>
                <a:lnTo>
                  <a:pt x="3621" y="739"/>
                </a:lnTo>
                <a:lnTo>
                  <a:pt x="3406" y="763"/>
                </a:lnTo>
                <a:lnTo>
                  <a:pt x="3240" y="763"/>
                </a:lnTo>
                <a:lnTo>
                  <a:pt x="3073" y="787"/>
                </a:lnTo>
                <a:lnTo>
                  <a:pt x="2811" y="954"/>
                </a:lnTo>
                <a:lnTo>
                  <a:pt x="2716" y="1096"/>
                </a:lnTo>
                <a:lnTo>
                  <a:pt x="2073" y="2311"/>
                </a:lnTo>
                <a:lnTo>
                  <a:pt x="2049" y="2382"/>
                </a:lnTo>
                <a:lnTo>
                  <a:pt x="2073" y="2454"/>
                </a:lnTo>
                <a:lnTo>
                  <a:pt x="2120" y="2525"/>
                </a:lnTo>
                <a:lnTo>
                  <a:pt x="2192" y="2573"/>
                </a:lnTo>
                <a:lnTo>
                  <a:pt x="2382" y="2644"/>
                </a:lnTo>
                <a:lnTo>
                  <a:pt x="2597" y="2668"/>
                </a:lnTo>
                <a:lnTo>
                  <a:pt x="2859" y="2644"/>
                </a:lnTo>
                <a:lnTo>
                  <a:pt x="3335" y="2359"/>
                </a:lnTo>
                <a:lnTo>
                  <a:pt x="3502" y="2097"/>
                </a:lnTo>
                <a:lnTo>
                  <a:pt x="3573" y="1954"/>
                </a:lnTo>
                <a:lnTo>
                  <a:pt x="4026" y="1954"/>
                </a:lnTo>
                <a:lnTo>
                  <a:pt x="4097" y="1978"/>
                </a:lnTo>
                <a:lnTo>
                  <a:pt x="4145" y="2025"/>
                </a:lnTo>
                <a:lnTo>
                  <a:pt x="5145" y="3002"/>
                </a:lnTo>
                <a:lnTo>
                  <a:pt x="5240" y="3121"/>
                </a:lnTo>
                <a:lnTo>
                  <a:pt x="5216" y="3216"/>
                </a:lnTo>
                <a:lnTo>
                  <a:pt x="5192" y="3287"/>
                </a:lnTo>
                <a:lnTo>
                  <a:pt x="5097" y="3335"/>
                </a:lnTo>
                <a:lnTo>
                  <a:pt x="3144" y="3859"/>
                </a:lnTo>
                <a:lnTo>
                  <a:pt x="3097" y="3859"/>
                </a:lnTo>
                <a:lnTo>
                  <a:pt x="3002" y="3835"/>
                </a:lnTo>
                <a:lnTo>
                  <a:pt x="2954" y="3835"/>
                </a:lnTo>
                <a:lnTo>
                  <a:pt x="2287" y="3216"/>
                </a:lnTo>
                <a:lnTo>
                  <a:pt x="2239" y="3144"/>
                </a:lnTo>
                <a:lnTo>
                  <a:pt x="2168" y="3144"/>
                </a:lnTo>
                <a:lnTo>
                  <a:pt x="1168" y="3144"/>
                </a:lnTo>
                <a:lnTo>
                  <a:pt x="1168" y="1192"/>
                </a:lnTo>
                <a:lnTo>
                  <a:pt x="1525" y="1192"/>
                </a:lnTo>
                <a:lnTo>
                  <a:pt x="1668" y="1168"/>
                </a:lnTo>
                <a:lnTo>
                  <a:pt x="1954" y="977"/>
                </a:lnTo>
                <a:lnTo>
                  <a:pt x="2049" y="858"/>
                </a:lnTo>
                <a:lnTo>
                  <a:pt x="2216" y="501"/>
                </a:lnTo>
                <a:lnTo>
                  <a:pt x="2311" y="406"/>
                </a:lnTo>
                <a:lnTo>
                  <a:pt x="2406" y="382"/>
                </a:lnTo>
                <a:lnTo>
                  <a:pt x="3978" y="382"/>
                </a:lnTo>
                <a:close/>
                <a:moveTo>
                  <a:pt x="2478" y="25"/>
                </a:moveTo>
                <a:lnTo>
                  <a:pt x="2287" y="25"/>
                </a:lnTo>
                <a:lnTo>
                  <a:pt x="2001" y="191"/>
                </a:lnTo>
                <a:lnTo>
                  <a:pt x="1930" y="358"/>
                </a:lnTo>
                <a:lnTo>
                  <a:pt x="1763" y="692"/>
                </a:lnTo>
                <a:lnTo>
                  <a:pt x="1668" y="787"/>
                </a:lnTo>
                <a:lnTo>
                  <a:pt x="1573" y="811"/>
                </a:lnTo>
                <a:lnTo>
                  <a:pt x="215" y="811"/>
                </a:lnTo>
                <a:lnTo>
                  <a:pt x="120" y="834"/>
                </a:lnTo>
                <a:lnTo>
                  <a:pt x="1" y="954"/>
                </a:lnTo>
                <a:lnTo>
                  <a:pt x="1" y="1025"/>
                </a:lnTo>
                <a:lnTo>
                  <a:pt x="1" y="3406"/>
                </a:lnTo>
                <a:lnTo>
                  <a:pt x="1" y="3502"/>
                </a:lnTo>
                <a:lnTo>
                  <a:pt x="120" y="3621"/>
                </a:lnTo>
                <a:lnTo>
                  <a:pt x="215" y="3621"/>
                </a:lnTo>
                <a:lnTo>
                  <a:pt x="2144" y="3621"/>
                </a:lnTo>
                <a:lnTo>
                  <a:pt x="2716" y="4192"/>
                </a:lnTo>
                <a:lnTo>
                  <a:pt x="2906" y="4335"/>
                </a:lnTo>
                <a:lnTo>
                  <a:pt x="3121" y="4359"/>
                </a:lnTo>
                <a:lnTo>
                  <a:pt x="3216" y="4359"/>
                </a:lnTo>
                <a:lnTo>
                  <a:pt x="3335" y="4335"/>
                </a:lnTo>
                <a:lnTo>
                  <a:pt x="5264" y="3764"/>
                </a:lnTo>
                <a:lnTo>
                  <a:pt x="5431" y="3716"/>
                </a:lnTo>
                <a:lnTo>
                  <a:pt x="5573" y="3597"/>
                </a:lnTo>
                <a:lnTo>
                  <a:pt x="6717" y="3597"/>
                </a:lnTo>
                <a:lnTo>
                  <a:pt x="6812" y="3573"/>
                </a:lnTo>
                <a:lnTo>
                  <a:pt x="6931" y="3478"/>
                </a:lnTo>
                <a:lnTo>
                  <a:pt x="6931" y="3383"/>
                </a:lnTo>
                <a:lnTo>
                  <a:pt x="6931" y="1001"/>
                </a:lnTo>
                <a:lnTo>
                  <a:pt x="6859" y="834"/>
                </a:lnTo>
                <a:lnTo>
                  <a:pt x="6693" y="787"/>
                </a:lnTo>
                <a:lnTo>
                  <a:pt x="4288" y="787"/>
                </a:lnTo>
                <a:lnTo>
                  <a:pt x="4454" y="525"/>
                </a:lnTo>
                <a:lnTo>
                  <a:pt x="4502" y="191"/>
                </a:lnTo>
                <a:lnTo>
                  <a:pt x="4478" y="120"/>
                </a:lnTo>
                <a:lnTo>
                  <a:pt x="4359" y="1"/>
                </a:lnTo>
                <a:lnTo>
                  <a:pt x="4288" y="1"/>
                </a:lnTo>
                <a:lnTo>
                  <a:pt x="2478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Quicksand" pitchFamily="2" charset="0"/>
              <a:ea typeface="Arial"/>
              <a:cs typeface="Arial"/>
              <a:sym typeface="Arial"/>
            </a:endParaRPr>
          </a:p>
        </p:txBody>
      </p:sp>
      <p:grpSp>
        <p:nvGrpSpPr>
          <p:cNvPr id="49" name="Google Shape;56;p13">
            <a:extLst>
              <a:ext uri="{FF2B5EF4-FFF2-40B4-BE49-F238E27FC236}">
                <a16:creationId xmlns:a16="http://schemas.microsoft.com/office/drawing/2014/main" id="{ADDEF21C-4BB6-342B-3A9B-D38AF39DA80B}"/>
              </a:ext>
            </a:extLst>
          </p:cNvPr>
          <p:cNvGrpSpPr/>
          <p:nvPr/>
        </p:nvGrpSpPr>
        <p:grpSpPr>
          <a:xfrm>
            <a:off x="1639312" y="3236416"/>
            <a:ext cx="897132" cy="894882"/>
            <a:chOff x="-57578225" y="1904075"/>
            <a:chExt cx="319025" cy="318225"/>
          </a:xfrm>
          <a:solidFill>
            <a:schemeClr val="bg1"/>
          </a:solidFill>
        </p:grpSpPr>
        <p:sp>
          <p:nvSpPr>
            <p:cNvPr id="50" name="Google Shape;57;p13">
              <a:extLst>
                <a:ext uri="{FF2B5EF4-FFF2-40B4-BE49-F238E27FC236}">
                  <a16:creationId xmlns:a16="http://schemas.microsoft.com/office/drawing/2014/main" id="{A23A6078-CD6E-7381-5F83-CFE0CB0C38A9}"/>
                </a:ext>
              </a:extLst>
            </p:cNvPr>
            <p:cNvSpPr/>
            <p:nvPr/>
          </p:nvSpPr>
          <p:spPr>
            <a:xfrm>
              <a:off x="-57578225" y="1904075"/>
              <a:ext cx="319025" cy="318225"/>
            </a:xfrm>
            <a:custGeom>
              <a:avLst/>
              <a:gdLst/>
              <a:ahLst/>
              <a:cxnLst/>
              <a:rect l="l" t="t" r="r" b="b"/>
              <a:pathLst>
                <a:path w="12761" h="12729" extrusionOk="0">
                  <a:moveTo>
                    <a:pt x="4601" y="1418"/>
                  </a:moveTo>
                  <a:cubicBezTo>
                    <a:pt x="4632" y="1702"/>
                    <a:pt x="4727" y="1922"/>
                    <a:pt x="4790" y="2206"/>
                  </a:cubicBezTo>
                  <a:cubicBezTo>
                    <a:pt x="3687" y="2962"/>
                    <a:pt x="2994" y="4254"/>
                    <a:pt x="2994" y="5640"/>
                  </a:cubicBezTo>
                  <a:lnTo>
                    <a:pt x="2994" y="5986"/>
                  </a:lnTo>
                  <a:cubicBezTo>
                    <a:pt x="2710" y="5986"/>
                    <a:pt x="2458" y="6081"/>
                    <a:pt x="2238" y="6175"/>
                  </a:cubicBezTo>
                  <a:lnTo>
                    <a:pt x="2238" y="5608"/>
                  </a:lnTo>
                  <a:cubicBezTo>
                    <a:pt x="2238" y="3876"/>
                    <a:pt x="3183" y="2300"/>
                    <a:pt x="4601" y="1418"/>
                  </a:cubicBezTo>
                  <a:close/>
                  <a:moveTo>
                    <a:pt x="7121" y="757"/>
                  </a:moveTo>
                  <a:cubicBezTo>
                    <a:pt x="9799" y="757"/>
                    <a:pt x="12004" y="2930"/>
                    <a:pt x="12004" y="5640"/>
                  </a:cubicBezTo>
                  <a:lnTo>
                    <a:pt x="12004" y="6238"/>
                  </a:lnTo>
                  <a:cubicBezTo>
                    <a:pt x="11752" y="6112"/>
                    <a:pt x="11532" y="6018"/>
                    <a:pt x="11248" y="6018"/>
                  </a:cubicBezTo>
                  <a:lnTo>
                    <a:pt x="10902" y="6018"/>
                  </a:lnTo>
                  <a:cubicBezTo>
                    <a:pt x="8098" y="6018"/>
                    <a:pt x="5703" y="3907"/>
                    <a:pt x="5325" y="1103"/>
                  </a:cubicBezTo>
                  <a:cubicBezTo>
                    <a:pt x="5861" y="883"/>
                    <a:pt x="6491" y="757"/>
                    <a:pt x="7121" y="757"/>
                  </a:cubicBezTo>
                  <a:close/>
                  <a:moveTo>
                    <a:pt x="2994" y="6742"/>
                  </a:moveTo>
                  <a:lnTo>
                    <a:pt x="2994" y="8223"/>
                  </a:lnTo>
                  <a:cubicBezTo>
                    <a:pt x="2616" y="8223"/>
                    <a:pt x="2238" y="7971"/>
                    <a:pt x="2238" y="7436"/>
                  </a:cubicBezTo>
                  <a:cubicBezTo>
                    <a:pt x="2269" y="7058"/>
                    <a:pt x="2584" y="6742"/>
                    <a:pt x="2994" y="6742"/>
                  </a:cubicBezTo>
                  <a:close/>
                  <a:moveTo>
                    <a:pt x="11248" y="6742"/>
                  </a:moveTo>
                  <a:cubicBezTo>
                    <a:pt x="11658" y="6742"/>
                    <a:pt x="12004" y="7058"/>
                    <a:pt x="12004" y="7499"/>
                  </a:cubicBezTo>
                  <a:cubicBezTo>
                    <a:pt x="12004" y="7908"/>
                    <a:pt x="11658" y="8223"/>
                    <a:pt x="11248" y="8223"/>
                  </a:cubicBezTo>
                  <a:lnTo>
                    <a:pt x="11248" y="6742"/>
                  </a:lnTo>
                  <a:close/>
                  <a:moveTo>
                    <a:pt x="1828" y="8444"/>
                  </a:moveTo>
                  <a:cubicBezTo>
                    <a:pt x="2112" y="8790"/>
                    <a:pt x="2553" y="8979"/>
                    <a:pt x="3025" y="8979"/>
                  </a:cubicBezTo>
                  <a:cubicBezTo>
                    <a:pt x="3088" y="9830"/>
                    <a:pt x="3466" y="10681"/>
                    <a:pt x="4034" y="11311"/>
                  </a:cubicBezTo>
                  <a:cubicBezTo>
                    <a:pt x="3656" y="11752"/>
                    <a:pt x="3183" y="11972"/>
                    <a:pt x="2616" y="11972"/>
                  </a:cubicBezTo>
                  <a:cubicBezTo>
                    <a:pt x="1608" y="11972"/>
                    <a:pt x="789" y="11153"/>
                    <a:pt x="789" y="10113"/>
                  </a:cubicBezTo>
                  <a:cubicBezTo>
                    <a:pt x="789" y="9420"/>
                    <a:pt x="1198" y="8759"/>
                    <a:pt x="1828" y="8444"/>
                  </a:cubicBezTo>
                  <a:close/>
                  <a:moveTo>
                    <a:pt x="5042" y="2962"/>
                  </a:moveTo>
                  <a:cubicBezTo>
                    <a:pt x="5987" y="5073"/>
                    <a:pt x="8066" y="6616"/>
                    <a:pt x="10461" y="6774"/>
                  </a:cubicBezTo>
                  <a:lnTo>
                    <a:pt x="10461" y="8664"/>
                  </a:lnTo>
                  <a:cubicBezTo>
                    <a:pt x="10492" y="10492"/>
                    <a:pt x="8980" y="11972"/>
                    <a:pt x="7121" y="11972"/>
                  </a:cubicBezTo>
                  <a:cubicBezTo>
                    <a:pt x="5262" y="11972"/>
                    <a:pt x="3719" y="10460"/>
                    <a:pt x="3719" y="8633"/>
                  </a:cubicBezTo>
                  <a:lnTo>
                    <a:pt x="3719" y="5640"/>
                  </a:lnTo>
                  <a:cubicBezTo>
                    <a:pt x="3719" y="4600"/>
                    <a:pt x="4254" y="3592"/>
                    <a:pt x="5042" y="2962"/>
                  </a:cubicBezTo>
                  <a:close/>
                  <a:moveTo>
                    <a:pt x="7121" y="0"/>
                  </a:moveTo>
                  <a:cubicBezTo>
                    <a:pt x="5577" y="0"/>
                    <a:pt x="4191" y="631"/>
                    <a:pt x="3151" y="1670"/>
                  </a:cubicBezTo>
                  <a:cubicBezTo>
                    <a:pt x="2080" y="2710"/>
                    <a:pt x="1482" y="4128"/>
                    <a:pt x="1482" y="5640"/>
                  </a:cubicBezTo>
                  <a:lnTo>
                    <a:pt x="1482" y="7751"/>
                  </a:lnTo>
                  <a:cubicBezTo>
                    <a:pt x="568" y="8192"/>
                    <a:pt x="1" y="9105"/>
                    <a:pt x="1" y="10113"/>
                  </a:cubicBezTo>
                  <a:cubicBezTo>
                    <a:pt x="1" y="11594"/>
                    <a:pt x="1167" y="12728"/>
                    <a:pt x="2584" y="12728"/>
                  </a:cubicBezTo>
                  <a:cubicBezTo>
                    <a:pt x="3340" y="12728"/>
                    <a:pt x="4034" y="12413"/>
                    <a:pt x="4569" y="11846"/>
                  </a:cubicBezTo>
                  <a:cubicBezTo>
                    <a:pt x="5262" y="12413"/>
                    <a:pt x="6176" y="12728"/>
                    <a:pt x="7121" y="12728"/>
                  </a:cubicBezTo>
                  <a:cubicBezTo>
                    <a:pt x="8224" y="12728"/>
                    <a:pt x="9232" y="12287"/>
                    <a:pt x="10020" y="11500"/>
                  </a:cubicBezTo>
                  <a:cubicBezTo>
                    <a:pt x="10744" y="10838"/>
                    <a:pt x="11122" y="9924"/>
                    <a:pt x="11217" y="8979"/>
                  </a:cubicBezTo>
                  <a:cubicBezTo>
                    <a:pt x="12036" y="8979"/>
                    <a:pt x="12697" y="8318"/>
                    <a:pt x="12697" y="7499"/>
                  </a:cubicBezTo>
                  <a:lnTo>
                    <a:pt x="12697" y="5640"/>
                  </a:lnTo>
                  <a:cubicBezTo>
                    <a:pt x="12760" y="4128"/>
                    <a:pt x="12162" y="2710"/>
                    <a:pt x="11091" y="1670"/>
                  </a:cubicBezTo>
                  <a:cubicBezTo>
                    <a:pt x="10020" y="599"/>
                    <a:pt x="8602" y="0"/>
                    <a:pt x="7121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bg1"/>
                </a:solidFill>
                <a:latin typeface="Quicksand" pitchFamily="2" charset="0"/>
              </a:endParaRPr>
            </a:p>
          </p:txBody>
        </p:sp>
        <p:sp>
          <p:nvSpPr>
            <p:cNvPr id="51" name="Google Shape;58;p13">
              <a:extLst>
                <a:ext uri="{FF2B5EF4-FFF2-40B4-BE49-F238E27FC236}">
                  <a16:creationId xmlns:a16="http://schemas.microsoft.com/office/drawing/2014/main" id="{EAFBB960-BFC9-EDD6-A664-770B3F4EA7FF}"/>
                </a:ext>
              </a:extLst>
            </p:cNvPr>
            <p:cNvSpPr/>
            <p:nvPr/>
          </p:nvSpPr>
          <p:spPr>
            <a:xfrm>
              <a:off x="-57446675" y="2073400"/>
              <a:ext cx="18125" cy="18150"/>
            </a:xfrm>
            <a:custGeom>
              <a:avLst/>
              <a:gdLst/>
              <a:ahLst/>
              <a:cxnLst/>
              <a:rect l="l" t="t" r="r" b="b"/>
              <a:pathLst>
                <a:path w="725" h="726" extrusionOk="0">
                  <a:moveTo>
                    <a:pt x="347" y="1"/>
                  </a:moveTo>
                  <a:cubicBezTo>
                    <a:pt x="158" y="1"/>
                    <a:pt x="0" y="158"/>
                    <a:pt x="0" y="348"/>
                  </a:cubicBezTo>
                  <a:cubicBezTo>
                    <a:pt x="0" y="568"/>
                    <a:pt x="158" y="726"/>
                    <a:pt x="347" y="726"/>
                  </a:cubicBezTo>
                  <a:cubicBezTo>
                    <a:pt x="567" y="726"/>
                    <a:pt x="725" y="568"/>
                    <a:pt x="725" y="348"/>
                  </a:cubicBezTo>
                  <a:cubicBezTo>
                    <a:pt x="725" y="158"/>
                    <a:pt x="567" y="1"/>
                    <a:pt x="347" y="1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bg1"/>
                </a:solidFill>
                <a:latin typeface="Quicksand" pitchFamily="2" charset="0"/>
              </a:endParaRPr>
            </a:p>
          </p:txBody>
        </p:sp>
        <p:sp>
          <p:nvSpPr>
            <p:cNvPr id="52" name="Google Shape;59;p13">
              <a:extLst>
                <a:ext uri="{FF2B5EF4-FFF2-40B4-BE49-F238E27FC236}">
                  <a16:creationId xmlns:a16="http://schemas.microsoft.com/office/drawing/2014/main" id="{C67E8C28-C740-78E7-A16D-00D7AD9E8CCE}"/>
                </a:ext>
              </a:extLst>
            </p:cNvPr>
            <p:cNvSpPr/>
            <p:nvPr/>
          </p:nvSpPr>
          <p:spPr>
            <a:xfrm>
              <a:off x="-57371850" y="2073400"/>
              <a:ext cx="18125" cy="18150"/>
            </a:xfrm>
            <a:custGeom>
              <a:avLst/>
              <a:gdLst/>
              <a:ahLst/>
              <a:cxnLst/>
              <a:rect l="l" t="t" r="r" b="b"/>
              <a:pathLst>
                <a:path w="725" h="726" extrusionOk="0">
                  <a:moveTo>
                    <a:pt x="347" y="1"/>
                  </a:moveTo>
                  <a:cubicBezTo>
                    <a:pt x="158" y="1"/>
                    <a:pt x="0" y="158"/>
                    <a:pt x="0" y="348"/>
                  </a:cubicBezTo>
                  <a:cubicBezTo>
                    <a:pt x="0" y="537"/>
                    <a:pt x="158" y="726"/>
                    <a:pt x="347" y="726"/>
                  </a:cubicBezTo>
                  <a:cubicBezTo>
                    <a:pt x="567" y="726"/>
                    <a:pt x="725" y="537"/>
                    <a:pt x="725" y="348"/>
                  </a:cubicBezTo>
                  <a:cubicBezTo>
                    <a:pt x="725" y="158"/>
                    <a:pt x="567" y="1"/>
                    <a:pt x="347" y="1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bg1"/>
                </a:solidFill>
                <a:latin typeface="Quicksand" pitchFamily="2" charset="0"/>
              </a:endParaRPr>
            </a:p>
          </p:txBody>
        </p:sp>
        <p:sp>
          <p:nvSpPr>
            <p:cNvPr id="53" name="Google Shape;60;p13">
              <a:extLst>
                <a:ext uri="{FF2B5EF4-FFF2-40B4-BE49-F238E27FC236}">
                  <a16:creationId xmlns:a16="http://schemas.microsoft.com/office/drawing/2014/main" id="{B1FF91B3-E66B-9949-17B4-F7E5BF21DEDC}"/>
                </a:ext>
              </a:extLst>
            </p:cNvPr>
            <p:cNvSpPr/>
            <p:nvPr/>
          </p:nvSpPr>
          <p:spPr>
            <a:xfrm>
              <a:off x="-57436450" y="2136625"/>
              <a:ext cx="72500" cy="29750"/>
            </a:xfrm>
            <a:custGeom>
              <a:avLst/>
              <a:gdLst/>
              <a:ahLst/>
              <a:cxnLst/>
              <a:rect l="l" t="t" r="r" b="b"/>
              <a:pathLst>
                <a:path w="2900" h="1190" extrusionOk="0">
                  <a:moveTo>
                    <a:pt x="387" y="0"/>
                  </a:moveTo>
                  <a:cubicBezTo>
                    <a:pt x="292" y="0"/>
                    <a:pt x="206" y="40"/>
                    <a:pt x="158" y="118"/>
                  </a:cubicBezTo>
                  <a:cubicBezTo>
                    <a:pt x="1" y="276"/>
                    <a:pt x="1" y="496"/>
                    <a:pt x="158" y="622"/>
                  </a:cubicBezTo>
                  <a:cubicBezTo>
                    <a:pt x="505" y="969"/>
                    <a:pt x="977" y="1190"/>
                    <a:pt x="1450" y="1190"/>
                  </a:cubicBezTo>
                  <a:cubicBezTo>
                    <a:pt x="1923" y="1190"/>
                    <a:pt x="2427" y="969"/>
                    <a:pt x="2742" y="622"/>
                  </a:cubicBezTo>
                  <a:cubicBezTo>
                    <a:pt x="2899" y="465"/>
                    <a:pt x="2899" y="244"/>
                    <a:pt x="2742" y="118"/>
                  </a:cubicBezTo>
                  <a:cubicBezTo>
                    <a:pt x="2679" y="40"/>
                    <a:pt x="2592" y="0"/>
                    <a:pt x="2502" y="0"/>
                  </a:cubicBezTo>
                  <a:cubicBezTo>
                    <a:pt x="2411" y="0"/>
                    <a:pt x="2316" y="40"/>
                    <a:pt x="2238" y="118"/>
                  </a:cubicBezTo>
                  <a:cubicBezTo>
                    <a:pt x="2049" y="307"/>
                    <a:pt x="1734" y="433"/>
                    <a:pt x="1450" y="433"/>
                  </a:cubicBezTo>
                  <a:cubicBezTo>
                    <a:pt x="1167" y="433"/>
                    <a:pt x="851" y="307"/>
                    <a:pt x="662" y="118"/>
                  </a:cubicBezTo>
                  <a:cubicBezTo>
                    <a:pt x="584" y="40"/>
                    <a:pt x="481" y="0"/>
                    <a:pt x="387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bg1"/>
                </a:solidFill>
                <a:latin typeface="Quicksand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5034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12" grpId="0" animBg="1"/>
      <p:bldP spid="13" grpId="0" animBg="1"/>
      <p:bldP spid="23" grpId="0" animBg="1"/>
      <p:bldP spid="27" grpId="0" animBg="1"/>
      <p:bldP spid="28" grpId="0" animBg="1"/>
      <p:bldP spid="35" grpId="0" animBg="1"/>
      <p:bldP spid="36" grpId="0" animBg="1"/>
      <p:bldP spid="2" grpId="0" animBg="1"/>
      <p:bldP spid="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55CC976-1571-0D17-946D-D813E83B3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AFFF"/>
                </a:solidFill>
              </a:rPr>
              <a:t>Project technologies</a:t>
            </a:r>
          </a:p>
        </p:txBody>
      </p:sp>
      <p:sp>
        <p:nvSpPr>
          <p:cNvPr id="4" name="Google Shape;495;p77">
            <a:extLst>
              <a:ext uri="{FF2B5EF4-FFF2-40B4-BE49-F238E27FC236}">
                <a16:creationId xmlns:a16="http://schemas.microsoft.com/office/drawing/2014/main" id="{6E7780A6-A2A2-4B82-84EB-E3C7B768A2DC}"/>
              </a:ext>
            </a:extLst>
          </p:cNvPr>
          <p:cNvSpPr/>
          <p:nvPr/>
        </p:nvSpPr>
        <p:spPr>
          <a:xfrm>
            <a:off x="5723325" y="1719844"/>
            <a:ext cx="4832225" cy="4160094"/>
          </a:xfrm>
          <a:prstGeom prst="rect">
            <a:avLst/>
          </a:prstGeom>
          <a:solidFill>
            <a:srgbClr val="00AFFF"/>
          </a:solidFill>
          <a:ln>
            <a:noFill/>
          </a:ln>
        </p:spPr>
        <p:txBody>
          <a:bodyPr spcFirstLastPara="1" wrap="square" lIns="38100" tIns="19050" rIns="38100" bIns="1905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  <a:buFont typeface="Arial"/>
              <a:buNone/>
            </a:pPr>
            <a:endParaRPr sz="1500" kern="0">
              <a:solidFill>
                <a:srgbClr val="FFFFFF"/>
              </a:solidFill>
              <a:latin typeface="Quicksand" pitchFamily="2" charset="0"/>
              <a:ea typeface="Lato Light"/>
              <a:cs typeface="Lato Light"/>
              <a:sym typeface="Lato Light"/>
            </a:endParaRPr>
          </a:p>
        </p:txBody>
      </p:sp>
      <p:sp>
        <p:nvSpPr>
          <p:cNvPr id="5" name="Google Shape;496;p77">
            <a:extLst>
              <a:ext uri="{FF2B5EF4-FFF2-40B4-BE49-F238E27FC236}">
                <a16:creationId xmlns:a16="http://schemas.microsoft.com/office/drawing/2014/main" id="{FE503BCA-6207-ABFE-9E98-A396B57A6CE6}"/>
              </a:ext>
            </a:extLst>
          </p:cNvPr>
          <p:cNvSpPr/>
          <p:nvPr/>
        </p:nvSpPr>
        <p:spPr>
          <a:xfrm>
            <a:off x="891251" y="1719843"/>
            <a:ext cx="4832226" cy="4160095"/>
          </a:xfrm>
          <a:prstGeom prst="rect">
            <a:avLst/>
          </a:prstGeom>
          <a:solidFill>
            <a:srgbClr val="17AFA6"/>
          </a:solidFill>
          <a:ln>
            <a:noFill/>
          </a:ln>
        </p:spPr>
        <p:txBody>
          <a:bodyPr spcFirstLastPara="1" wrap="square" lIns="38100" tIns="19050" rIns="38100" bIns="1905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  <a:buFont typeface="Arial"/>
              <a:buNone/>
            </a:pPr>
            <a:endParaRPr sz="1500" kern="0" dirty="0">
              <a:solidFill>
                <a:srgbClr val="FFFFFF"/>
              </a:solidFill>
              <a:latin typeface="Quicksand" pitchFamily="2" charset="0"/>
              <a:ea typeface="Lato Light"/>
              <a:cs typeface="Lato Light"/>
              <a:sym typeface="Lato Light"/>
            </a:endParaRPr>
          </a:p>
        </p:txBody>
      </p:sp>
      <p:sp>
        <p:nvSpPr>
          <p:cNvPr id="6" name="Google Shape;497;p77">
            <a:extLst>
              <a:ext uri="{FF2B5EF4-FFF2-40B4-BE49-F238E27FC236}">
                <a16:creationId xmlns:a16="http://schemas.microsoft.com/office/drawing/2014/main" id="{2FA8F556-C2A3-BF8F-70CD-06EC47C3B3E1}"/>
              </a:ext>
            </a:extLst>
          </p:cNvPr>
          <p:cNvSpPr txBox="1"/>
          <p:nvPr/>
        </p:nvSpPr>
        <p:spPr>
          <a:xfrm>
            <a:off x="1412929" y="2056533"/>
            <a:ext cx="3522678" cy="3168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algn="ctr">
              <a:buClr>
                <a:srgbClr val="000000"/>
              </a:buClr>
              <a:buSzPts val="2500"/>
              <a:buFont typeface="Arial"/>
              <a:buNone/>
            </a:pPr>
            <a:r>
              <a:rPr lang="en-US" sz="3200" b="1" kern="0" dirty="0">
                <a:solidFill>
                  <a:srgbClr val="FFFFFF"/>
                </a:solidFill>
                <a:latin typeface="Quicksand" pitchFamily="2" charset="0"/>
                <a:ea typeface="Montserrat"/>
                <a:cs typeface="Montserrat"/>
                <a:sym typeface="Montserrat"/>
              </a:rPr>
              <a:t>Water supply</a:t>
            </a:r>
            <a:endParaRPr sz="800" kern="0" dirty="0">
              <a:solidFill>
                <a:srgbClr val="000000"/>
              </a:solidFill>
              <a:latin typeface="Quicksand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7" name="Google Shape;498;p77">
            <a:extLst>
              <a:ext uri="{FF2B5EF4-FFF2-40B4-BE49-F238E27FC236}">
                <a16:creationId xmlns:a16="http://schemas.microsoft.com/office/drawing/2014/main" id="{83F22F4F-6E80-2C3A-6BAD-91369DD5AE07}"/>
              </a:ext>
            </a:extLst>
          </p:cNvPr>
          <p:cNvSpPr/>
          <p:nvPr/>
        </p:nvSpPr>
        <p:spPr>
          <a:xfrm>
            <a:off x="5182061" y="2373376"/>
            <a:ext cx="1088100" cy="1084200"/>
          </a:xfrm>
          <a:prstGeom prst="ellipse">
            <a:avLst/>
          </a:prstGeom>
          <a:solidFill>
            <a:srgbClr val="17AFA6"/>
          </a:solidFill>
          <a:ln>
            <a:noFill/>
          </a:ln>
        </p:spPr>
        <p:txBody>
          <a:bodyPr spcFirstLastPara="1" wrap="square" lIns="38100" tIns="19050" rIns="38100" bIns="1905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  <a:buFont typeface="Arial"/>
              <a:buNone/>
            </a:pPr>
            <a:endParaRPr sz="1500" kern="0">
              <a:solidFill>
                <a:srgbClr val="FFFFFF"/>
              </a:solidFill>
              <a:latin typeface="Quicksand" pitchFamily="2" charset="0"/>
              <a:ea typeface="Lato Light"/>
              <a:cs typeface="Lato Light"/>
              <a:sym typeface="Lato Light"/>
            </a:endParaRPr>
          </a:p>
        </p:txBody>
      </p:sp>
      <p:sp>
        <p:nvSpPr>
          <p:cNvPr id="8" name="Google Shape;499;p77">
            <a:extLst>
              <a:ext uri="{FF2B5EF4-FFF2-40B4-BE49-F238E27FC236}">
                <a16:creationId xmlns:a16="http://schemas.microsoft.com/office/drawing/2014/main" id="{71D193C9-6030-1DB8-2B27-5501E302D662}"/>
              </a:ext>
            </a:extLst>
          </p:cNvPr>
          <p:cNvSpPr/>
          <p:nvPr/>
        </p:nvSpPr>
        <p:spPr>
          <a:xfrm>
            <a:off x="5189804" y="3457563"/>
            <a:ext cx="1088100" cy="1084200"/>
          </a:xfrm>
          <a:prstGeom prst="ellipse">
            <a:avLst/>
          </a:prstGeom>
          <a:solidFill>
            <a:srgbClr val="00AFFF"/>
          </a:solidFill>
          <a:ln>
            <a:noFill/>
          </a:ln>
        </p:spPr>
        <p:txBody>
          <a:bodyPr spcFirstLastPara="1" wrap="square" lIns="38100" tIns="19050" rIns="38100" bIns="19050" anchor="ctr" anchorCtr="0">
            <a:noAutofit/>
          </a:bodyPr>
          <a:lstStyle/>
          <a:p>
            <a:pPr algn="ctr">
              <a:buClr>
                <a:srgbClr val="000000"/>
              </a:buClr>
              <a:buSzPts val="1500"/>
              <a:buFont typeface="Arial"/>
              <a:buNone/>
            </a:pPr>
            <a:endParaRPr sz="1500" kern="0">
              <a:solidFill>
                <a:srgbClr val="FFFFFF"/>
              </a:solidFill>
              <a:latin typeface="Quicksand" pitchFamily="2" charset="0"/>
              <a:ea typeface="Lato Light"/>
              <a:cs typeface="Lato Light"/>
              <a:sym typeface="Lato Light"/>
            </a:endParaRPr>
          </a:p>
        </p:txBody>
      </p:sp>
      <p:sp>
        <p:nvSpPr>
          <p:cNvPr id="11" name="Google Shape;500;p77">
            <a:extLst>
              <a:ext uri="{FF2B5EF4-FFF2-40B4-BE49-F238E27FC236}">
                <a16:creationId xmlns:a16="http://schemas.microsoft.com/office/drawing/2014/main" id="{D53E477C-6578-4F73-4880-E74F1ECD816B}"/>
              </a:ext>
            </a:extLst>
          </p:cNvPr>
          <p:cNvSpPr txBox="1"/>
          <p:nvPr/>
        </p:nvSpPr>
        <p:spPr>
          <a:xfrm>
            <a:off x="1766759" y="4879721"/>
            <a:ext cx="2988252" cy="528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FFFFFF"/>
              </a:buClr>
              <a:buSzPts val="1000"/>
              <a:buFont typeface="Arial"/>
              <a:buNone/>
            </a:pPr>
            <a:r>
              <a:rPr lang="en-US" sz="2000" kern="0" dirty="0">
                <a:solidFill>
                  <a:srgbClr val="FFFFFF"/>
                </a:solidFill>
                <a:latin typeface="Quicksand" pitchFamily="2" charset="0"/>
                <a:ea typeface="Montserrat"/>
                <a:cs typeface="Montserrat"/>
                <a:sym typeface="Montserrat"/>
              </a:rPr>
              <a:t>Rehabilitation of boreholes, installation of solar pumps…</a:t>
            </a:r>
            <a:endParaRPr sz="1200" kern="0" dirty="0">
              <a:solidFill>
                <a:srgbClr val="000000"/>
              </a:solidFill>
              <a:latin typeface="Quicksand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12" name="Google Shape;501;p77">
            <a:extLst>
              <a:ext uri="{FF2B5EF4-FFF2-40B4-BE49-F238E27FC236}">
                <a16:creationId xmlns:a16="http://schemas.microsoft.com/office/drawing/2014/main" id="{16AA8CB5-4433-2BCE-D701-16E36B720EC3}"/>
              </a:ext>
            </a:extLst>
          </p:cNvPr>
          <p:cNvSpPr txBox="1"/>
          <p:nvPr/>
        </p:nvSpPr>
        <p:spPr>
          <a:xfrm>
            <a:off x="5723325" y="2059225"/>
            <a:ext cx="4832224" cy="2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algn="ctr">
              <a:buClr>
                <a:srgbClr val="000000"/>
              </a:buClr>
              <a:buSzPts val="2500"/>
              <a:buFont typeface="Arial"/>
              <a:buNone/>
            </a:pPr>
            <a:r>
              <a:rPr lang="en-US" sz="3200" b="1" kern="0" dirty="0">
                <a:solidFill>
                  <a:srgbClr val="FFFFFF"/>
                </a:solidFill>
                <a:latin typeface="Quicksand" pitchFamily="2" charset="0"/>
                <a:ea typeface="Montserrat"/>
                <a:cs typeface="Montserrat"/>
                <a:sym typeface="Montserrat"/>
              </a:rPr>
              <a:t>Water treatment</a:t>
            </a:r>
            <a:endParaRPr sz="800" kern="0" dirty="0">
              <a:solidFill>
                <a:srgbClr val="000000"/>
              </a:solidFill>
              <a:latin typeface="Quicksand" pitchFamily="2" charset="0"/>
              <a:ea typeface="Montserrat"/>
              <a:cs typeface="Montserrat"/>
              <a:sym typeface="Montserrat"/>
            </a:endParaRPr>
          </a:p>
        </p:txBody>
      </p:sp>
      <p:sp>
        <p:nvSpPr>
          <p:cNvPr id="13" name="Google Shape;502;p77">
            <a:extLst>
              <a:ext uri="{FF2B5EF4-FFF2-40B4-BE49-F238E27FC236}">
                <a16:creationId xmlns:a16="http://schemas.microsoft.com/office/drawing/2014/main" id="{A0AFDD03-060A-69E1-53EC-27860B2FAF58}"/>
              </a:ext>
            </a:extLst>
          </p:cNvPr>
          <p:cNvSpPr txBox="1"/>
          <p:nvPr/>
        </p:nvSpPr>
        <p:spPr>
          <a:xfrm>
            <a:off x="6935206" y="4903244"/>
            <a:ext cx="2890779" cy="5047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>
              <a:buClr>
                <a:srgbClr val="FFFFFF"/>
              </a:buClr>
              <a:buSzPts val="1000"/>
              <a:buFont typeface="Arial"/>
              <a:buNone/>
            </a:pPr>
            <a:r>
              <a:rPr lang="en-US" sz="2000" kern="0" dirty="0">
                <a:solidFill>
                  <a:srgbClr val="FFFFFF"/>
                </a:solidFill>
                <a:latin typeface="Quicksand" pitchFamily="2" charset="0"/>
                <a:ea typeface="Montserrat"/>
                <a:cs typeface="Montserrat"/>
                <a:sym typeface="Montserrat"/>
              </a:rPr>
              <a:t>Filters, chlorine, UV…</a:t>
            </a:r>
            <a:endParaRPr sz="1200" kern="0" dirty="0">
              <a:solidFill>
                <a:srgbClr val="000000"/>
              </a:solidFill>
              <a:latin typeface="Quicksand" pitchFamily="2" charset="0"/>
              <a:ea typeface="Montserrat"/>
              <a:cs typeface="Montserrat"/>
              <a:sym typeface="Montserrat"/>
            </a:endParaRP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F3EC8-250A-0B3F-72B5-DCC549922B4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7875445" y="2922782"/>
            <a:ext cx="2159455" cy="130510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E8DBA86-6326-63A4-9BA3-0BFB01B2FC3E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398176" y="2852765"/>
            <a:ext cx="2168388" cy="1436205"/>
          </a:xfrm>
          <a:prstGeom prst="rect">
            <a:avLst/>
          </a:prstGeom>
        </p:spPr>
      </p:pic>
      <p:pic>
        <p:nvPicPr>
          <p:cNvPr id="22" name="Picture 21" descr="A picture containing sky, outdoor, grass, clouds&#10;&#10;Description automatically generated">
            <a:extLst>
              <a:ext uri="{FF2B5EF4-FFF2-40B4-BE49-F238E27FC236}">
                <a16:creationId xmlns:a16="http://schemas.microsoft.com/office/drawing/2014/main" id="{06F562CF-B0C5-5374-402E-0FE853EF7CD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31957" y="3070249"/>
            <a:ext cx="2105085" cy="1724656"/>
          </a:xfrm>
          <a:prstGeom prst="rect">
            <a:avLst/>
          </a:prstGeom>
        </p:spPr>
      </p:pic>
      <p:pic>
        <p:nvPicPr>
          <p:cNvPr id="14" name="Google Shape;503;p77" title="Image">
            <a:extLst>
              <a:ext uri="{FF2B5EF4-FFF2-40B4-BE49-F238E27FC236}">
                <a16:creationId xmlns:a16="http://schemas.microsoft.com/office/drawing/2014/main" id="{054CB629-FAE1-951B-28D0-80364CCA3473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200895" y="2451359"/>
            <a:ext cx="1953122" cy="15905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65070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55CC976-1571-0D17-946D-D813E83B3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AFFF"/>
                </a:solidFill>
              </a:rPr>
              <a:t>Carbon standards &amp; methodologies</a:t>
            </a:r>
          </a:p>
        </p:txBody>
      </p:sp>
      <p:pic>
        <p:nvPicPr>
          <p:cNvPr id="2050" name="Picture 2" descr="Gold Standard for the Global Goals – Standard Documents">
            <a:extLst>
              <a:ext uri="{FF2B5EF4-FFF2-40B4-BE49-F238E27FC236}">
                <a16:creationId xmlns:a16="http://schemas.microsoft.com/office/drawing/2014/main" id="{00D9E48C-BE81-5811-BF9F-586444026E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1235" y="2257307"/>
            <a:ext cx="3479029" cy="1171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2DFF67C-3A61-C265-02B7-8AB09F502A9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092" t="18370" r="42063" b="7301"/>
          <a:stretch/>
        </p:blipFill>
        <p:spPr>
          <a:xfrm>
            <a:off x="5838066" y="1955025"/>
            <a:ext cx="2889202" cy="421469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4EDB564-46F1-0C58-43BF-BA25C6EF07D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4747" t="18370" r="42677" b="8745"/>
          <a:stretch/>
        </p:blipFill>
        <p:spPr>
          <a:xfrm>
            <a:off x="8892837" y="1535117"/>
            <a:ext cx="2708691" cy="378776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2052" name="Picture 4" descr="Verra | Remote Europe">
            <a:extLst>
              <a:ext uri="{FF2B5EF4-FFF2-40B4-BE49-F238E27FC236}">
                <a16:creationId xmlns:a16="http://schemas.microsoft.com/office/drawing/2014/main" id="{DB853AE2-11BB-A8DD-9677-27125BBC98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1989" y="4636060"/>
            <a:ext cx="1253769" cy="460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A16E17B-655F-78A9-C627-6AE226D5D4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94223" y="5508200"/>
            <a:ext cx="2530364" cy="397182"/>
          </a:xfrm>
          <a:prstGeom prst="rect">
            <a:avLst/>
          </a:prstGeom>
        </p:spPr>
      </p:pic>
      <p:pic>
        <p:nvPicPr>
          <p:cNvPr id="2054" name="Picture 6" descr="Home - Global Carbon Council">
            <a:extLst>
              <a:ext uri="{FF2B5EF4-FFF2-40B4-BE49-F238E27FC236}">
                <a16:creationId xmlns:a16="http://schemas.microsoft.com/office/drawing/2014/main" id="{80371D6D-1DCE-7509-9C90-02C78CFA72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833" y="4186796"/>
            <a:ext cx="1097423" cy="1152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8">
            <a:extLst>
              <a:ext uri="{FF2B5EF4-FFF2-40B4-BE49-F238E27FC236}">
                <a16:creationId xmlns:a16="http://schemas.microsoft.com/office/drawing/2014/main" id="{08E46618-B9A4-7F64-123B-1902A202026A}"/>
              </a:ext>
            </a:extLst>
          </p:cNvPr>
          <p:cNvSpPr txBox="1">
            <a:spLocks/>
          </p:cNvSpPr>
          <p:nvPr/>
        </p:nvSpPr>
        <p:spPr>
          <a:xfrm>
            <a:off x="5335929" y="517526"/>
            <a:ext cx="6081894" cy="10175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Quicksand" pitchFamily="2" charset="0"/>
                <a:ea typeface="+mj-ea"/>
                <a:cs typeface="Quire Sans" panose="020B0502040204020203" pitchFamily="34" charset="0"/>
              </a:defRPr>
            </a:lvl1pPr>
          </a:lstStyle>
          <a:p>
            <a:endParaRPr lang="en-GB" dirty="0">
              <a:solidFill>
                <a:srgbClr val="00A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781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55CC976-1571-0D17-946D-D813E83B3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AFFF"/>
                </a:solidFill>
              </a:rPr>
              <a:t>Project technologies</a:t>
            </a:r>
          </a:p>
        </p:txBody>
      </p:sp>
      <p:graphicFrame>
        <p:nvGraphicFramePr>
          <p:cNvPr id="24" name="Google Shape;515;p8">
            <a:extLst>
              <a:ext uri="{FF2B5EF4-FFF2-40B4-BE49-F238E27FC236}">
                <a16:creationId xmlns:a16="http://schemas.microsoft.com/office/drawing/2014/main" id="{7833F8D4-1034-6B1A-1558-30445D44BA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7966598"/>
              </p:ext>
            </p:extLst>
          </p:nvPr>
        </p:nvGraphicFramePr>
        <p:xfrm>
          <a:off x="753006" y="2201613"/>
          <a:ext cx="7344150" cy="2127425"/>
        </p:xfrm>
        <a:graphic>
          <a:graphicData uri="http://schemas.openxmlformats.org/drawingml/2006/table">
            <a:tbl>
              <a:tblPr firstRow="1" bandRow="1">
                <a:noFill/>
              </a:tblPr>
              <a:tblGrid>
                <a:gridCol w="2448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80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48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649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b="1" i="0" u="none" strike="noStrike" cap="none" dirty="0">
                          <a:solidFill>
                            <a:srgbClr val="00AFFF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Technology level</a:t>
                      </a:r>
                      <a:endParaRPr sz="1400" b="1" i="0" u="none" strike="noStrike" cap="none" dirty="0">
                        <a:solidFill>
                          <a:srgbClr val="00AFFF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b="1" i="0" u="none" strike="noStrike" cap="none" dirty="0">
                          <a:solidFill>
                            <a:srgbClr val="00AFFF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Water supply</a:t>
                      </a:r>
                      <a:endParaRPr sz="1400" b="1" i="0" u="none" strike="noStrike" cap="none" dirty="0">
                        <a:solidFill>
                          <a:srgbClr val="00AFFF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b="1" i="0" u="none" strike="noStrike" cap="none" dirty="0">
                          <a:solidFill>
                            <a:srgbClr val="00AFFF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Water treatment</a:t>
                      </a:r>
                      <a:endParaRPr sz="1400" b="1" i="0" u="none" strike="noStrike" cap="none" dirty="0">
                        <a:solidFill>
                          <a:srgbClr val="00AFFF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41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b="0" i="0" u="none" strike="noStrike" cap="none" dirty="0">
                          <a:solidFill>
                            <a:schemeClr val="tx1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Household</a:t>
                      </a:r>
                      <a:endParaRPr sz="1400" b="0" i="0" u="none" strike="noStrike" cap="none" dirty="0">
                        <a:solidFill>
                          <a:schemeClr val="tx1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b="0" i="0" u="none" strike="noStrike" cap="none">
                          <a:solidFill>
                            <a:srgbClr val="FF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X</a:t>
                      </a:r>
                      <a:endParaRPr sz="1400" b="0" i="0" u="none" strike="noStrike" cap="none">
                        <a:solidFill>
                          <a:srgbClr val="FF0000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b="0" i="0" u="none" strike="noStrike" cap="none" dirty="0">
                          <a:solidFill>
                            <a:schemeClr val="tx1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HWT</a:t>
                      </a:r>
                      <a:endParaRPr sz="1400" u="none" strike="noStrike" cap="none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900" b="0" i="0" u="none" strike="noStrike" cap="none" dirty="0">
                          <a:solidFill>
                            <a:schemeClr val="tx1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HH filters, chlorine, UV</a:t>
                      </a:r>
                      <a:endParaRPr sz="900" b="0" i="0" u="none" strike="noStrike" cap="none" dirty="0">
                        <a:solidFill>
                          <a:schemeClr val="tx1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41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b="0" i="0" u="none" strike="noStrike" cap="none" dirty="0">
                          <a:solidFill>
                            <a:schemeClr val="tx1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Institutional</a:t>
                      </a:r>
                      <a:endParaRPr sz="1400" b="0" i="0" u="none" strike="noStrike" cap="none" dirty="0">
                        <a:solidFill>
                          <a:schemeClr val="tx1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b="0" i="0" u="none" strike="noStrike" cap="none" dirty="0">
                          <a:solidFill>
                            <a:srgbClr val="FF0000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X</a:t>
                      </a:r>
                      <a:endParaRPr sz="1400" b="0" i="0" u="none" strike="noStrike" cap="none" dirty="0">
                        <a:solidFill>
                          <a:srgbClr val="FF0000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b="0" i="0" u="none" strike="noStrike" cap="none" dirty="0">
                          <a:solidFill>
                            <a:schemeClr val="tx1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IWT </a:t>
                      </a:r>
                      <a:endParaRPr sz="1400" u="none" strike="noStrike" cap="none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900" b="0" i="0" u="none" strike="noStrike" cap="none" dirty="0">
                          <a:solidFill>
                            <a:schemeClr val="tx1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larger scale filters, chlorine, UV</a:t>
                      </a:r>
                      <a:endParaRPr sz="900" b="0" i="0" u="none" strike="noStrike" cap="none" dirty="0">
                        <a:solidFill>
                          <a:schemeClr val="tx1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41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b="0" i="0" u="none" strike="noStrike" cap="none" dirty="0">
                          <a:solidFill>
                            <a:schemeClr val="tx1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Community</a:t>
                      </a:r>
                      <a:endParaRPr sz="1400" b="0" i="0" u="none" strike="noStrike" cap="none" dirty="0">
                        <a:solidFill>
                          <a:schemeClr val="tx1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b="0" i="0" u="none" strike="noStrike" cap="none" dirty="0">
                          <a:solidFill>
                            <a:schemeClr val="tx1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CWS</a:t>
                      </a:r>
                      <a:endParaRPr sz="1400" b="0" i="0" u="none" strike="noStrike" cap="none" baseline="30000" dirty="0">
                        <a:solidFill>
                          <a:schemeClr val="tx1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900" b="0" i="0" u="none" strike="noStrike" cap="none" dirty="0">
                          <a:solidFill>
                            <a:schemeClr val="tx1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borehole, handpump, solar</a:t>
                      </a:r>
                      <a:endParaRPr sz="900" b="0" i="0" u="none" strike="noStrike" cap="none" dirty="0">
                        <a:solidFill>
                          <a:schemeClr val="tx1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r>
                        <a:rPr lang="en-US" sz="1400" b="0" i="0" u="none" strike="noStrike" cap="none" dirty="0">
                          <a:solidFill>
                            <a:schemeClr val="tx1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CWT</a:t>
                      </a:r>
                      <a:endParaRPr sz="1400" u="none" strike="noStrike" cap="none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00"/>
                        <a:buFont typeface="Arial"/>
                        <a:buNone/>
                      </a:pPr>
                      <a:r>
                        <a:rPr lang="en-US" sz="900" b="0" i="0" u="none" strike="noStrike" cap="none" dirty="0">
                          <a:solidFill>
                            <a:schemeClr val="tx1"/>
                          </a:solidFill>
                          <a:latin typeface="Montserrat"/>
                          <a:ea typeface="Montserrat"/>
                          <a:cs typeface="Montserrat"/>
                          <a:sym typeface="Montserrat"/>
                        </a:rPr>
                        <a:t>Filtration, chlorination, UV</a:t>
                      </a:r>
                      <a:endParaRPr sz="900" b="0" i="0" u="none" strike="noStrike" cap="none" dirty="0">
                        <a:solidFill>
                          <a:schemeClr val="tx1"/>
                        </a:solidFill>
                        <a:latin typeface="Montserrat"/>
                        <a:ea typeface="Montserrat"/>
                        <a:cs typeface="Montserrat"/>
                        <a:sym typeface="Montserrat"/>
                      </a:endParaRPr>
                    </a:p>
                  </a:txBody>
                  <a:tcPr marL="91450" marR="91450" marT="45725" marB="45725" anchor="ctr">
                    <a:lnL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509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5" name="Google Shape;516;p8" descr="Family with two children with solid fill">
            <a:extLst>
              <a:ext uri="{FF2B5EF4-FFF2-40B4-BE49-F238E27FC236}">
                <a16:creationId xmlns:a16="http://schemas.microsoft.com/office/drawing/2014/main" id="{0B11205B-8128-DD62-4E6E-00EC21820B9B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0256" y="2733421"/>
            <a:ext cx="418832" cy="418832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517;p8" descr="Schoolhouse with solid fill">
            <a:extLst>
              <a:ext uri="{FF2B5EF4-FFF2-40B4-BE49-F238E27FC236}">
                <a16:creationId xmlns:a16="http://schemas.microsoft.com/office/drawing/2014/main" id="{5C839267-833A-9ED2-09DF-63DC06F6BB91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18851" y="3247503"/>
            <a:ext cx="418832" cy="41883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Google Shape;518;p8">
            <a:extLst>
              <a:ext uri="{FF2B5EF4-FFF2-40B4-BE49-F238E27FC236}">
                <a16:creationId xmlns:a16="http://schemas.microsoft.com/office/drawing/2014/main" id="{9D575FB6-BDAD-5877-DD80-30AFB2DF80A2}"/>
              </a:ext>
            </a:extLst>
          </p:cNvPr>
          <p:cNvGrpSpPr/>
          <p:nvPr/>
        </p:nvGrpSpPr>
        <p:grpSpPr>
          <a:xfrm>
            <a:off x="1018851" y="3820030"/>
            <a:ext cx="418832" cy="509008"/>
            <a:chOff x="858730" y="2701160"/>
            <a:chExt cx="914400" cy="1042884"/>
          </a:xfrm>
        </p:grpSpPr>
        <p:pic>
          <p:nvPicPr>
            <p:cNvPr id="28" name="Google Shape;519;p8" descr="Group with solid fill">
              <a:extLst>
                <a:ext uri="{FF2B5EF4-FFF2-40B4-BE49-F238E27FC236}">
                  <a16:creationId xmlns:a16="http://schemas.microsoft.com/office/drawing/2014/main" id="{ABF9E782-3733-2C02-EDAC-F4F9CC5861D2}"/>
                </a:ext>
              </a:extLst>
            </p:cNvPr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858730" y="2829644"/>
              <a:ext cx="914400" cy="9144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9" name="Google Shape;520;p8" descr="Group of men with solid fill">
              <a:extLst>
                <a:ext uri="{FF2B5EF4-FFF2-40B4-BE49-F238E27FC236}">
                  <a16:creationId xmlns:a16="http://schemas.microsoft.com/office/drawing/2014/main" id="{126F2F22-73F5-D25D-E1CE-E4F4C2342373}"/>
                </a:ext>
              </a:extLst>
            </p:cNvPr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1017686" y="2701160"/>
              <a:ext cx="596488" cy="59648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0" name="Google Shape;526;p10">
            <a:extLst>
              <a:ext uri="{FF2B5EF4-FFF2-40B4-BE49-F238E27FC236}">
                <a16:creationId xmlns:a16="http://schemas.microsoft.com/office/drawing/2014/main" id="{E3BE95F2-13C1-AAC9-24C8-AEE492A4AA92}"/>
              </a:ext>
            </a:extLst>
          </p:cNvPr>
          <p:cNvSpPr txBox="1">
            <a:spLocks/>
          </p:cNvSpPr>
          <p:nvPr/>
        </p:nvSpPr>
        <p:spPr>
          <a:xfrm>
            <a:off x="416683" y="4560310"/>
            <a:ext cx="10052533" cy="149648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200" b="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1pPr>
            <a:lvl2pPr marL="1825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2pPr>
            <a:lvl3pPr marL="684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8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3pPr>
            <a:lvl4pPr marL="1368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4pPr>
            <a:lvl5pPr marL="2052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4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22860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ts val="1600"/>
              <a:buFont typeface="Montserrat"/>
              <a:buNone/>
            </a:pPr>
            <a:endParaRPr lang="en-US" sz="1800" dirty="0">
              <a:solidFill>
                <a:srgbClr val="9D63E3"/>
              </a:solidFill>
            </a:endParaRPr>
          </a:p>
          <a:p>
            <a:pPr marL="542925" lvl="1" indent="-157163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SzPts val="1600"/>
            </a:pPr>
            <a:r>
              <a:rPr lang="en-US" sz="1800" b="1" dirty="0">
                <a:solidFill>
                  <a:srgbClr val="9D63E3"/>
                </a:solidFill>
              </a:rPr>
              <a:t>Maximum 1 km away from end user</a:t>
            </a:r>
            <a:r>
              <a:rPr lang="en-US" sz="1800" dirty="0">
                <a:solidFill>
                  <a:srgbClr val="9D63E3"/>
                </a:solidFill>
              </a:rPr>
              <a:t>, demonstrated by satellite imaging or GPS, alternatively demonstration that </a:t>
            </a:r>
            <a:r>
              <a:rPr lang="en-US" sz="1800" b="1" dirty="0">
                <a:solidFill>
                  <a:srgbClr val="9D63E3"/>
                </a:solidFill>
              </a:rPr>
              <a:t>round trip for collection is maximum 30 minutes</a:t>
            </a:r>
          </a:p>
          <a:p>
            <a:pPr marL="542925" lvl="1" indent="-157163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SzPts val="1600"/>
            </a:pPr>
            <a:r>
              <a:rPr lang="en-US" sz="1800" b="1" dirty="0">
                <a:solidFill>
                  <a:srgbClr val="9D63E3"/>
                </a:solidFill>
              </a:rPr>
              <a:t>No fossil fuel powered pumps </a:t>
            </a:r>
            <a:r>
              <a:rPr lang="en-US" sz="1800" dirty="0">
                <a:solidFill>
                  <a:srgbClr val="9D63E3"/>
                </a:solidFill>
              </a:rPr>
              <a:t>except with backup generators &lt;10% of operating hours</a:t>
            </a:r>
          </a:p>
          <a:p>
            <a:pPr marL="542925" lvl="1" indent="-157163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SzPts val="1600"/>
            </a:pPr>
            <a:r>
              <a:rPr lang="en-US" sz="1800" dirty="0">
                <a:solidFill>
                  <a:srgbClr val="9D63E3"/>
                </a:solidFill>
              </a:rPr>
              <a:t>Project must </a:t>
            </a:r>
            <a:r>
              <a:rPr lang="en-US" sz="1800" b="1" dirty="0">
                <a:solidFill>
                  <a:srgbClr val="9D63E3"/>
                </a:solidFill>
              </a:rPr>
              <a:t>include operation &amp; maintenance</a:t>
            </a:r>
          </a:p>
        </p:txBody>
      </p:sp>
      <p:sp>
        <p:nvSpPr>
          <p:cNvPr id="2" name="Google Shape;526;p10">
            <a:extLst>
              <a:ext uri="{FF2B5EF4-FFF2-40B4-BE49-F238E27FC236}">
                <a16:creationId xmlns:a16="http://schemas.microsoft.com/office/drawing/2014/main" id="{69B1BD7E-33E0-A2F4-862E-F65FE8C89C64}"/>
              </a:ext>
            </a:extLst>
          </p:cNvPr>
          <p:cNvSpPr txBox="1">
            <a:spLocks/>
          </p:cNvSpPr>
          <p:nvPr/>
        </p:nvSpPr>
        <p:spPr>
          <a:xfrm>
            <a:off x="8164020" y="2097088"/>
            <a:ext cx="4027980" cy="122482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200" b="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1pPr>
            <a:lvl2pPr marL="1825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2pPr>
            <a:lvl3pPr marL="684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8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3pPr>
            <a:lvl4pPr marL="1368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4pPr>
            <a:lvl5pPr marL="2052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4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84200" lvl="1" indent="0">
              <a:lnSpc>
                <a:spcPct val="100000"/>
              </a:lnSpc>
              <a:spcBef>
                <a:spcPts val="0"/>
              </a:spcBef>
              <a:buSzPts val="1600"/>
              <a:buNone/>
            </a:pPr>
            <a:r>
              <a:rPr lang="en-US" sz="1800" dirty="0">
                <a:solidFill>
                  <a:srgbClr val="17AFA6"/>
                </a:solidFill>
              </a:rPr>
              <a:t>Technology should achieve </a:t>
            </a:r>
            <a:br>
              <a:rPr lang="en-US" sz="1800" dirty="0">
                <a:solidFill>
                  <a:srgbClr val="17AFA6"/>
                </a:solidFill>
              </a:rPr>
            </a:br>
            <a:r>
              <a:rPr lang="en-US" sz="1800" b="1" dirty="0">
                <a:solidFill>
                  <a:srgbClr val="17AFA6"/>
                </a:solidFill>
              </a:rPr>
              <a:t>3-star or 2-star level </a:t>
            </a:r>
            <a:r>
              <a:rPr lang="en-US" sz="1800" dirty="0">
                <a:solidFill>
                  <a:srgbClr val="17AFA6"/>
                </a:solidFill>
              </a:rPr>
              <a:t>as per WHO International Scheme to Evaluate Household Water Treatment Technologies </a:t>
            </a:r>
            <a:br>
              <a:rPr lang="en-US" sz="1800" dirty="0">
                <a:solidFill>
                  <a:srgbClr val="17AFA6"/>
                </a:solidFill>
              </a:rPr>
            </a:br>
            <a:r>
              <a:rPr lang="en-US" sz="1800" b="1" dirty="0">
                <a:solidFill>
                  <a:srgbClr val="17AFA6"/>
                </a:solidFill>
              </a:rPr>
              <a:t>or </a:t>
            </a:r>
            <a:r>
              <a:rPr lang="en-US" sz="1800" dirty="0">
                <a:solidFill>
                  <a:srgbClr val="17AFA6"/>
                </a:solidFill>
              </a:rPr>
              <a:t>comply with relevant </a:t>
            </a:r>
            <a:r>
              <a:rPr lang="en-US" sz="1800" b="1" dirty="0">
                <a:solidFill>
                  <a:srgbClr val="17AFA6"/>
                </a:solidFill>
              </a:rPr>
              <a:t>National Standards</a:t>
            </a:r>
          </a:p>
          <a:p>
            <a:pPr marL="914400" lvl="1" indent="-228600">
              <a:lnSpc>
                <a:spcPct val="100000"/>
              </a:lnSpc>
              <a:spcBef>
                <a:spcPts val="0"/>
              </a:spcBef>
              <a:buSzPts val="1600"/>
              <a:buFont typeface="Arial" panose="020B0604020202020204" pitchFamily="34" charset="0"/>
              <a:buNone/>
            </a:pPr>
            <a:endParaRPr lang="en-US" sz="1600" b="1" dirty="0">
              <a:solidFill>
                <a:srgbClr val="17AFA6"/>
              </a:solidFill>
            </a:endParaRPr>
          </a:p>
          <a:p>
            <a:pPr marL="914400" lvl="1" indent="-228600">
              <a:lnSpc>
                <a:spcPct val="100000"/>
              </a:lnSpc>
              <a:spcBef>
                <a:spcPts val="0"/>
              </a:spcBef>
              <a:buSzPts val="1600"/>
              <a:buFont typeface="Arial" panose="020B0604020202020204" pitchFamily="34" charset="0"/>
              <a:buNone/>
            </a:pPr>
            <a:endParaRPr lang="en-US" sz="1600" dirty="0">
              <a:solidFill>
                <a:srgbClr val="17AFA6"/>
              </a:solidFill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35DF0CEF-E68C-D524-7640-6EB3C35CA5E3}"/>
              </a:ext>
            </a:extLst>
          </p:cNvPr>
          <p:cNvSpPr/>
          <p:nvPr/>
        </p:nvSpPr>
        <p:spPr>
          <a:xfrm>
            <a:off x="5353750" y="2488486"/>
            <a:ext cx="3082059" cy="1354178"/>
          </a:xfrm>
          <a:prstGeom prst="ellipse">
            <a:avLst/>
          </a:prstGeom>
          <a:noFill/>
          <a:ln w="38100">
            <a:solidFill>
              <a:srgbClr val="17AF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F3EC663-64A8-274F-95D9-196BD6B5D02F}"/>
              </a:ext>
            </a:extLst>
          </p:cNvPr>
          <p:cNvSpPr/>
          <p:nvPr/>
        </p:nvSpPr>
        <p:spPr>
          <a:xfrm>
            <a:off x="2945281" y="3700950"/>
            <a:ext cx="5752388" cy="809877"/>
          </a:xfrm>
          <a:prstGeom prst="ellipse">
            <a:avLst/>
          </a:prstGeom>
          <a:noFill/>
          <a:ln w="38100">
            <a:solidFill>
              <a:srgbClr val="9D6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>
              <a:highlight>
                <a:srgbClr val="9D63E3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26734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2" grpId="0"/>
      <p:bldP spid="3" grpId="0" animBg="1"/>
      <p:bldP spid="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7BA854-A81E-6406-1FDF-C87F29D27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AFFF"/>
                </a:solidFill>
              </a:rPr>
              <a:t>Process for generating carbon credits</a:t>
            </a:r>
            <a:endParaRPr lang="en-CH" dirty="0"/>
          </a:p>
        </p:txBody>
      </p:sp>
      <p:sp>
        <p:nvSpPr>
          <p:cNvPr id="5" name="Google Shape;288;p71">
            <a:extLst>
              <a:ext uri="{FF2B5EF4-FFF2-40B4-BE49-F238E27FC236}">
                <a16:creationId xmlns:a16="http://schemas.microsoft.com/office/drawing/2014/main" id="{79AD03C1-3FBB-B63F-7B90-4A4E6A6EF940}"/>
              </a:ext>
            </a:extLst>
          </p:cNvPr>
          <p:cNvSpPr/>
          <p:nvPr/>
        </p:nvSpPr>
        <p:spPr>
          <a:xfrm>
            <a:off x="1277755" y="1447281"/>
            <a:ext cx="8904068" cy="1011448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3">
              <a:alpha val="52156"/>
            </a:schemeClr>
          </a:solidFill>
          <a:ln w="25400" cap="flat" cmpd="sng">
            <a:solidFill>
              <a:schemeClr val="accent3">
                <a:alpha val="36078"/>
              </a:scheme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50"/>
              <a:buFont typeface="Arial"/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" name="Google Shape;289;p71">
            <a:extLst>
              <a:ext uri="{FF2B5EF4-FFF2-40B4-BE49-F238E27FC236}">
                <a16:creationId xmlns:a16="http://schemas.microsoft.com/office/drawing/2014/main" id="{8BDD1B19-857A-52E1-FE5D-D535AA7B834B}"/>
              </a:ext>
            </a:extLst>
          </p:cNvPr>
          <p:cNvGrpSpPr/>
          <p:nvPr/>
        </p:nvGrpSpPr>
        <p:grpSpPr>
          <a:xfrm>
            <a:off x="1400131" y="1496600"/>
            <a:ext cx="914576" cy="887873"/>
            <a:chOff x="681789" y="3055000"/>
            <a:chExt cx="1318661" cy="1280160"/>
          </a:xfrm>
          <a:solidFill>
            <a:schemeClr val="accent2"/>
          </a:solidFill>
        </p:grpSpPr>
        <p:sp>
          <p:nvSpPr>
            <p:cNvPr id="7" name="Google Shape;290;p71">
              <a:extLst>
                <a:ext uri="{FF2B5EF4-FFF2-40B4-BE49-F238E27FC236}">
                  <a16:creationId xmlns:a16="http://schemas.microsoft.com/office/drawing/2014/main" id="{2E8BBBA6-D205-634E-8AF2-45A498244502}"/>
                </a:ext>
              </a:extLst>
            </p:cNvPr>
            <p:cNvSpPr/>
            <p:nvPr/>
          </p:nvSpPr>
          <p:spPr>
            <a:xfrm>
              <a:off x="681789" y="3055000"/>
              <a:ext cx="1318661" cy="1280160"/>
            </a:xfrm>
            <a:prstGeom prst="ellipse">
              <a:avLst/>
            </a:pr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" name="Google Shape;291;p71" descr="Clipboard with solid fill">
              <a:extLst>
                <a:ext uri="{FF2B5EF4-FFF2-40B4-BE49-F238E27FC236}">
                  <a16:creationId xmlns:a16="http://schemas.microsoft.com/office/drawing/2014/main" id="{A58EA1DA-F7F1-4388-F501-E43244E12DBC}"/>
                </a:ext>
              </a:extLst>
            </p:cNvPr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999914" y="3273719"/>
              <a:ext cx="756860" cy="756860"/>
            </a:xfrm>
            <a:prstGeom prst="rect">
              <a:avLst/>
            </a:prstGeom>
            <a:grpFill/>
            <a:ln>
              <a:noFill/>
            </a:ln>
          </p:spPr>
        </p:pic>
      </p:grpSp>
      <p:sp>
        <p:nvSpPr>
          <p:cNvPr id="9" name="Google Shape;292;p71">
            <a:extLst>
              <a:ext uri="{FF2B5EF4-FFF2-40B4-BE49-F238E27FC236}">
                <a16:creationId xmlns:a16="http://schemas.microsoft.com/office/drawing/2014/main" id="{E58C8647-57D4-CDD0-2696-4B637D9361C7}"/>
              </a:ext>
            </a:extLst>
          </p:cNvPr>
          <p:cNvSpPr txBox="1"/>
          <p:nvPr/>
        </p:nvSpPr>
        <p:spPr>
          <a:xfrm>
            <a:off x="1050099" y="2567160"/>
            <a:ext cx="1745788" cy="25704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2700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2000" b="1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Feasibility</a:t>
            </a:r>
            <a:endParaRPr sz="2000" b="1" i="0" u="none" strike="noStrike" cap="none" dirty="0">
              <a:latin typeface="Quicksand"/>
              <a:ea typeface="Montserrat"/>
              <a:cs typeface="Montserrat"/>
              <a:sym typeface="Montserrat"/>
            </a:endParaRPr>
          </a:p>
          <a:p>
            <a:pPr marL="127000" marR="0" lvl="0" indent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2000" b="1" i="0" u="none" strike="noStrike" cap="none" dirty="0">
              <a:latin typeface="Quicksand"/>
              <a:ea typeface="Montserrat"/>
              <a:cs typeface="Montserrat"/>
              <a:sym typeface="Montserrat"/>
            </a:endParaRPr>
          </a:p>
          <a:p>
            <a:pPr marL="298450" marR="0" lvl="0" indent="-171450" algn="l" rtl="0">
              <a:spcBef>
                <a:spcPts val="0"/>
              </a:spcBef>
              <a:spcAft>
                <a:spcPts val="0"/>
              </a:spcAft>
              <a:buClr>
                <a:srgbClr val="17AFA6"/>
              </a:buClr>
              <a:buSzPct val="114000"/>
              <a:buFont typeface="Arial" panose="020B0604020202020204" pitchFamily="34" charset="0"/>
              <a:buChar char="•"/>
            </a:pPr>
            <a:r>
              <a:rPr lang="en-US" sz="1600" b="0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Prefeasibility study</a:t>
            </a:r>
            <a:endParaRPr sz="2400" b="0" i="0" u="none" strike="noStrike" cap="none" dirty="0">
              <a:latin typeface="Quicksand"/>
              <a:ea typeface="Arial"/>
              <a:cs typeface="Arial"/>
              <a:sym typeface="Arial"/>
            </a:endParaRPr>
          </a:p>
          <a:p>
            <a:pPr marL="298450" marR="0" lvl="0" indent="-171450" algn="l" rtl="0">
              <a:spcBef>
                <a:spcPts val="0"/>
              </a:spcBef>
              <a:spcAft>
                <a:spcPts val="0"/>
              </a:spcAft>
              <a:buClr>
                <a:srgbClr val="17AFA6"/>
              </a:buClr>
              <a:buSzPct val="114000"/>
              <a:buFont typeface="Arial" panose="020B0604020202020204" pitchFamily="34" charset="0"/>
              <a:buChar char="•"/>
            </a:pPr>
            <a:r>
              <a:rPr lang="en-US" sz="1600" b="0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Stakeholder consultation</a:t>
            </a:r>
            <a:endParaRPr lang="en-US" sz="2400" dirty="0">
              <a:latin typeface="Quicksand"/>
              <a:ea typeface="Montserrat"/>
              <a:cs typeface="Arial"/>
              <a:sym typeface="Arial"/>
            </a:endParaRPr>
          </a:p>
          <a:p>
            <a:pPr marL="298450" marR="0" lvl="0" indent="-171450" algn="l" rtl="0">
              <a:spcBef>
                <a:spcPts val="0"/>
              </a:spcBef>
              <a:spcAft>
                <a:spcPts val="0"/>
              </a:spcAft>
              <a:buClr>
                <a:srgbClr val="17AFA6"/>
              </a:buClr>
              <a:buSzPct val="114000"/>
              <a:buFont typeface="Arial" panose="020B0604020202020204" pitchFamily="34" charset="0"/>
              <a:buChar char="•"/>
            </a:pPr>
            <a:r>
              <a:rPr lang="en-US" sz="1600" b="0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Business plan</a:t>
            </a:r>
            <a:endParaRPr sz="2400" b="0" i="0" u="none" strike="noStrike" cap="none" dirty="0">
              <a:latin typeface="Quicksand"/>
              <a:ea typeface="Arial"/>
              <a:cs typeface="Arial"/>
              <a:sym typeface="Arial"/>
            </a:endParaRPr>
          </a:p>
          <a:p>
            <a:pPr marL="298450" marR="0" lvl="0" indent="-171450" algn="l" rtl="0">
              <a:spcBef>
                <a:spcPts val="0"/>
              </a:spcBef>
              <a:spcAft>
                <a:spcPts val="0"/>
              </a:spcAft>
              <a:buClr>
                <a:srgbClr val="17AFA6"/>
              </a:buClr>
              <a:buSzPct val="114000"/>
              <a:buFont typeface="Arial" panose="020B0604020202020204" pitchFamily="34" charset="0"/>
              <a:buChar char="•"/>
            </a:pPr>
            <a:r>
              <a:rPr lang="en-US" sz="1600" b="0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Project design document (PDD)</a:t>
            </a:r>
            <a:endParaRPr sz="2400" b="0" i="0" u="none" strike="noStrike" cap="none" dirty="0">
              <a:latin typeface="Quicksand"/>
              <a:ea typeface="Arial"/>
              <a:cs typeface="Arial"/>
              <a:sym typeface="Arial"/>
            </a:endParaRPr>
          </a:p>
          <a:p>
            <a:pPr marL="298450" marR="0" lvl="0" indent="-171450" algn="l" rtl="0">
              <a:spcBef>
                <a:spcPts val="0"/>
              </a:spcBef>
              <a:spcAft>
                <a:spcPts val="0"/>
              </a:spcAft>
              <a:buClr>
                <a:srgbClr val="17AFA6"/>
              </a:buClr>
              <a:buSzPct val="114000"/>
              <a:buFont typeface="Arial" panose="020B0604020202020204" pitchFamily="34" charset="0"/>
              <a:buChar char="•"/>
            </a:pPr>
            <a:r>
              <a:rPr lang="en-US" sz="1600" b="0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Monitoring plan</a:t>
            </a:r>
            <a:endParaRPr sz="2400" b="0" i="0" u="none" strike="noStrike" cap="none" dirty="0">
              <a:latin typeface="Quicksand"/>
              <a:ea typeface="Arial"/>
              <a:cs typeface="Arial"/>
              <a:sym typeface="Arial"/>
            </a:endParaRPr>
          </a:p>
          <a:p>
            <a:pPr marL="457200" marR="0" lvl="0" indent="-22860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Montserrat"/>
              <a:buNone/>
            </a:pPr>
            <a:endParaRPr sz="2000" b="0" i="0" u="none" strike="noStrike" cap="none" dirty="0">
              <a:solidFill>
                <a:srgbClr val="000000"/>
              </a:solidFill>
              <a:latin typeface="Quicksand"/>
              <a:ea typeface="Arial"/>
              <a:cs typeface="Arial"/>
              <a:sym typeface="Arial"/>
            </a:endParaRPr>
          </a:p>
        </p:txBody>
      </p:sp>
      <p:sp>
        <p:nvSpPr>
          <p:cNvPr id="10" name="Google Shape;293;p71">
            <a:extLst>
              <a:ext uri="{FF2B5EF4-FFF2-40B4-BE49-F238E27FC236}">
                <a16:creationId xmlns:a16="http://schemas.microsoft.com/office/drawing/2014/main" id="{A73BF20F-7C97-31A0-F8CB-EED562452AD6}"/>
              </a:ext>
            </a:extLst>
          </p:cNvPr>
          <p:cNvSpPr txBox="1"/>
          <p:nvPr/>
        </p:nvSpPr>
        <p:spPr>
          <a:xfrm>
            <a:off x="2812897" y="2567160"/>
            <a:ext cx="1878373" cy="30435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27000" marR="0" lvl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</a:pPr>
            <a:r>
              <a:rPr lang="en-US" sz="2000" b="1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Validation/</a:t>
            </a:r>
            <a:endParaRPr sz="2000" b="0" i="0" u="none" strike="noStrike" cap="none" dirty="0">
              <a:latin typeface="Quicksand"/>
              <a:ea typeface="Arial"/>
              <a:cs typeface="Arial"/>
              <a:sym typeface="Arial"/>
            </a:endParaRPr>
          </a:p>
          <a:p>
            <a:pPr marL="127000" marR="0" lvl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</a:pPr>
            <a:r>
              <a:rPr lang="en-US" sz="2000" b="1" dirty="0">
                <a:latin typeface="Quicksand"/>
                <a:ea typeface="Montserrat"/>
                <a:cs typeface="Montserrat"/>
                <a:sym typeface="Montserrat"/>
              </a:rPr>
              <a:t>r</a:t>
            </a:r>
            <a:r>
              <a:rPr lang="en-US" sz="2000" b="1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egistration</a:t>
            </a:r>
            <a:endParaRPr sz="1200" b="1" i="0" u="none" strike="noStrike" cap="none" dirty="0">
              <a:latin typeface="Quicksand"/>
              <a:ea typeface="Montserrat"/>
              <a:cs typeface="Montserrat"/>
              <a:sym typeface="Montserrat"/>
            </a:endParaRPr>
          </a:p>
          <a:p>
            <a:pPr marL="298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Char char="•"/>
            </a:pPr>
            <a:r>
              <a:rPr lang="en-US" sz="1600" b="0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Ex-ante impacts of the project are validated by external entity</a:t>
            </a:r>
            <a:endParaRPr sz="2400" b="0" i="0" u="none" strike="noStrike" cap="none" dirty="0">
              <a:latin typeface="Quicksand"/>
              <a:ea typeface="Arial"/>
              <a:cs typeface="Arial"/>
              <a:sym typeface="Arial"/>
            </a:endParaRPr>
          </a:p>
          <a:p>
            <a:pPr marL="298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Char char="•"/>
            </a:pPr>
            <a:r>
              <a:rPr lang="en-US" sz="1600" b="0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Carbon project listed in public registries of carbon standard</a:t>
            </a:r>
            <a:endParaRPr sz="1600" b="0" i="0" u="none" strike="noStrike" cap="none" dirty="0">
              <a:latin typeface="Quicksand"/>
              <a:ea typeface="Montserrat"/>
              <a:cs typeface="Montserrat"/>
              <a:sym typeface="Montserrat"/>
            </a:endParaRPr>
          </a:p>
        </p:txBody>
      </p:sp>
      <p:grpSp>
        <p:nvGrpSpPr>
          <p:cNvPr id="11" name="Google Shape;294;p71">
            <a:extLst>
              <a:ext uri="{FF2B5EF4-FFF2-40B4-BE49-F238E27FC236}">
                <a16:creationId xmlns:a16="http://schemas.microsoft.com/office/drawing/2014/main" id="{B124CB3D-B25C-8CC2-7D95-98E120BECFEF}"/>
              </a:ext>
            </a:extLst>
          </p:cNvPr>
          <p:cNvGrpSpPr/>
          <p:nvPr/>
        </p:nvGrpSpPr>
        <p:grpSpPr>
          <a:xfrm>
            <a:off x="3169770" y="1496598"/>
            <a:ext cx="914576" cy="887874"/>
            <a:chOff x="2089739" y="1061260"/>
            <a:chExt cx="914576" cy="887874"/>
          </a:xfrm>
        </p:grpSpPr>
        <p:sp>
          <p:nvSpPr>
            <p:cNvPr id="12" name="Google Shape;295;p71">
              <a:extLst>
                <a:ext uri="{FF2B5EF4-FFF2-40B4-BE49-F238E27FC236}">
                  <a16:creationId xmlns:a16="http://schemas.microsoft.com/office/drawing/2014/main" id="{A7826AD5-29C4-4DEB-EEE3-8558D92E12DB}"/>
                </a:ext>
              </a:extLst>
            </p:cNvPr>
            <p:cNvSpPr/>
            <p:nvPr/>
          </p:nvSpPr>
          <p:spPr>
            <a:xfrm>
              <a:off x="2089739" y="1061260"/>
              <a:ext cx="914576" cy="887874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3" name="Google Shape;296;p71">
              <a:extLst>
                <a:ext uri="{FF2B5EF4-FFF2-40B4-BE49-F238E27FC236}">
                  <a16:creationId xmlns:a16="http://schemas.microsoft.com/office/drawing/2014/main" id="{23670EA1-C060-1163-3B80-0F14E513E600}"/>
                </a:ext>
              </a:extLst>
            </p:cNvPr>
            <p:cNvGrpSpPr/>
            <p:nvPr/>
          </p:nvGrpSpPr>
          <p:grpSpPr>
            <a:xfrm>
              <a:off x="2303362" y="1242731"/>
              <a:ext cx="537359" cy="524931"/>
              <a:chOff x="6787079" y="554258"/>
              <a:chExt cx="383541" cy="370708"/>
            </a:xfrm>
          </p:grpSpPr>
          <p:sp>
            <p:nvSpPr>
              <p:cNvPr id="14" name="Google Shape;297;p71">
                <a:extLst>
                  <a:ext uri="{FF2B5EF4-FFF2-40B4-BE49-F238E27FC236}">
                    <a16:creationId xmlns:a16="http://schemas.microsoft.com/office/drawing/2014/main" id="{042FF8B1-7294-FFAE-0CD9-ABC278EF36CC}"/>
                  </a:ext>
                </a:extLst>
              </p:cNvPr>
              <p:cNvSpPr/>
              <p:nvPr/>
            </p:nvSpPr>
            <p:spPr>
              <a:xfrm>
                <a:off x="6787079" y="554258"/>
                <a:ext cx="383541" cy="370708"/>
              </a:xfrm>
              <a:custGeom>
                <a:avLst/>
                <a:gdLst/>
                <a:ahLst/>
                <a:cxnLst/>
                <a:rect l="l" t="t" r="r" b="b"/>
                <a:pathLst>
                  <a:path w="11878" h="11806" extrusionOk="0">
                    <a:moveTo>
                      <a:pt x="6018" y="765"/>
                    </a:moveTo>
                    <a:lnTo>
                      <a:pt x="6868" y="1426"/>
                    </a:lnTo>
                    <a:cubicBezTo>
                      <a:pt x="6963" y="1458"/>
                      <a:pt x="7026" y="1489"/>
                      <a:pt x="7152" y="1489"/>
                    </a:cubicBezTo>
                    <a:lnTo>
                      <a:pt x="8223" y="1332"/>
                    </a:lnTo>
                    <a:lnTo>
                      <a:pt x="8664" y="2372"/>
                    </a:lnTo>
                    <a:cubicBezTo>
                      <a:pt x="8696" y="2435"/>
                      <a:pt x="8790" y="2529"/>
                      <a:pt x="8853" y="2561"/>
                    </a:cubicBezTo>
                    <a:lnTo>
                      <a:pt x="9893" y="2970"/>
                    </a:lnTo>
                    <a:lnTo>
                      <a:pt x="9735" y="4073"/>
                    </a:lnTo>
                    <a:cubicBezTo>
                      <a:pt x="9735" y="4136"/>
                      <a:pt x="9735" y="4262"/>
                      <a:pt x="9798" y="4325"/>
                    </a:cubicBezTo>
                    <a:lnTo>
                      <a:pt x="10460" y="5207"/>
                    </a:lnTo>
                    <a:lnTo>
                      <a:pt x="9798" y="6058"/>
                    </a:lnTo>
                    <a:cubicBezTo>
                      <a:pt x="9767" y="6152"/>
                      <a:pt x="9735" y="6215"/>
                      <a:pt x="9735" y="6341"/>
                    </a:cubicBezTo>
                    <a:lnTo>
                      <a:pt x="9893" y="7444"/>
                    </a:lnTo>
                    <a:lnTo>
                      <a:pt x="8853" y="7853"/>
                    </a:lnTo>
                    <a:cubicBezTo>
                      <a:pt x="8790" y="7885"/>
                      <a:pt x="8696" y="7948"/>
                      <a:pt x="8664" y="8042"/>
                    </a:cubicBezTo>
                    <a:lnTo>
                      <a:pt x="8255" y="9051"/>
                    </a:lnTo>
                    <a:lnTo>
                      <a:pt x="7120" y="8893"/>
                    </a:lnTo>
                    <a:cubicBezTo>
                      <a:pt x="7057" y="8893"/>
                      <a:pt x="6931" y="8893"/>
                      <a:pt x="6837" y="8988"/>
                    </a:cubicBezTo>
                    <a:lnTo>
                      <a:pt x="5986" y="9649"/>
                    </a:lnTo>
                    <a:lnTo>
                      <a:pt x="5104" y="8988"/>
                    </a:lnTo>
                    <a:cubicBezTo>
                      <a:pt x="5041" y="8925"/>
                      <a:pt x="5010" y="8893"/>
                      <a:pt x="4915" y="8893"/>
                    </a:cubicBezTo>
                    <a:lnTo>
                      <a:pt x="4884" y="8893"/>
                    </a:lnTo>
                    <a:lnTo>
                      <a:pt x="3781" y="9051"/>
                    </a:lnTo>
                    <a:lnTo>
                      <a:pt x="3371" y="8042"/>
                    </a:lnTo>
                    <a:cubicBezTo>
                      <a:pt x="3340" y="7948"/>
                      <a:pt x="3277" y="7885"/>
                      <a:pt x="3182" y="7853"/>
                    </a:cubicBezTo>
                    <a:lnTo>
                      <a:pt x="2143" y="7444"/>
                    </a:lnTo>
                    <a:lnTo>
                      <a:pt x="2300" y="6341"/>
                    </a:lnTo>
                    <a:cubicBezTo>
                      <a:pt x="2300" y="6278"/>
                      <a:pt x="2300" y="6152"/>
                      <a:pt x="2237" y="6058"/>
                    </a:cubicBezTo>
                    <a:lnTo>
                      <a:pt x="1576" y="5207"/>
                    </a:lnTo>
                    <a:lnTo>
                      <a:pt x="2237" y="4325"/>
                    </a:lnTo>
                    <a:cubicBezTo>
                      <a:pt x="2269" y="4262"/>
                      <a:pt x="2300" y="4167"/>
                      <a:pt x="2300" y="4073"/>
                    </a:cubicBezTo>
                    <a:lnTo>
                      <a:pt x="2143" y="2970"/>
                    </a:lnTo>
                    <a:lnTo>
                      <a:pt x="3182" y="2561"/>
                    </a:lnTo>
                    <a:cubicBezTo>
                      <a:pt x="3277" y="2529"/>
                      <a:pt x="3340" y="2435"/>
                      <a:pt x="3371" y="2372"/>
                    </a:cubicBezTo>
                    <a:lnTo>
                      <a:pt x="3812" y="1332"/>
                    </a:lnTo>
                    <a:lnTo>
                      <a:pt x="4884" y="1489"/>
                    </a:lnTo>
                    <a:cubicBezTo>
                      <a:pt x="4947" y="1489"/>
                      <a:pt x="5073" y="1489"/>
                      <a:pt x="5167" y="1426"/>
                    </a:cubicBezTo>
                    <a:lnTo>
                      <a:pt x="6018" y="765"/>
                    </a:lnTo>
                    <a:close/>
                    <a:moveTo>
                      <a:pt x="2174" y="8168"/>
                    </a:moveTo>
                    <a:lnTo>
                      <a:pt x="2804" y="8420"/>
                    </a:lnTo>
                    <a:lnTo>
                      <a:pt x="3277" y="9586"/>
                    </a:lnTo>
                    <a:cubicBezTo>
                      <a:pt x="3308" y="9681"/>
                      <a:pt x="3434" y="9775"/>
                      <a:pt x="3529" y="9775"/>
                    </a:cubicBezTo>
                    <a:lnTo>
                      <a:pt x="2647" y="10720"/>
                    </a:lnTo>
                    <a:lnTo>
                      <a:pt x="2426" y="9649"/>
                    </a:lnTo>
                    <a:cubicBezTo>
                      <a:pt x="2395" y="9523"/>
                      <a:pt x="2332" y="9429"/>
                      <a:pt x="2174" y="9366"/>
                    </a:cubicBezTo>
                    <a:lnTo>
                      <a:pt x="1134" y="9177"/>
                    </a:lnTo>
                    <a:lnTo>
                      <a:pt x="2174" y="8168"/>
                    </a:lnTo>
                    <a:close/>
                    <a:moveTo>
                      <a:pt x="9861" y="8105"/>
                    </a:moveTo>
                    <a:lnTo>
                      <a:pt x="10901" y="9145"/>
                    </a:lnTo>
                    <a:lnTo>
                      <a:pt x="9893" y="9366"/>
                    </a:lnTo>
                    <a:cubicBezTo>
                      <a:pt x="9767" y="9429"/>
                      <a:pt x="9641" y="9492"/>
                      <a:pt x="9609" y="9649"/>
                    </a:cubicBezTo>
                    <a:lnTo>
                      <a:pt x="9389" y="10720"/>
                    </a:lnTo>
                    <a:lnTo>
                      <a:pt x="8507" y="9712"/>
                    </a:lnTo>
                    <a:cubicBezTo>
                      <a:pt x="8601" y="9712"/>
                      <a:pt x="8727" y="9649"/>
                      <a:pt x="8759" y="9523"/>
                    </a:cubicBezTo>
                    <a:lnTo>
                      <a:pt x="9231" y="8389"/>
                    </a:lnTo>
                    <a:lnTo>
                      <a:pt x="9861" y="8105"/>
                    </a:lnTo>
                    <a:close/>
                    <a:moveTo>
                      <a:pt x="6002" y="1"/>
                    </a:moveTo>
                    <a:cubicBezTo>
                      <a:pt x="5923" y="1"/>
                      <a:pt x="5844" y="24"/>
                      <a:pt x="5797" y="72"/>
                    </a:cubicBezTo>
                    <a:lnTo>
                      <a:pt x="4852" y="828"/>
                    </a:lnTo>
                    <a:lnTo>
                      <a:pt x="3623" y="670"/>
                    </a:lnTo>
                    <a:cubicBezTo>
                      <a:pt x="3607" y="667"/>
                      <a:pt x="3590" y="665"/>
                      <a:pt x="3573" y="665"/>
                    </a:cubicBezTo>
                    <a:cubicBezTo>
                      <a:pt x="3434" y="665"/>
                      <a:pt x="3305" y="775"/>
                      <a:pt x="3277" y="859"/>
                    </a:cubicBezTo>
                    <a:lnTo>
                      <a:pt x="2804" y="2025"/>
                    </a:lnTo>
                    <a:lnTo>
                      <a:pt x="1639" y="2498"/>
                    </a:lnTo>
                    <a:cubicBezTo>
                      <a:pt x="1481" y="2561"/>
                      <a:pt x="1418" y="2687"/>
                      <a:pt x="1450" y="2844"/>
                    </a:cubicBezTo>
                    <a:lnTo>
                      <a:pt x="1607" y="4073"/>
                    </a:lnTo>
                    <a:lnTo>
                      <a:pt x="851" y="5018"/>
                    </a:lnTo>
                    <a:cubicBezTo>
                      <a:pt x="788" y="5112"/>
                      <a:pt x="788" y="5333"/>
                      <a:pt x="851" y="5428"/>
                    </a:cubicBezTo>
                    <a:lnTo>
                      <a:pt x="1607" y="6373"/>
                    </a:lnTo>
                    <a:lnTo>
                      <a:pt x="1450" y="7601"/>
                    </a:lnTo>
                    <a:cubicBezTo>
                      <a:pt x="1450" y="7696"/>
                      <a:pt x="1450" y="7759"/>
                      <a:pt x="1481" y="7853"/>
                    </a:cubicBezTo>
                    <a:lnTo>
                      <a:pt x="189" y="9145"/>
                    </a:lnTo>
                    <a:cubicBezTo>
                      <a:pt x="0" y="9334"/>
                      <a:pt x="126" y="9649"/>
                      <a:pt x="347" y="9744"/>
                    </a:cubicBezTo>
                    <a:lnTo>
                      <a:pt x="1765" y="10059"/>
                    </a:lnTo>
                    <a:lnTo>
                      <a:pt x="2080" y="11539"/>
                    </a:lnTo>
                    <a:cubicBezTo>
                      <a:pt x="2099" y="11714"/>
                      <a:pt x="2250" y="11805"/>
                      <a:pt x="2407" y="11805"/>
                    </a:cubicBezTo>
                    <a:cubicBezTo>
                      <a:pt x="2505" y="11805"/>
                      <a:pt x="2606" y="11770"/>
                      <a:pt x="2678" y="11697"/>
                    </a:cubicBezTo>
                    <a:cubicBezTo>
                      <a:pt x="4410" y="9858"/>
                      <a:pt x="4587" y="9665"/>
                      <a:pt x="4601" y="9649"/>
                    </a:cubicBezTo>
                    <a:lnTo>
                      <a:pt x="4601" y="9649"/>
                    </a:lnTo>
                    <a:lnTo>
                      <a:pt x="4789" y="9618"/>
                    </a:lnTo>
                    <a:lnTo>
                      <a:pt x="5734" y="10374"/>
                    </a:lnTo>
                    <a:cubicBezTo>
                      <a:pt x="5829" y="10405"/>
                      <a:pt x="5860" y="10437"/>
                      <a:pt x="5955" y="10437"/>
                    </a:cubicBezTo>
                    <a:cubicBezTo>
                      <a:pt x="6018" y="10437"/>
                      <a:pt x="6112" y="10405"/>
                      <a:pt x="6144" y="10374"/>
                    </a:cubicBezTo>
                    <a:lnTo>
                      <a:pt x="7089" y="9618"/>
                    </a:lnTo>
                    <a:lnTo>
                      <a:pt x="7278" y="9649"/>
                    </a:lnTo>
                    <a:lnTo>
                      <a:pt x="9200" y="11697"/>
                    </a:lnTo>
                    <a:cubicBezTo>
                      <a:pt x="9284" y="11770"/>
                      <a:pt x="9388" y="11805"/>
                      <a:pt x="9485" y="11805"/>
                    </a:cubicBezTo>
                    <a:cubicBezTo>
                      <a:pt x="9640" y="11805"/>
                      <a:pt x="9779" y="11714"/>
                      <a:pt x="9798" y="11539"/>
                    </a:cubicBezTo>
                    <a:lnTo>
                      <a:pt x="10113" y="10059"/>
                    </a:lnTo>
                    <a:lnTo>
                      <a:pt x="11531" y="9744"/>
                    </a:lnTo>
                    <a:cubicBezTo>
                      <a:pt x="11815" y="9681"/>
                      <a:pt x="11878" y="9334"/>
                      <a:pt x="11689" y="9145"/>
                    </a:cubicBezTo>
                    <a:lnTo>
                      <a:pt x="10523" y="7853"/>
                    </a:lnTo>
                    <a:cubicBezTo>
                      <a:pt x="10554" y="7759"/>
                      <a:pt x="10586" y="7696"/>
                      <a:pt x="10554" y="7601"/>
                    </a:cubicBezTo>
                    <a:lnTo>
                      <a:pt x="10397" y="6373"/>
                    </a:lnTo>
                    <a:lnTo>
                      <a:pt x="11153" y="5428"/>
                    </a:lnTo>
                    <a:cubicBezTo>
                      <a:pt x="11216" y="5333"/>
                      <a:pt x="11216" y="5112"/>
                      <a:pt x="11153" y="5018"/>
                    </a:cubicBezTo>
                    <a:lnTo>
                      <a:pt x="10397" y="4073"/>
                    </a:lnTo>
                    <a:lnTo>
                      <a:pt x="10554" y="2844"/>
                    </a:lnTo>
                    <a:cubicBezTo>
                      <a:pt x="10586" y="2687"/>
                      <a:pt x="10460" y="2529"/>
                      <a:pt x="10365" y="2498"/>
                    </a:cubicBezTo>
                    <a:lnTo>
                      <a:pt x="9200" y="2025"/>
                    </a:lnTo>
                    <a:lnTo>
                      <a:pt x="8727" y="859"/>
                    </a:lnTo>
                    <a:cubicBezTo>
                      <a:pt x="8675" y="728"/>
                      <a:pt x="8578" y="662"/>
                      <a:pt x="8457" y="662"/>
                    </a:cubicBezTo>
                    <a:cubicBezTo>
                      <a:pt x="8432" y="662"/>
                      <a:pt x="8407" y="665"/>
                      <a:pt x="8381" y="670"/>
                    </a:cubicBezTo>
                    <a:lnTo>
                      <a:pt x="7152" y="828"/>
                    </a:lnTo>
                    <a:lnTo>
                      <a:pt x="6207" y="72"/>
                    </a:lnTo>
                    <a:cubicBezTo>
                      <a:pt x="6160" y="24"/>
                      <a:pt x="6081" y="1"/>
                      <a:pt x="6002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grpSp>
            <p:nvGrpSpPr>
              <p:cNvPr id="15" name="Google Shape;298;p71">
                <a:extLst>
                  <a:ext uri="{FF2B5EF4-FFF2-40B4-BE49-F238E27FC236}">
                    <a16:creationId xmlns:a16="http://schemas.microsoft.com/office/drawing/2014/main" id="{ED9041C7-390C-4FF1-0A39-6D036FDD0D41}"/>
                  </a:ext>
                </a:extLst>
              </p:cNvPr>
              <p:cNvGrpSpPr/>
              <p:nvPr/>
            </p:nvGrpSpPr>
            <p:grpSpPr>
              <a:xfrm>
                <a:off x="6873580" y="615314"/>
                <a:ext cx="210548" cy="210489"/>
                <a:chOff x="7820106" y="962355"/>
                <a:chExt cx="293692" cy="293692"/>
              </a:xfrm>
            </p:grpSpPr>
            <p:sp>
              <p:nvSpPr>
                <p:cNvPr id="16" name="Google Shape;299;p71">
                  <a:extLst>
                    <a:ext uri="{FF2B5EF4-FFF2-40B4-BE49-F238E27FC236}">
                      <a16:creationId xmlns:a16="http://schemas.microsoft.com/office/drawing/2014/main" id="{3546DA82-13DF-4DF6-A5A8-6A60EE5974F6}"/>
                    </a:ext>
                  </a:extLst>
                </p:cNvPr>
                <p:cNvSpPr/>
                <p:nvPr/>
              </p:nvSpPr>
              <p:spPr>
                <a:xfrm>
                  <a:off x="7820106" y="962355"/>
                  <a:ext cx="293692" cy="2936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325" h="19325" extrusionOk="0">
                      <a:moveTo>
                        <a:pt x="9662" y="1133"/>
                      </a:moveTo>
                      <a:cubicBezTo>
                        <a:pt x="11824" y="1133"/>
                        <a:pt x="13983" y="1975"/>
                        <a:pt x="15668" y="3657"/>
                      </a:cubicBezTo>
                      <a:cubicBezTo>
                        <a:pt x="19035" y="7027"/>
                        <a:pt x="19035" y="12302"/>
                        <a:pt x="15668" y="15668"/>
                      </a:cubicBezTo>
                      <a:cubicBezTo>
                        <a:pt x="13983" y="17352"/>
                        <a:pt x="11822" y="18193"/>
                        <a:pt x="9661" y="18193"/>
                      </a:cubicBezTo>
                      <a:cubicBezTo>
                        <a:pt x="7500" y="18193"/>
                        <a:pt x="5340" y="17352"/>
                        <a:pt x="3657" y="15668"/>
                      </a:cubicBezTo>
                      <a:cubicBezTo>
                        <a:pt x="290" y="12302"/>
                        <a:pt x="290" y="7024"/>
                        <a:pt x="3657" y="3657"/>
                      </a:cubicBezTo>
                      <a:cubicBezTo>
                        <a:pt x="5342" y="1975"/>
                        <a:pt x="7500" y="1133"/>
                        <a:pt x="9662" y="1133"/>
                      </a:cubicBezTo>
                      <a:close/>
                      <a:moveTo>
                        <a:pt x="9662" y="1"/>
                      </a:moveTo>
                      <a:cubicBezTo>
                        <a:pt x="7117" y="1"/>
                        <a:pt x="4698" y="1015"/>
                        <a:pt x="2857" y="2857"/>
                      </a:cubicBezTo>
                      <a:cubicBezTo>
                        <a:pt x="1015" y="4699"/>
                        <a:pt x="0" y="7117"/>
                        <a:pt x="0" y="9663"/>
                      </a:cubicBezTo>
                      <a:cubicBezTo>
                        <a:pt x="0" y="12208"/>
                        <a:pt x="1015" y="14627"/>
                        <a:pt x="2857" y="16469"/>
                      </a:cubicBezTo>
                      <a:cubicBezTo>
                        <a:pt x="4698" y="18310"/>
                        <a:pt x="7117" y="19325"/>
                        <a:pt x="9662" y="19325"/>
                      </a:cubicBezTo>
                      <a:cubicBezTo>
                        <a:pt x="12208" y="19325"/>
                        <a:pt x="14626" y="18310"/>
                        <a:pt x="16468" y="16469"/>
                      </a:cubicBezTo>
                      <a:cubicBezTo>
                        <a:pt x="18310" y="14627"/>
                        <a:pt x="19325" y="12208"/>
                        <a:pt x="19325" y="9663"/>
                      </a:cubicBezTo>
                      <a:cubicBezTo>
                        <a:pt x="19325" y="7117"/>
                        <a:pt x="18310" y="4699"/>
                        <a:pt x="16468" y="2857"/>
                      </a:cubicBezTo>
                      <a:cubicBezTo>
                        <a:pt x="14626" y="1015"/>
                        <a:pt x="12208" y="1"/>
                        <a:pt x="9662" y="1"/>
                      </a:cubicBez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68575" tIns="68575" rIns="68575" bIns="68575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100"/>
                    <a:buFont typeface="Arial"/>
                    <a:buNone/>
                  </a:pPr>
                  <a:endParaRPr sz="1100" b="0" i="0" u="none" strike="noStrike" cap="none">
                    <a:solidFill>
                      <a:srgbClr val="435D74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  <p:sp>
              <p:nvSpPr>
                <p:cNvPr id="17" name="Google Shape;300;p71">
                  <a:extLst>
                    <a:ext uri="{FF2B5EF4-FFF2-40B4-BE49-F238E27FC236}">
                      <a16:creationId xmlns:a16="http://schemas.microsoft.com/office/drawing/2014/main" id="{0F064E7A-5480-C6EB-8C9F-213A9CE7A44D}"/>
                    </a:ext>
                  </a:extLst>
                </p:cNvPr>
                <p:cNvSpPr/>
                <p:nvPr/>
              </p:nvSpPr>
              <p:spPr>
                <a:xfrm>
                  <a:off x="7890257" y="1053661"/>
                  <a:ext cx="152188" cy="1110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14" h="7309" extrusionOk="0">
                      <a:moveTo>
                        <a:pt x="8149" y="1134"/>
                      </a:moveTo>
                      <a:cubicBezTo>
                        <a:pt x="8294" y="1134"/>
                        <a:pt x="8439" y="1189"/>
                        <a:pt x="8549" y="1300"/>
                      </a:cubicBezTo>
                      <a:cubicBezTo>
                        <a:pt x="8769" y="1520"/>
                        <a:pt x="8769" y="1879"/>
                        <a:pt x="8549" y="2100"/>
                      </a:cubicBezTo>
                      <a:lnTo>
                        <a:pt x="4639" y="6007"/>
                      </a:lnTo>
                      <a:cubicBezTo>
                        <a:pt x="4527" y="6120"/>
                        <a:pt x="4377" y="6177"/>
                        <a:pt x="4227" y="6177"/>
                      </a:cubicBezTo>
                      <a:cubicBezTo>
                        <a:pt x="4081" y="6177"/>
                        <a:pt x="3937" y="6123"/>
                        <a:pt x="3830" y="6016"/>
                      </a:cubicBezTo>
                      <a:lnTo>
                        <a:pt x="1547" y="3748"/>
                      </a:lnTo>
                      <a:cubicBezTo>
                        <a:pt x="1296" y="3534"/>
                        <a:pt x="1281" y="3151"/>
                        <a:pt x="1514" y="2918"/>
                      </a:cubicBezTo>
                      <a:cubicBezTo>
                        <a:pt x="1626" y="2806"/>
                        <a:pt x="1771" y="2750"/>
                        <a:pt x="1916" y="2750"/>
                      </a:cubicBezTo>
                      <a:cubicBezTo>
                        <a:pt x="2074" y="2750"/>
                        <a:pt x="2232" y="2817"/>
                        <a:pt x="2344" y="2948"/>
                      </a:cubicBezTo>
                      <a:lnTo>
                        <a:pt x="3784" y="4388"/>
                      </a:lnTo>
                      <a:cubicBezTo>
                        <a:pt x="3793" y="4401"/>
                        <a:pt x="3805" y="4410"/>
                        <a:pt x="3817" y="4419"/>
                      </a:cubicBezTo>
                      <a:cubicBezTo>
                        <a:pt x="3817" y="4422"/>
                        <a:pt x="3820" y="4422"/>
                        <a:pt x="3823" y="4425"/>
                      </a:cubicBezTo>
                      <a:cubicBezTo>
                        <a:pt x="3934" y="4535"/>
                        <a:pt x="4078" y="4590"/>
                        <a:pt x="4222" y="4590"/>
                      </a:cubicBezTo>
                      <a:cubicBezTo>
                        <a:pt x="4367" y="4590"/>
                        <a:pt x="4512" y="4535"/>
                        <a:pt x="4624" y="4425"/>
                      </a:cubicBezTo>
                      <a:lnTo>
                        <a:pt x="7749" y="1300"/>
                      </a:lnTo>
                      <a:cubicBezTo>
                        <a:pt x="7859" y="1189"/>
                        <a:pt x="8004" y="1134"/>
                        <a:pt x="8149" y="1134"/>
                      </a:cubicBezTo>
                      <a:close/>
                      <a:moveTo>
                        <a:pt x="8146" y="1"/>
                      </a:moveTo>
                      <a:cubicBezTo>
                        <a:pt x="7712" y="1"/>
                        <a:pt x="7279" y="166"/>
                        <a:pt x="6949" y="496"/>
                      </a:cubicBezTo>
                      <a:lnTo>
                        <a:pt x="6946" y="496"/>
                      </a:lnTo>
                      <a:lnTo>
                        <a:pt x="4219" y="3223"/>
                      </a:lnTo>
                      <a:lnTo>
                        <a:pt x="3144" y="2148"/>
                      </a:lnTo>
                      <a:cubicBezTo>
                        <a:pt x="2808" y="1779"/>
                        <a:pt x="2348" y="1594"/>
                        <a:pt x="1887" y="1594"/>
                      </a:cubicBezTo>
                      <a:cubicBezTo>
                        <a:pt x="1453" y="1594"/>
                        <a:pt x="1019" y="1758"/>
                        <a:pt x="686" y="2091"/>
                      </a:cubicBezTo>
                      <a:cubicBezTo>
                        <a:pt x="1" y="2776"/>
                        <a:pt x="28" y="3896"/>
                        <a:pt x="747" y="4549"/>
                      </a:cubicBezTo>
                      <a:lnTo>
                        <a:pt x="3029" y="6819"/>
                      </a:lnTo>
                      <a:cubicBezTo>
                        <a:pt x="3344" y="7131"/>
                        <a:pt x="3768" y="7308"/>
                        <a:pt x="4214" y="7308"/>
                      </a:cubicBezTo>
                      <a:cubicBezTo>
                        <a:pt x="4218" y="7308"/>
                        <a:pt x="4221" y="7308"/>
                        <a:pt x="4225" y="7308"/>
                      </a:cubicBezTo>
                      <a:cubicBezTo>
                        <a:pt x="4678" y="7308"/>
                        <a:pt x="5116" y="7127"/>
                        <a:pt x="5439" y="6807"/>
                      </a:cubicBezTo>
                      <a:lnTo>
                        <a:pt x="9349" y="2900"/>
                      </a:lnTo>
                      <a:cubicBezTo>
                        <a:pt x="10013" y="2236"/>
                        <a:pt x="10013" y="1161"/>
                        <a:pt x="9349" y="499"/>
                      </a:cubicBezTo>
                      <a:cubicBezTo>
                        <a:pt x="9017" y="167"/>
                        <a:pt x="8581" y="1"/>
                        <a:pt x="8146" y="1"/>
                      </a:cubicBezTo>
                      <a:close/>
                    </a:path>
                  </a:pathLst>
                </a:custGeom>
                <a:solidFill>
                  <a:schemeClr val="lt1"/>
                </a:solidFill>
                <a:ln>
                  <a:noFill/>
                </a:ln>
              </p:spPr>
              <p:txBody>
                <a:bodyPr spcFirstLastPara="1" wrap="square" lIns="68575" tIns="68575" rIns="68575" bIns="68575" anchor="ctr" anchorCtr="0">
                  <a:noAutofit/>
                </a:bodyPr>
                <a:lstStyle/>
                <a:p>
                  <a:pPr marL="0" marR="0" lvl="0" indent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100"/>
                    <a:buFont typeface="Arial"/>
                    <a:buNone/>
                  </a:pPr>
                  <a:endParaRPr sz="1100" b="0" i="0" u="none" strike="noStrike" cap="none">
                    <a:solidFill>
                      <a:srgbClr val="435D74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</p:grpSp>
      </p:grpSp>
      <p:grpSp>
        <p:nvGrpSpPr>
          <p:cNvPr id="18" name="Google Shape;301;p71">
            <a:extLst>
              <a:ext uri="{FF2B5EF4-FFF2-40B4-BE49-F238E27FC236}">
                <a16:creationId xmlns:a16="http://schemas.microsoft.com/office/drawing/2014/main" id="{CFD6BCCA-289C-22B8-E828-AF557285767E}"/>
              </a:ext>
            </a:extLst>
          </p:cNvPr>
          <p:cNvGrpSpPr/>
          <p:nvPr/>
        </p:nvGrpSpPr>
        <p:grpSpPr>
          <a:xfrm>
            <a:off x="6881322" y="1496598"/>
            <a:ext cx="914576" cy="887874"/>
            <a:chOff x="5088903" y="1090756"/>
            <a:chExt cx="914576" cy="887874"/>
          </a:xfrm>
        </p:grpSpPr>
        <p:sp>
          <p:nvSpPr>
            <p:cNvPr id="19" name="Google Shape;302;p71">
              <a:extLst>
                <a:ext uri="{FF2B5EF4-FFF2-40B4-BE49-F238E27FC236}">
                  <a16:creationId xmlns:a16="http://schemas.microsoft.com/office/drawing/2014/main" id="{75E17A4A-36C2-673B-43E2-C461FAB16FC9}"/>
                </a:ext>
              </a:extLst>
            </p:cNvPr>
            <p:cNvSpPr/>
            <p:nvPr/>
          </p:nvSpPr>
          <p:spPr>
            <a:xfrm>
              <a:off x="5088903" y="1090756"/>
              <a:ext cx="914576" cy="887874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20" name="Google Shape;303;p71">
              <a:extLst>
                <a:ext uri="{FF2B5EF4-FFF2-40B4-BE49-F238E27FC236}">
                  <a16:creationId xmlns:a16="http://schemas.microsoft.com/office/drawing/2014/main" id="{3707D37F-2005-2FCA-56BC-52B3D1A46245}"/>
                </a:ext>
              </a:extLst>
            </p:cNvPr>
            <p:cNvGrpSpPr/>
            <p:nvPr/>
          </p:nvGrpSpPr>
          <p:grpSpPr>
            <a:xfrm>
              <a:off x="5324117" y="1271577"/>
              <a:ext cx="449183" cy="478125"/>
              <a:chOff x="-47529700" y="2342000"/>
              <a:chExt cx="302450" cy="299900"/>
            </a:xfrm>
          </p:grpSpPr>
          <p:sp>
            <p:nvSpPr>
              <p:cNvPr id="21" name="Google Shape;304;p71">
                <a:extLst>
                  <a:ext uri="{FF2B5EF4-FFF2-40B4-BE49-F238E27FC236}">
                    <a16:creationId xmlns:a16="http://schemas.microsoft.com/office/drawing/2014/main" id="{6318A24B-767F-7A80-3A33-AFE8C96F805E}"/>
                  </a:ext>
                </a:extLst>
              </p:cNvPr>
              <p:cNvSpPr/>
              <p:nvPr/>
            </p:nvSpPr>
            <p:spPr>
              <a:xfrm>
                <a:off x="-47529700" y="2342000"/>
                <a:ext cx="302450" cy="299900"/>
              </a:xfrm>
              <a:custGeom>
                <a:avLst/>
                <a:gdLst/>
                <a:ahLst/>
                <a:cxnLst/>
                <a:rect l="l" t="t" r="r" b="b"/>
                <a:pathLst>
                  <a:path w="12098" h="11996" extrusionOk="0">
                    <a:moveTo>
                      <a:pt x="7530" y="725"/>
                    </a:moveTo>
                    <a:cubicBezTo>
                      <a:pt x="9672" y="725"/>
                      <a:pt x="11405" y="2457"/>
                      <a:pt x="11405" y="4568"/>
                    </a:cubicBezTo>
                    <a:cubicBezTo>
                      <a:pt x="11405" y="6711"/>
                      <a:pt x="9672" y="8443"/>
                      <a:pt x="7530" y="8443"/>
                    </a:cubicBezTo>
                    <a:cubicBezTo>
                      <a:pt x="5419" y="8443"/>
                      <a:pt x="3686" y="6711"/>
                      <a:pt x="3686" y="4568"/>
                    </a:cubicBezTo>
                    <a:cubicBezTo>
                      <a:pt x="3686" y="2457"/>
                      <a:pt x="5419" y="725"/>
                      <a:pt x="7530" y="725"/>
                    </a:cubicBezTo>
                    <a:close/>
                    <a:moveTo>
                      <a:pt x="4064" y="7530"/>
                    </a:moveTo>
                    <a:cubicBezTo>
                      <a:pt x="4222" y="7719"/>
                      <a:pt x="4379" y="7876"/>
                      <a:pt x="4568" y="8034"/>
                    </a:cubicBezTo>
                    <a:lnTo>
                      <a:pt x="3686" y="8947"/>
                    </a:lnTo>
                    <a:lnTo>
                      <a:pt x="3151" y="8443"/>
                    </a:lnTo>
                    <a:lnTo>
                      <a:pt x="4064" y="7530"/>
                    </a:lnTo>
                    <a:close/>
                    <a:moveTo>
                      <a:pt x="2647" y="8916"/>
                    </a:moveTo>
                    <a:lnTo>
                      <a:pt x="3151" y="9420"/>
                    </a:lnTo>
                    <a:lnTo>
                      <a:pt x="1386" y="11184"/>
                    </a:lnTo>
                    <a:cubicBezTo>
                      <a:pt x="1323" y="11247"/>
                      <a:pt x="1237" y="11279"/>
                      <a:pt x="1146" y="11279"/>
                    </a:cubicBezTo>
                    <a:cubicBezTo>
                      <a:pt x="1056" y="11279"/>
                      <a:pt x="961" y="11247"/>
                      <a:pt x="882" y="11184"/>
                    </a:cubicBezTo>
                    <a:cubicBezTo>
                      <a:pt x="756" y="11090"/>
                      <a:pt x="756" y="10838"/>
                      <a:pt x="882" y="10680"/>
                    </a:cubicBezTo>
                    <a:lnTo>
                      <a:pt x="2647" y="8916"/>
                    </a:lnTo>
                    <a:close/>
                    <a:moveTo>
                      <a:pt x="7530" y="0"/>
                    </a:moveTo>
                    <a:cubicBezTo>
                      <a:pt x="5009" y="0"/>
                      <a:pt x="2962" y="2048"/>
                      <a:pt x="2962" y="4568"/>
                    </a:cubicBezTo>
                    <a:cubicBezTo>
                      <a:pt x="2962" y="5450"/>
                      <a:pt x="3214" y="6270"/>
                      <a:pt x="3623" y="6963"/>
                    </a:cubicBezTo>
                    <a:lnTo>
                      <a:pt x="410" y="10208"/>
                    </a:lnTo>
                    <a:cubicBezTo>
                      <a:pt x="0" y="10586"/>
                      <a:pt x="0" y="11279"/>
                      <a:pt x="410" y="11688"/>
                    </a:cubicBezTo>
                    <a:cubicBezTo>
                      <a:pt x="599" y="11893"/>
                      <a:pt x="867" y="11996"/>
                      <a:pt x="1138" y="11996"/>
                    </a:cubicBezTo>
                    <a:cubicBezTo>
                      <a:pt x="1410" y="11996"/>
                      <a:pt x="1686" y="11893"/>
                      <a:pt x="1890" y="11688"/>
                    </a:cubicBezTo>
                    <a:lnTo>
                      <a:pt x="5135" y="8475"/>
                    </a:lnTo>
                    <a:cubicBezTo>
                      <a:pt x="5829" y="8916"/>
                      <a:pt x="6679" y="9137"/>
                      <a:pt x="7530" y="9137"/>
                    </a:cubicBezTo>
                    <a:cubicBezTo>
                      <a:pt x="10050" y="9137"/>
                      <a:pt x="12098" y="7089"/>
                      <a:pt x="12098" y="4568"/>
                    </a:cubicBezTo>
                    <a:cubicBezTo>
                      <a:pt x="12098" y="2048"/>
                      <a:pt x="10050" y="0"/>
                      <a:pt x="7530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" name="Google Shape;305;p71">
                <a:extLst>
                  <a:ext uri="{FF2B5EF4-FFF2-40B4-BE49-F238E27FC236}">
                    <a16:creationId xmlns:a16="http://schemas.microsoft.com/office/drawing/2014/main" id="{28488BF1-02F3-BAA6-77FE-525B0C0C3C1F}"/>
                  </a:ext>
                </a:extLst>
              </p:cNvPr>
              <p:cNvSpPr/>
              <p:nvPr/>
            </p:nvSpPr>
            <p:spPr>
              <a:xfrm>
                <a:off x="-47404475" y="2395550"/>
                <a:ext cx="124475" cy="123675"/>
              </a:xfrm>
              <a:custGeom>
                <a:avLst/>
                <a:gdLst/>
                <a:ahLst/>
                <a:cxnLst/>
                <a:rect l="l" t="t" r="r" b="b"/>
                <a:pathLst>
                  <a:path w="4979" h="4947" extrusionOk="0">
                    <a:moveTo>
                      <a:pt x="2804" y="2080"/>
                    </a:moveTo>
                    <a:cubicBezTo>
                      <a:pt x="2678" y="2395"/>
                      <a:pt x="2458" y="2647"/>
                      <a:pt x="2174" y="2710"/>
                    </a:cubicBezTo>
                    <a:lnTo>
                      <a:pt x="2174" y="2080"/>
                    </a:lnTo>
                    <a:close/>
                    <a:moveTo>
                      <a:pt x="1828" y="694"/>
                    </a:moveTo>
                    <a:cubicBezTo>
                      <a:pt x="2300" y="694"/>
                      <a:pt x="2678" y="977"/>
                      <a:pt x="2804" y="1418"/>
                    </a:cubicBezTo>
                    <a:lnTo>
                      <a:pt x="1828" y="1418"/>
                    </a:lnTo>
                    <a:cubicBezTo>
                      <a:pt x="1607" y="1418"/>
                      <a:pt x="1481" y="1576"/>
                      <a:pt x="1481" y="1765"/>
                    </a:cubicBezTo>
                    <a:lnTo>
                      <a:pt x="1481" y="2741"/>
                    </a:lnTo>
                    <a:cubicBezTo>
                      <a:pt x="1072" y="2584"/>
                      <a:pt x="757" y="2206"/>
                      <a:pt x="757" y="1765"/>
                    </a:cubicBezTo>
                    <a:cubicBezTo>
                      <a:pt x="757" y="1166"/>
                      <a:pt x="1229" y="694"/>
                      <a:pt x="1828" y="694"/>
                    </a:cubicBezTo>
                    <a:close/>
                    <a:moveTo>
                      <a:pt x="4254" y="2080"/>
                    </a:moveTo>
                    <a:lnTo>
                      <a:pt x="4254" y="4222"/>
                    </a:lnTo>
                    <a:lnTo>
                      <a:pt x="2143" y="4222"/>
                    </a:lnTo>
                    <a:lnTo>
                      <a:pt x="2143" y="3466"/>
                    </a:lnTo>
                    <a:cubicBezTo>
                      <a:pt x="2804" y="3308"/>
                      <a:pt x="3371" y="2804"/>
                      <a:pt x="3498" y="2080"/>
                    </a:cubicBezTo>
                    <a:close/>
                    <a:moveTo>
                      <a:pt x="1796" y="0"/>
                    </a:moveTo>
                    <a:cubicBezTo>
                      <a:pt x="788" y="0"/>
                      <a:pt x="0" y="788"/>
                      <a:pt x="0" y="1765"/>
                    </a:cubicBezTo>
                    <a:cubicBezTo>
                      <a:pt x="0" y="2615"/>
                      <a:pt x="599" y="3340"/>
                      <a:pt x="1418" y="3497"/>
                    </a:cubicBezTo>
                    <a:lnTo>
                      <a:pt x="1418" y="4600"/>
                    </a:lnTo>
                    <a:cubicBezTo>
                      <a:pt x="1418" y="4789"/>
                      <a:pt x="1576" y="4947"/>
                      <a:pt x="1796" y="4947"/>
                    </a:cubicBezTo>
                    <a:lnTo>
                      <a:pt x="4569" y="4947"/>
                    </a:lnTo>
                    <a:cubicBezTo>
                      <a:pt x="4789" y="4947"/>
                      <a:pt x="4947" y="4789"/>
                      <a:pt x="4947" y="4600"/>
                    </a:cubicBezTo>
                    <a:lnTo>
                      <a:pt x="4947" y="1796"/>
                    </a:lnTo>
                    <a:cubicBezTo>
                      <a:pt x="4978" y="1576"/>
                      <a:pt x="4821" y="1418"/>
                      <a:pt x="4632" y="1418"/>
                    </a:cubicBezTo>
                    <a:lnTo>
                      <a:pt x="3498" y="1418"/>
                    </a:lnTo>
                    <a:cubicBezTo>
                      <a:pt x="3371" y="631"/>
                      <a:pt x="2647" y="0"/>
                      <a:pt x="1796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23" name="Google Shape;306;p71">
            <a:extLst>
              <a:ext uri="{FF2B5EF4-FFF2-40B4-BE49-F238E27FC236}">
                <a16:creationId xmlns:a16="http://schemas.microsoft.com/office/drawing/2014/main" id="{9779A929-F2C7-F67F-FA19-DE52D071261D}"/>
              </a:ext>
            </a:extLst>
          </p:cNvPr>
          <p:cNvSpPr txBox="1"/>
          <p:nvPr/>
        </p:nvSpPr>
        <p:spPr>
          <a:xfrm>
            <a:off x="6590727" y="2633420"/>
            <a:ext cx="1558644" cy="2291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27000" marR="0" lvl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</a:pPr>
            <a:r>
              <a:rPr lang="en-US" sz="2000" b="1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Verification</a:t>
            </a:r>
            <a:endParaRPr sz="2000" b="0" i="0" u="none" strike="noStrike" cap="none" dirty="0">
              <a:latin typeface="Quicksand"/>
              <a:ea typeface="Arial"/>
              <a:cs typeface="Arial"/>
              <a:sym typeface="Arial"/>
            </a:endParaRPr>
          </a:p>
          <a:p>
            <a:pPr marL="412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Char char="•"/>
            </a:pPr>
            <a:endParaRPr sz="1600" b="1" i="0" u="none" strike="noStrike" cap="none" dirty="0">
              <a:latin typeface="Quicksand"/>
              <a:ea typeface="Montserrat"/>
              <a:cs typeface="Montserrat"/>
              <a:sym typeface="Montserrat"/>
            </a:endParaRPr>
          </a:p>
          <a:p>
            <a:pPr marL="298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Char char="•"/>
            </a:pPr>
            <a:r>
              <a:rPr lang="en-US" sz="1600" b="0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Detailed review of methods and calculations by Validation and Verification Bodies (VVB)</a:t>
            </a:r>
            <a:endParaRPr sz="1600" b="0" i="0" u="none" strike="noStrike" cap="none" dirty="0">
              <a:latin typeface="Quicksand"/>
              <a:ea typeface="Montserrat"/>
              <a:cs typeface="Montserrat"/>
              <a:sym typeface="Montserrat"/>
            </a:endParaRPr>
          </a:p>
        </p:txBody>
      </p:sp>
      <p:sp>
        <p:nvSpPr>
          <p:cNvPr id="24" name="Google Shape;307;p71">
            <a:extLst>
              <a:ext uri="{FF2B5EF4-FFF2-40B4-BE49-F238E27FC236}">
                <a16:creationId xmlns:a16="http://schemas.microsoft.com/office/drawing/2014/main" id="{CDFD44EA-414C-E6BC-A55D-5226551BFEF8}"/>
              </a:ext>
            </a:extLst>
          </p:cNvPr>
          <p:cNvSpPr txBox="1"/>
          <p:nvPr/>
        </p:nvSpPr>
        <p:spPr>
          <a:xfrm>
            <a:off x="4725653" y="2633420"/>
            <a:ext cx="1807668" cy="2291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27000" marR="0" lvl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</a:pPr>
            <a:r>
              <a:rPr lang="en-US" sz="2000" b="1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Monitoring</a:t>
            </a:r>
            <a:endParaRPr sz="2000" b="0" i="0" u="none" strike="noStrike" cap="none" dirty="0">
              <a:latin typeface="Quicksand"/>
              <a:ea typeface="Arial"/>
              <a:cs typeface="Arial"/>
              <a:sym typeface="Arial"/>
            </a:endParaRPr>
          </a:p>
          <a:p>
            <a:pPr marL="412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Char char="•"/>
            </a:pPr>
            <a:endParaRPr sz="1600" b="1" i="0" u="none" strike="noStrike" cap="none" dirty="0">
              <a:latin typeface="Quicksand"/>
              <a:ea typeface="Montserrat"/>
              <a:cs typeface="Montserrat"/>
              <a:sym typeface="Montserrat"/>
            </a:endParaRPr>
          </a:p>
          <a:p>
            <a:pPr marL="298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Char char="•"/>
            </a:pPr>
            <a:r>
              <a:rPr lang="en-US" sz="1600" b="0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Application of the monitoring plan to track project impacts</a:t>
            </a:r>
            <a:endParaRPr sz="1600" b="0" i="0" u="none" strike="noStrike" cap="none" dirty="0">
              <a:latin typeface="Quicksand"/>
              <a:ea typeface="Arial"/>
              <a:cs typeface="Arial"/>
              <a:sym typeface="Arial"/>
            </a:endParaRPr>
          </a:p>
          <a:p>
            <a:pPr marL="298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Char char="•"/>
            </a:pPr>
            <a:r>
              <a:rPr lang="en-US" sz="1600" b="0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Periodic </a:t>
            </a:r>
            <a:r>
              <a:rPr lang="en-US" sz="1600" dirty="0">
                <a:latin typeface="Quicksand"/>
                <a:ea typeface="Montserrat"/>
                <a:cs typeface="Montserrat"/>
                <a:sym typeface="Montserrat"/>
              </a:rPr>
              <a:t>m</a:t>
            </a:r>
            <a:r>
              <a:rPr lang="en-US" sz="1600" b="0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onitoring (usually annually)</a:t>
            </a:r>
            <a:endParaRPr sz="1600" b="0" i="0" u="none" strike="noStrike" cap="none" dirty="0">
              <a:latin typeface="Quicksand"/>
              <a:ea typeface="Arial"/>
              <a:cs typeface="Arial"/>
              <a:sym typeface="Arial"/>
            </a:endParaRPr>
          </a:p>
        </p:txBody>
      </p:sp>
      <p:grpSp>
        <p:nvGrpSpPr>
          <p:cNvPr id="25" name="Google Shape;308;p71">
            <a:extLst>
              <a:ext uri="{FF2B5EF4-FFF2-40B4-BE49-F238E27FC236}">
                <a16:creationId xmlns:a16="http://schemas.microsoft.com/office/drawing/2014/main" id="{FF5BCA25-F0D0-3D1A-CCE0-8A5967AE1454}"/>
              </a:ext>
            </a:extLst>
          </p:cNvPr>
          <p:cNvGrpSpPr/>
          <p:nvPr/>
        </p:nvGrpSpPr>
        <p:grpSpPr>
          <a:xfrm>
            <a:off x="5045424" y="1496598"/>
            <a:ext cx="914576" cy="887874"/>
            <a:chOff x="3421769" y="1061260"/>
            <a:chExt cx="914576" cy="887874"/>
          </a:xfrm>
          <a:solidFill>
            <a:schemeClr val="accent1"/>
          </a:solidFill>
        </p:grpSpPr>
        <p:sp>
          <p:nvSpPr>
            <p:cNvPr id="26" name="Google Shape;309;p71">
              <a:extLst>
                <a:ext uri="{FF2B5EF4-FFF2-40B4-BE49-F238E27FC236}">
                  <a16:creationId xmlns:a16="http://schemas.microsoft.com/office/drawing/2014/main" id="{5ECA9FB7-508A-FE8C-7A90-F8D4DF288BE2}"/>
                </a:ext>
              </a:extLst>
            </p:cNvPr>
            <p:cNvSpPr/>
            <p:nvPr/>
          </p:nvSpPr>
          <p:spPr>
            <a:xfrm>
              <a:off x="3421769" y="1061260"/>
              <a:ext cx="914576" cy="887874"/>
            </a:xfrm>
            <a:prstGeom prst="ellipse">
              <a:avLst/>
            </a:pr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7" name="Google Shape;310;p71" descr="Clipboard Mixed with solid fill">
              <a:extLst>
                <a:ext uri="{FF2B5EF4-FFF2-40B4-BE49-F238E27FC236}">
                  <a16:creationId xmlns:a16="http://schemas.microsoft.com/office/drawing/2014/main" id="{BF912441-D692-9535-0598-594C9AF1FBBB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88" r="88"/>
            <a:stretch/>
          </p:blipFill>
          <p:spPr>
            <a:xfrm>
              <a:off x="3593358" y="1216206"/>
              <a:ext cx="586479" cy="587527"/>
            </a:xfrm>
            <a:prstGeom prst="rect">
              <a:avLst/>
            </a:prstGeom>
            <a:grpFill/>
            <a:ln>
              <a:noFill/>
            </a:ln>
          </p:spPr>
        </p:pic>
      </p:grpSp>
      <p:sp>
        <p:nvSpPr>
          <p:cNvPr id="28" name="Google Shape;311;p71">
            <a:extLst>
              <a:ext uri="{FF2B5EF4-FFF2-40B4-BE49-F238E27FC236}">
                <a16:creationId xmlns:a16="http://schemas.microsoft.com/office/drawing/2014/main" id="{C991B82B-F5C9-24FD-06C4-9FEBD821A2DD}"/>
              </a:ext>
            </a:extLst>
          </p:cNvPr>
          <p:cNvSpPr txBox="1"/>
          <p:nvPr/>
        </p:nvSpPr>
        <p:spPr>
          <a:xfrm>
            <a:off x="8069268" y="2620168"/>
            <a:ext cx="2280680" cy="2291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27000" marR="0" lvl="0" algn="ctr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</a:pPr>
            <a:r>
              <a:rPr lang="en-US" sz="2000" b="1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Issuance</a:t>
            </a:r>
            <a:endParaRPr sz="2000" b="0" i="0" u="none" strike="noStrike" cap="none" dirty="0">
              <a:latin typeface="Quicksand"/>
              <a:ea typeface="Arial"/>
              <a:cs typeface="Arial"/>
              <a:sym typeface="Arial"/>
            </a:endParaRPr>
          </a:p>
          <a:p>
            <a:pPr marL="412750" marR="0" lvl="0" indent="-28575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Char char="•"/>
            </a:pPr>
            <a:endParaRPr sz="1600" b="1" i="0" u="none" strike="noStrike" cap="none" dirty="0">
              <a:latin typeface="Quicksand"/>
              <a:ea typeface="Montserrat"/>
              <a:cs typeface="Montserrat"/>
              <a:sym typeface="Montserrat"/>
            </a:endParaRPr>
          </a:p>
          <a:p>
            <a:pPr marL="298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Char char="•"/>
            </a:pPr>
            <a:r>
              <a:rPr lang="en-US" sz="1600" b="0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Credits are issued on project owner registry with a unique serial number</a:t>
            </a:r>
            <a:endParaRPr sz="1600" b="0" i="0" u="none" strike="noStrike" cap="none" dirty="0">
              <a:latin typeface="Quicksand"/>
              <a:ea typeface="Arial"/>
              <a:cs typeface="Arial"/>
              <a:sym typeface="Arial"/>
            </a:endParaRPr>
          </a:p>
          <a:p>
            <a:pPr marL="298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 panose="020B0604020202020204" pitchFamily="34" charset="0"/>
              <a:buChar char="•"/>
            </a:pPr>
            <a:r>
              <a:rPr lang="en-US" sz="1600" b="0" i="0" u="none" strike="noStrike" cap="none" dirty="0">
                <a:latin typeface="Quicksand"/>
                <a:ea typeface="Montserrat"/>
                <a:cs typeface="Montserrat"/>
                <a:sym typeface="Montserrat"/>
              </a:rPr>
              <a:t>They can be retired (i.e. used for offset, climate contribution claim)</a:t>
            </a:r>
            <a:endParaRPr sz="1600" b="0" i="0" u="none" strike="noStrike" cap="none" dirty="0">
              <a:latin typeface="Quicksand"/>
              <a:ea typeface="Montserrat"/>
              <a:cs typeface="Montserrat"/>
              <a:sym typeface="Montserrat"/>
            </a:endParaRPr>
          </a:p>
        </p:txBody>
      </p:sp>
      <p:grpSp>
        <p:nvGrpSpPr>
          <p:cNvPr id="29" name="Google Shape;312;p71">
            <a:extLst>
              <a:ext uri="{FF2B5EF4-FFF2-40B4-BE49-F238E27FC236}">
                <a16:creationId xmlns:a16="http://schemas.microsoft.com/office/drawing/2014/main" id="{A57C6977-4BEC-9E29-34C6-B96EB07EE3E1}"/>
              </a:ext>
            </a:extLst>
          </p:cNvPr>
          <p:cNvGrpSpPr/>
          <p:nvPr/>
        </p:nvGrpSpPr>
        <p:grpSpPr>
          <a:xfrm>
            <a:off x="8597956" y="1509850"/>
            <a:ext cx="914576" cy="887874"/>
            <a:chOff x="7111910" y="1125537"/>
            <a:chExt cx="914576" cy="887874"/>
          </a:xfrm>
          <a:solidFill>
            <a:schemeClr val="accent3"/>
          </a:solidFill>
        </p:grpSpPr>
        <p:sp>
          <p:nvSpPr>
            <p:cNvPr id="30" name="Google Shape;313;p71">
              <a:extLst>
                <a:ext uri="{FF2B5EF4-FFF2-40B4-BE49-F238E27FC236}">
                  <a16:creationId xmlns:a16="http://schemas.microsoft.com/office/drawing/2014/main" id="{C7F9B8D7-F4F8-A6C9-8654-54556433405B}"/>
                </a:ext>
              </a:extLst>
            </p:cNvPr>
            <p:cNvSpPr/>
            <p:nvPr/>
          </p:nvSpPr>
          <p:spPr>
            <a:xfrm>
              <a:off x="7111910" y="1125537"/>
              <a:ext cx="914576" cy="887874"/>
            </a:xfrm>
            <a:prstGeom prst="ellipse">
              <a:avLst/>
            </a:pr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1" name="Google Shape;314;p71" descr="Bank check with solid fill">
              <a:extLst>
                <a:ext uri="{FF2B5EF4-FFF2-40B4-BE49-F238E27FC236}">
                  <a16:creationId xmlns:a16="http://schemas.microsoft.com/office/drawing/2014/main" id="{9DF70DE5-218E-91E1-EB63-0898E40C1515}"/>
                </a:ext>
              </a:extLst>
            </p:cNvPr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7325533" y="1328786"/>
              <a:ext cx="529943" cy="529943"/>
            </a:xfrm>
            <a:prstGeom prst="rect">
              <a:avLst/>
            </a:prstGeom>
            <a:grpFill/>
            <a:ln>
              <a:noFill/>
            </a:ln>
          </p:spPr>
        </p:pic>
      </p:grpSp>
      <p:cxnSp>
        <p:nvCxnSpPr>
          <p:cNvPr id="32" name="Google Shape;315;p71">
            <a:extLst>
              <a:ext uri="{FF2B5EF4-FFF2-40B4-BE49-F238E27FC236}">
                <a16:creationId xmlns:a16="http://schemas.microsoft.com/office/drawing/2014/main" id="{27498864-284B-248F-3AED-C636AEB08188}"/>
              </a:ext>
            </a:extLst>
          </p:cNvPr>
          <p:cNvCxnSpPr>
            <a:cxnSpLocks/>
          </p:cNvCxnSpPr>
          <p:nvPr/>
        </p:nvCxnSpPr>
        <p:spPr>
          <a:xfrm>
            <a:off x="1260620" y="6040438"/>
            <a:ext cx="8591260" cy="0"/>
          </a:xfrm>
          <a:prstGeom prst="straightConnector1">
            <a:avLst/>
          </a:prstGeom>
          <a:ln w="38100" cap="flat" cmpd="sng" algn="ctr">
            <a:solidFill>
              <a:schemeClr val="accent2"/>
            </a:solidFill>
            <a:prstDash val="solid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Google Shape;318;p71">
            <a:extLst>
              <a:ext uri="{FF2B5EF4-FFF2-40B4-BE49-F238E27FC236}">
                <a16:creationId xmlns:a16="http://schemas.microsoft.com/office/drawing/2014/main" id="{C1BC0EC6-A3FC-8DC3-8D6A-D31849236AAD}"/>
              </a:ext>
            </a:extLst>
          </p:cNvPr>
          <p:cNvSpPr txBox="1"/>
          <p:nvPr/>
        </p:nvSpPr>
        <p:spPr>
          <a:xfrm>
            <a:off x="5113074" y="6040438"/>
            <a:ext cx="2338270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US" b="1" dirty="0">
                <a:solidFill>
                  <a:srgbClr val="9D63E3"/>
                </a:solidFill>
                <a:latin typeface="Quicksand"/>
                <a:ea typeface="Montserrat"/>
                <a:cs typeface="Montserrat"/>
                <a:sym typeface="Montserrat"/>
              </a:rPr>
              <a:t>2</a:t>
            </a:r>
            <a:r>
              <a:rPr lang="en-US" b="1" i="0" u="none" strike="noStrike" cap="none" dirty="0">
                <a:solidFill>
                  <a:srgbClr val="9D63E3"/>
                </a:solidFill>
                <a:latin typeface="Quicksand"/>
                <a:ea typeface="Montserrat"/>
                <a:cs typeface="Montserrat"/>
                <a:sym typeface="Montserrat"/>
              </a:rPr>
              <a:t> – 3 years</a:t>
            </a:r>
            <a:endParaRPr sz="2400" b="1" i="0" u="none" strike="noStrike" cap="none" dirty="0">
              <a:solidFill>
                <a:srgbClr val="9D63E3"/>
              </a:solidFill>
              <a:latin typeface="Quicksand"/>
              <a:ea typeface="Arial"/>
              <a:cs typeface="Arial"/>
              <a:sym typeface="Arial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4A66EC2F-9958-79DD-EC4B-9F9398D165EE}"/>
              </a:ext>
            </a:extLst>
          </p:cNvPr>
          <p:cNvSpPr/>
          <p:nvPr/>
        </p:nvSpPr>
        <p:spPr>
          <a:xfrm>
            <a:off x="10677837" y="2466789"/>
            <a:ext cx="1080000" cy="1080000"/>
          </a:xfrm>
          <a:prstGeom prst="ellipse">
            <a:avLst/>
          </a:prstGeom>
          <a:solidFill>
            <a:schemeClr val="bg1"/>
          </a:solidFill>
          <a:ln w="57150">
            <a:solidFill>
              <a:srgbClr val="9D6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E2C374B-6AEB-FAB7-E53C-B3FDC5C29C48}"/>
              </a:ext>
            </a:extLst>
          </p:cNvPr>
          <p:cNvSpPr/>
          <p:nvPr/>
        </p:nvSpPr>
        <p:spPr>
          <a:xfrm rot="17449626">
            <a:off x="10686092" y="3304139"/>
            <a:ext cx="648539" cy="4222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64832FE7-BE1A-DA49-4ED4-03B074B2D53A}"/>
              </a:ext>
            </a:extLst>
          </p:cNvPr>
          <p:cNvSpPr/>
          <p:nvPr/>
        </p:nvSpPr>
        <p:spPr>
          <a:xfrm rot="7893653">
            <a:off x="10766542" y="3340280"/>
            <a:ext cx="267630" cy="220751"/>
          </a:xfrm>
          <a:prstGeom prst="triangle">
            <a:avLst/>
          </a:prstGeom>
          <a:solidFill>
            <a:srgbClr val="9D63E3"/>
          </a:solidFill>
          <a:ln>
            <a:solidFill>
              <a:srgbClr val="9D63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7" name="Google Shape;318;p71">
            <a:extLst>
              <a:ext uri="{FF2B5EF4-FFF2-40B4-BE49-F238E27FC236}">
                <a16:creationId xmlns:a16="http://schemas.microsoft.com/office/drawing/2014/main" id="{9BDE71D4-2DE9-0334-24C9-B551252A532A}"/>
              </a:ext>
            </a:extLst>
          </p:cNvPr>
          <p:cNvSpPr txBox="1"/>
          <p:nvPr/>
        </p:nvSpPr>
        <p:spPr>
          <a:xfrm>
            <a:off x="10313240" y="3607013"/>
            <a:ext cx="1759489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US" b="1" i="0" u="none" strike="noStrike" cap="none" dirty="0">
                <a:solidFill>
                  <a:srgbClr val="9D63E3"/>
                </a:solidFill>
                <a:latin typeface="Quicksand"/>
                <a:ea typeface="Arial"/>
                <a:cs typeface="Arial"/>
                <a:sym typeface="Arial"/>
              </a:rPr>
              <a:t>Re-validation after 5 years</a:t>
            </a:r>
            <a:endParaRPr b="1" i="0" u="none" strike="noStrike" cap="none" dirty="0">
              <a:solidFill>
                <a:srgbClr val="9D63E3"/>
              </a:solidFill>
              <a:latin typeface="Quicksand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3226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3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3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3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23" grpId="0"/>
      <p:bldP spid="24" grpId="0"/>
      <p:bldP spid="28" grpId="0"/>
      <p:bldP spid="3" grpId="0" animBg="1"/>
      <p:bldP spid="3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55CC976-1571-0D17-946D-D813E83B3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AFFF"/>
                </a:solidFill>
              </a:rPr>
              <a:t>Monitoring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7535984-CAA7-5DE3-1A32-253F10786D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578589"/>
            <a:ext cx="5080248" cy="1641690"/>
          </a:xfrm>
          <a:noFill/>
        </p:spPr>
        <p:txBody>
          <a:bodyPr anchor="t"/>
          <a:lstStyle/>
          <a:p>
            <a:r>
              <a:rPr lang="en-GB" b="1" dirty="0">
                <a:solidFill>
                  <a:srgbClr val="17AFA6"/>
                </a:solidFill>
              </a:rPr>
              <a:t>Database/inventory</a:t>
            </a:r>
          </a:p>
          <a:p>
            <a:pPr marL="185738" indent="-185738">
              <a:lnSpc>
                <a:spcPct val="100000"/>
              </a:lnSpc>
              <a:buClr>
                <a:srgbClr val="17AFA6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List of all units credited (e.g. water filters, households, water points)</a:t>
            </a:r>
          </a:p>
          <a:p>
            <a:pPr marL="185738" indent="-185738">
              <a:lnSpc>
                <a:spcPct val="100000"/>
              </a:lnSpc>
              <a:buClr>
                <a:srgbClr val="17AFA6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Unique ID for each unit</a:t>
            </a:r>
          </a:p>
        </p:txBody>
      </p:sp>
      <p:sp>
        <p:nvSpPr>
          <p:cNvPr id="2" name="Content Placeholder 9">
            <a:extLst>
              <a:ext uri="{FF2B5EF4-FFF2-40B4-BE49-F238E27FC236}">
                <a16:creationId xmlns:a16="http://schemas.microsoft.com/office/drawing/2014/main" id="{96744498-75F0-6232-95DF-63120F1D7A15}"/>
              </a:ext>
            </a:extLst>
          </p:cNvPr>
          <p:cNvSpPr txBox="1">
            <a:spLocks/>
          </p:cNvSpPr>
          <p:nvPr/>
        </p:nvSpPr>
        <p:spPr>
          <a:xfrm>
            <a:off x="741672" y="3186125"/>
            <a:ext cx="5080248" cy="20431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200" b="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1pPr>
            <a:lvl2pPr marL="1825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2pPr>
            <a:lvl3pPr marL="684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8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3pPr>
            <a:lvl4pPr marL="1368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4pPr>
            <a:lvl5pPr marL="2052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4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17AFA6"/>
                </a:solidFill>
              </a:rPr>
              <a:t>Baseline survey </a:t>
            </a:r>
            <a:br>
              <a:rPr lang="en-GB" b="1" dirty="0"/>
            </a:br>
            <a:r>
              <a:rPr lang="en-GB" sz="1800" dirty="0"/>
              <a:t>(representative for the units in the database)</a:t>
            </a:r>
          </a:p>
          <a:p>
            <a:pPr marL="185738" indent="-185738">
              <a:lnSpc>
                <a:spcPct val="100000"/>
              </a:lnSpc>
              <a:buClr>
                <a:srgbClr val="17AFA6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Prevalence of boiling in project area/ suppressed demand</a:t>
            </a:r>
          </a:p>
          <a:p>
            <a:pPr marL="185738" indent="-185738">
              <a:lnSpc>
                <a:spcPct val="100000"/>
              </a:lnSpc>
              <a:buClr>
                <a:srgbClr val="17AFA6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Efficiency of stoves used for boiling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E75EA5F7-6691-0001-1A26-F05F43EDE3F2}"/>
              </a:ext>
            </a:extLst>
          </p:cNvPr>
          <p:cNvSpPr txBox="1">
            <a:spLocks/>
          </p:cNvSpPr>
          <p:nvPr/>
        </p:nvSpPr>
        <p:spPr>
          <a:xfrm>
            <a:off x="6096000" y="1505169"/>
            <a:ext cx="5080248" cy="20431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200" b="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1pPr>
            <a:lvl2pPr marL="1825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2pPr>
            <a:lvl3pPr marL="684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8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3pPr>
            <a:lvl4pPr marL="1368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4pPr>
            <a:lvl5pPr marL="2052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4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chemeClr val="accent1"/>
                </a:solidFill>
              </a:rPr>
              <a:t>Monitoring surveys </a:t>
            </a:r>
            <a:br>
              <a:rPr lang="en-GB" b="1" dirty="0">
                <a:solidFill>
                  <a:schemeClr val="accent1"/>
                </a:solidFill>
              </a:rPr>
            </a:br>
            <a:r>
              <a:rPr lang="en-GB" sz="1800" dirty="0"/>
              <a:t>(based on random sample from database)</a:t>
            </a:r>
          </a:p>
          <a:p>
            <a:pPr marL="185738" indent="-185738">
              <a:lnSpc>
                <a:spcPct val="100000"/>
              </a:lnSpc>
              <a:buClr>
                <a:srgbClr val="17AFA6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Usage rate</a:t>
            </a:r>
          </a:p>
          <a:p>
            <a:pPr marL="185738" indent="-185738">
              <a:lnSpc>
                <a:spcPct val="100000"/>
              </a:lnSpc>
              <a:buClr>
                <a:srgbClr val="17AFA6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Water quality</a:t>
            </a:r>
          </a:p>
          <a:p>
            <a:pPr marL="185738" indent="-185738">
              <a:lnSpc>
                <a:spcPct val="100000"/>
              </a:lnSpc>
              <a:buClr>
                <a:srgbClr val="17AFA6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Water consumption</a:t>
            </a: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AE068B17-2878-6674-61B7-35AAEAB335EC}"/>
              </a:ext>
            </a:extLst>
          </p:cNvPr>
          <p:cNvSpPr txBox="1">
            <a:spLocks/>
          </p:cNvSpPr>
          <p:nvPr/>
        </p:nvSpPr>
        <p:spPr>
          <a:xfrm>
            <a:off x="742122" y="5327374"/>
            <a:ext cx="8945217" cy="1017864"/>
          </a:xfrm>
          <a:prstGeom prst="rect">
            <a:avLst/>
          </a:prstGeom>
          <a:solidFill>
            <a:srgbClr val="00AFFF"/>
          </a:solidFill>
        </p:spPr>
        <p:txBody>
          <a:bodyPr vert="horz" lIns="91440" tIns="45720" rIns="91440" bIns="4572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200" b="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1pPr>
            <a:lvl2pPr marL="1825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2pPr>
            <a:lvl3pPr marL="684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8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3pPr>
            <a:lvl4pPr marL="1368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4pPr>
            <a:lvl5pPr marL="2052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4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000" b="1" i="1" dirty="0">
              <a:solidFill>
                <a:schemeClr val="bg1"/>
              </a:solidFill>
            </a:endParaRPr>
          </a:p>
          <a:p>
            <a:r>
              <a:rPr lang="en-US" sz="2400" b="1" dirty="0">
                <a:solidFill>
                  <a:schemeClr val="bg1"/>
                </a:solidFill>
              </a:rPr>
              <a:t>  About 1 to 1.5 tCO</a:t>
            </a:r>
            <a:r>
              <a:rPr lang="en-US" sz="2400" b="1" baseline="-25000" dirty="0">
                <a:solidFill>
                  <a:schemeClr val="bg1"/>
                </a:solidFill>
              </a:rPr>
              <a:t>2</a:t>
            </a:r>
            <a:r>
              <a:rPr lang="en-US" sz="2400" b="1" dirty="0">
                <a:solidFill>
                  <a:schemeClr val="bg1"/>
                </a:solidFill>
              </a:rPr>
              <a:t>e per household per year for “users”</a:t>
            </a:r>
          </a:p>
        </p:txBody>
      </p:sp>
    </p:spTree>
    <p:extLst>
      <p:ext uri="{BB962C8B-B14F-4D97-AF65-F5344CB8AC3E}">
        <p14:creationId xmlns:p14="http://schemas.microsoft.com/office/powerpoint/2010/main" val="343970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55CC976-1571-0D17-946D-D813E83B3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ppressed demand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7535984-CAA7-5DE3-1A32-253F10786D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39" y="1497497"/>
            <a:ext cx="4946595" cy="5115338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</a:pPr>
            <a:r>
              <a:rPr lang="en-US" sz="3100" dirty="0">
                <a:solidFill>
                  <a:schemeClr val="accent1"/>
                </a:solidFill>
              </a:rPr>
              <a:t>“For household end-users currently drinking unsafe water, the principles of suppressed demand are applied, such that the general baseline scenario is assumed to be that </a:t>
            </a:r>
            <a:r>
              <a:rPr lang="en-US" sz="3100" b="1" dirty="0">
                <a:solidFill>
                  <a:schemeClr val="accent1"/>
                </a:solidFill>
              </a:rPr>
              <a:t>users would have boiled water for drinking in the absence of the project activity.”</a:t>
            </a:r>
          </a:p>
          <a:p>
            <a:pPr>
              <a:lnSpc>
                <a:spcPct val="120000"/>
              </a:lnSpc>
            </a:pPr>
            <a:endParaRPr lang="en-US" dirty="0"/>
          </a:p>
          <a:p>
            <a:pPr>
              <a:lnSpc>
                <a:spcPct val="120000"/>
              </a:lnSpc>
            </a:pPr>
            <a:r>
              <a:rPr lang="en-US" dirty="0"/>
              <a:t>Suppressed demand is not applicable for large scale projects with more than 60,000 voluntary emission reductions per year (VERs/year).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B6638D-A29D-791C-1D49-CBDA3EBFE8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0456" y="1285693"/>
            <a:ext cx="6364937" cy="3776637"/>
          </a:xfrm>
          <a:prstGeom prst="rect">
            <a:avLst/>
          </a:prstGeom>
        </p:spPr>
      </p:pic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1187F613-52EB-4A35-1DF6-B0EACE5AABBA}"/>
              </a:ext>
            </a:extLst>
          </p:cNvPr>
          <p:cNvSpPr txBox="1">
            <a:spLocks/>
          </p:cNvSpPr>
          <p:nvPr/>
        </p:nvSpPr>
        <p:spPr>
          <a:xfrm>
            <a:off x="6096000" y="5079657"/>
            <a:ext cx="2179811" cy="299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200" b="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1pPr>
            <a:lvl2pPr marL="1825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2pPr>
            <a:lvl3pPr marL="684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8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3pPr>
            <a:lvl4pPr marL="1368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4pPr>
            <a:lvl5pPr marL="2052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4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dirty="0">
                <a:solidFill>
                  <a:schemeClr val="accent1"/>
                </a:solidFill>
                <a:latin typeface="Quicksand"/>
              </a:rPr>
              <a:t>Source: Uganda DHS (2011)</a:t>
            </a:r>
            <a:endParaRPr lang="en-CH" sz="2800" dirty="0">
              <a:solidFill>
                <a:schemeClr val="accent1"/>
              </a:solidFill>
              <a:latin typeface="Quicksand"/>
            </a:endParaRPr>
          </a:p>
        </p:txBody>
      </p:sp>
    </p:spTree>
    <p:extLst>
      <p:ext uri="{BB962C8B-B14F-4D97-AF65-F5344CB8AC3E}">
        <p14:creationId xmlns:p14="http://schemas.microsoft.com/office/powerpoint/2010/main" val="1819441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55CC976-1571-0D17-946D-D813E83B3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ppressed demand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7535984-CAA7-5DE3-1A32-253F10786D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39" y="1497497"/>
            <a:ext cx="4946595" cy="5115338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</a:pPr>
            <a:r>
              <a:rPr lang="en-US" sz="3100" dirty="0">
                <a:solidFill>
                  <a:schemeClr val="accent1"/>
                </a:solidFill>
              </a:rPr>
              <a:t>“For household end-users currently drinking unsafe water, the principles of suppressed demand are applied, such that the general baseline scenario is assumed to be that </a:t>
            </a:r>
            <a:r>
              <a:rPr lang="en-US" sz="3100" b="1" dirty="0">
                <a:solidFill>
                  <a:schemeClr val="accent1"/>
                </a:solidFill>
              </a:rPr>
              <a:t>users would have boiled water for drinking in the absence of the project activity.”</a:t>
            </a:r>
          </a:p>
          <a:p>
            <a:pPr>
              <a:lnSpc>
                <a:spcPct val="120000"/>
              </a:lnSpc>
            </a:pPr>
            <a:endParaRPr lang="en-US" dirty="0"/>
          </a:p>
          <a:p>
            <a:pPr>
              <a:lnSpc>
                <a:spcPct val="120000"/>
              </a:lnSpc>
            </a:pPr>
            <a:r>
              <a:rPr lang="en-US" dirty="0"/>
              <a:t>Suppressed demand is not applicable for large scale projects with more than 60,000 voluntary emission reductions per year (VERs/year).</a:t>
            </a:r>
            <a:endParaRPr lang="en-GB" dirty="0"/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1187F613-52EB-4A35-1DF6-B0EACE5AABBA}"/>
              </a:ext>
            </a:extLst>
          </p:cNvPr>
          <p:cNvSpPr txBox="1">
            <a:spLocks/>
          </p:cNvSpPr>
          <p:nvPr/>
        </p:nvSpPr>
        <p:spPr>
          <a:xfrm>
            <a:off x="6096000" y="5079657"/>
            <a:ext cx="2179811" cy="2991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200" b="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1pPr>
            <a:lvl2pPr marL="1825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2pPr>
            <a:lvl3pPr marL="684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8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3pPr>
            <a:lvl4pPr marL="1368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4pPr>
            <a:lvl5pPr marL="2052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4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dirty="0">
                <a:solidFill>
                  <a:schemeClr val="accent1"/>
                </a:solidFill>
                <a:latin typeface="Quicksand"/>
              </a:rPr>
              <a:t>Source: Uganda DHS (2011)</a:t>
            </a:r>
            <a:endParaRPr lang="en-CH" sz="2800" dirty="0">
              <a:solidFill>
                <a:schemeClr val="accent1"/>
              </a:solidFill>
              <a:latin typeface="Quicksand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6AF6850-369E-5CA2-9EBE-A46B067E2D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5737" y="1283581"/>
            <a:ext cx="6373497" cy="3786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356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55CC976-1571-0D17-946D-D813E83B3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AFFF"/>
                </a:solidFill>
              </a:rPr>
              <a:t>Worth noting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7535984-CAA7-5DE3-1A32-253F10786D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39" y="1836776"/>
            <a:ext cx="10934639" cy="4193634"/>
          </a:xfrm>
        </p:spPr>
        <p:txBody>
          <a:bodyPr>
            <a:normAutofit/>
          </a:bodyPr>
          <a:lstStyle/>
          <a:p>
            <a:pPr marL="185738" indent="-185738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bg2"/>
                </a:solidFill>
              </a:rPr>
              <a:t>Local stakeholder consultation: </a:t>
            </a:r>
            <a:r>
              <a:rPr lang="en-GB" dirty="0"/>
              <a:t>the Gold Standard requires a consultation with all relevant stakeholders prior to implementation and establishment of a grievance mechanism</a:t>
            </a:r>
          </a:p>
          <a:p>
            <a:pPr marL="185738" indent="-185738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bg2"/>
                </a:solidFill>
              </a:rPr>
              <a:t>Water quality threshold:</a:t>
            </a:r>
            <a:r>
              <a:rPr lang="en-GB" dirty="0"/>
              <a:t> the current version of the Gold Standard methodology requires that 90%+ of the water samples have less than 1 colony-forming unit (CFU) E. Coli / 100 ml, otherwise no carbon credits will be issued</a:t>
            </a:r>
          </a:p>
          <a:p>
            <a:pPr marL="185738" indent="-185738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bg2"/>
                </a:solidFill>
              </a:rPr>
              <a:t>Retroactive registration:</a:t>
            </a:r>
            <a:r>
              <a:rPr lang="en-GB" dirty="0"/>
              <a:t> there are strict rules about registering projects that are already under implementation. Carbon credits should considered </a:t>
            </a:r>
            <a:r>
              <a:rPr lang="en-GB" u="sng" dirty="0"/>
              <a:t>before</a:t>
            </a:r>
            <a:r>
              <a:rPr lang="en-GB" dirty="0"/>
              <a:t> starting implementation</a:t>
            </a:r>
          </a:p>
          <a:p>
            <a:pPr marL="185738" indent="-185738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bg2"/>
                </a:solidFill>
              </a:rPr>
              <a:t>Additionality:</a:t>
            </a:r>
            <a:r>
              <a:rPr lang="en-GB" dirty="0"/>
              <a:t> project needs to demonstrate that it could not or would not take place without carbon finance</a:t>
            </a:r>
          </a:p>
          <a:p>
            <a:endParaRPr lang="en-GB" dirty="0">
              <a:solidFill>
                <a:schemeClr val="accent1"/>
              </a:solidFill>
              <a:highlight>
                <a:srgbClr val="FFFF00"/>
              </a:highlight>
            </a:endParaRPr>
          </a:p>
          <a:p>
            <a:endParaRPr lang="en-GB" dirty="0">
              <a:solidFill>
                <a:schemeClr val="accent1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71543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55CC976-1571-0D17-946D-D813E83B3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AFFF"/>
                </a:solidFill>
              </a:rPr>
              <a:t>Financial model (I)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7535984-CAA7-5DE3-1A32-253F10786D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425" y="1403253"/>
            <a:ext cx="10703150" cy="1999243"/>
          </a:xfrm>
        </p:spPr>
        <p:txBody>
          <a:bodyPr>
            <a:normAutofit fontScale="92500"/>
          </a:bodyPr>
          <a:lstStyle/>
          <a:p>
            <a:pPr>
              <a:lnSpc>
                <a:spcPct val="100000"/>
              </a:lnSpc>
            </a:pPr>
            <a:r>
              <a:rPr lang="en-GB" b="1" dirty="0"/>
              <a:t>Typical contract types between project owner and project developer/credit retailer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arenR"/>
            </a:pPr>
            <a:r>
              <a:rPr lang="en-GB" dirty="0"/>
              <a:t>Service contract to support registration of project and/or sales of carbon credits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arenR"/>
            </a:pPr>
            <a:r>
              <a:rPr lang="en-GB" dirty="0"/>
              <a:t>Investment by project developer in project registration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arenR"/>
            </a:pPr>
            <a:r>
              <a:rPr lang="en-GB" dirty="0"/>
              <a:t>Investment by project developer in project registration and project implementation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GB" dirty="0"/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1"/>
              </a:solidFill>
              <a:highlight>
                <a:srgbClr val="FFFF00"/>
              </a:highlight>
            </a:endParaRPr>
          </a:p>
          <a:p>
            <a:endParaRPr lang="en-GB" dirty="0">
              <a:solidFill>
                <a:schemeClr val="accent1"/>
              </a:solidFill>
              <a:highlight>
                <a:srgbClr val="FFFF00"/>
              </a:highlight>
            </a:endParaRPr>
          </a:p>
          <a:p>
            <a:endParaRPr lang="en-GB" dirty="0">
              <a:solidFill>
                <a:schemeClr val="accent1"/>
              </a:solidFill>
              <a:highlight>
                <a:srgbClr val="FFFF00"/>
              </a:highlight>
            </a:endParaRP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1469136E-C031-024A-465B-B6986C5308D2}"/>
              </a:ext>
            </a:extLst>
          </p:cNvPr>
          <p:cNvSpPr txBox="1">
            <a:spLocks/>
          </p:cNvSpPr>
          <p:nvPr/>
        </p:nvSpPr>
        <p:spPr>
          <a:xfrm>
            <a:off x="6625417" y="3931754"/>
            <a:ext cx="5102757" cy="1698245"/>
          </a:xfrm>
          <a:prstGeom prst="rect">
            <a:avLst/>
          </a:prstGeom>
          <a:solidFill>
            <a:srgbClr val="00AFFF"/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200" b="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1pPr>
            <a:lvl2pPr marL="1825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2pPr>
            <a:lvl3pPr marL="684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8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3pPr>
            <a:lvl4pPr marL="1368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4pPr>
            <a:lvl5pPr marL="2052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4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100" b="1" i="1" dirty="0">
              <a:solidFill>
                <a:schemeClr val="bg1"/>
              </a:solidFill>
            </a:endParaRPr>
          </a:p>
          <a:p>
            <a:pPr marL="266700"/>
            <a:r>
              <a:rPr lang="en-US" sz="2000" b="1" dirty="0">
                <a:solidFill>
                  <a:schemeClr val="bg1"/>
                </a:solidFill>
              </a:rPr>
              <a:t>“Transaction costs” for a 5-year certification cycle are typically around EUR 100,000 plus a sales margin for carbon credit trad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0C174E-0E92-72D7-A42F-CC5F694DCAA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674" t="28019" r="15870" b="17874"/>
          <a:stretch/>
        </p:blipFill>
        <p:spPr>
          <a:xfrm>
            <a:off x="600213" y="3933825"/>
            <a:ext cx="5711687" cy="2334704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2D0E01AE-F6B6-F2A5-A8F1-17C069D458B1}"/>
              </a:ext>
            </a:extLst>
          </p:cNvPr>
          <p:cNvSpPr/>
          <p:nvPr/>
        </p:nvSpPr>
        <p:spPr>
          <a:xfrm>
            <a:off x="2673599" y="3846843"/>
            <a:ext cx="925551" cy="914400"/>
          </a:xfrm>
          <a:prstGeom prst="ellipse">
            <a:avLst/>
          </a:prstGeom>
          <a:noFill/>
          <a:ln w="762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348869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166C319-57D0-DB9C-4A90-1EA5D306D5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0558" y="1589518"/>
            <a:ext cx="8021071" cy="1655762"/>
          </a:xfrm>
        </p:spPr>
        <p:txBody>
          <a:bodyPr>
            <a:normAutofit fontScale="90000"/>
          </a:bodyPr>
          <a:lstStyle/>
          <a:p>
            <a:r>
              <a:rPr lang="en-US" dirty="0"/>
              <a:t>Carbon credits for water </a:t>
            </a:r>
            <a:br>
              <a:rPr lang="en-US" dirty="0"/>
            </a:br>
            <a:r>
              <a:rPr lang="en-US" dirty="0"/>
              <a:t>projects When should it </a:t>
            </a:r>
            <a:br>
              <a:rPr lang="en-US" dirty="0"/>
            </a:br>
            <a:r>
              <a:rPr lang="en-US" dirty="0"/>
              <a:t>be considered?</a:t>
            </a:r>
            <a:endParaRPr lang="en-GB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0301BC9A-F195-A9B2-D315-D981F424012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Climate mitigation: Looking for win-win opportunities for the WASH sector and for populations living in vulnerable situation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3315F5-271F-7F92-6581-168BC31B83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ude Perrine (South Pole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4878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C6D3AAA-1934-3A7F-8745-40817BCD1C6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674" t="28019" r="15870" b="17874"/>
          <a:stretch/>
        </p:blipFill>
        <p:spPr>
          <a:xfrm>
            <a:off x="600213" y="3933825"/>
            <a:ext cx="5711687" cy="2334704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B55CC976-1571-0D17-946D-D813E83B3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AFFF"/>
                </a:solidFill>
              </a:rPr>
              <a:t>Financial model (II)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7535984-CAA7-5DE3-1A32-253F10786D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425" y="1429757"/>
            <a:ext cx="10703150" cy="1999243"/>
          </a:xfrm>
        </p:spPr>
        <p:txBody>
          <a:bodyPr>
            <a:normAutofit/>
          </a:bodyPr>
          <a:lstStyle/>
          <a:p>
            <a:r>
              <a:rPr lang="en-GB" sz="2000" b="1" dirty="0"/>
              <a:t>Typical agreements between project owner and water users</a:t>
            </a:r>
          </a:p>
          <a:p>
            <a:pPr marL="457200" indent="-457200">
              <a:buFont typeface="+mj-lt"/>
              <a:buAutoNum type="arabicParenR"/>
            </a:pPr>
            <a:r>
              <a:rPr lang="en-US" sz="2000" dirty="0"/>
              <a:t>Carbon waiver against reduced cost of HWT products</a:t>
            </a:r>
          </a:p>
          <a:p>
            <a:pPr marL="457200" indent="-457200">
              <a:buFont typeface="+mj-lt"/>
              <a:buAutoNum type="arabicParenR"/>
            </a:pPr>
            <a:r>
              <a:rPr lang="en-US" sz="2000" dirty="0"/>
              <a:t>Carbon waiver against management/operation of water supply</a:t>
            </a:r>
          </a:p>
          <a:p>
            <a:pPr marL="457200" indent="-457200">
              <a:buFont typeface="+mj-lt"/>
              <a:buAutoNum type="arabicParenR"/>
            </a:pPr>
            <a:r>
              <a:rPr lang="en-US" sz="2000" dirty="0"/>
              <a:t>Carbon waiver against direct financial payments for using water (not commo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i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>
              <a:solidFill>
                <a:schemeClr val="accent1"/>
              </a:solidFill>
              <a:highlight>
                <a:srgbClr val="FFFF00"/>
              </a:highlight>
            </a:endParaRPr>
          </a:p>
          <a:p>
            <a:endParaRPr lang="en-GB" dirty="0">
              <a:solidFill>
                <a:schemeClr val="accent1"/>
              </a:solidFill>
              <a:highlight>
                <a:srgbClr val="FFFF00"/>
              </a:highlight>
            </a:endParaRPr>
          </a:p>
          <a:p>
            <a:endParaRPr lang="en-GB" dirty="0">
              <a:solidFill>
                <a:schemeClr val="accent1"/>
              </a:solidFill>
              <a:highlight>
                <a:srgbClr val="FFFF00"/>
              </a:highlight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2D0E01AE-F6B6-F2A5-A8F1-17C069D458B1}"/>
              </a:ext>
            </a:extLst>
          </p:cNvPr>
          <p:cNvSpPr/>
          <p:nvPr/>
        </p:nvSpPr>
        <p:spPr>
          <a:xfrm>
            <a:off x="1388245" y="4602826"/>
            <a:ext cx="925551" cy="914400"/>
          </a:xfrm>
          <a:prstGeom prst="ellipse">
            <a:avLst/>
          </a:prstGeom>
          <a:noFill/>
          <a:ln w="762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77497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3E1988-9765-7DB7-AF8D-DDC174746D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76944" y="338280"/>
            <a:ext cx="5714196" cy="4034937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latin typeface="Quicksand"/>
              </a:rPr>
              <a:t>When should carbon credits </a:t>
            </a:r>
            <a:br>
              <a:rPr lang="en-US" sz="2800" b="1" dirty="0">
                <a:latin typeface="Quicksand"/>
              </a:rPr>
            </a:br>
            <a:r>
              <a:rPr lang="en-US" sz="2800" b="1" dirty="0">
                <a:latin typeface="Quicksand"/>
              </a:rPr>
              <a:t>be considered?</a:t>
            </a:r>
            <a:endParaRPr lang="en-GB" sz="1600" kern="100" dirty="0">
              <a:effectLst/>
              <a:latin typeface="Quicksand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5113" lvl="0" indent="-265113">
              <a:lnSpc>
                <a:spcPct val="100000"/>
              </a:lnSpc>
              <a:buClr>
                <a:schemeClr val="tx2"/>
              </a:buClr>
              <a:buFont typeface="Arial" pitchFamily="2" charset="2"/>
              <a:buChar char="•"/>
              <a:tabLst>
                <a:tab pos="185738" algn="l"/>
              </a:tabLst>
            </a:pPr>
            <a:r>
              <a:rPr lang="en-GB" sz="1800" kern="100" dirty="0">
                <a:effectLst/>
                <a:latin typeface="Quicksand"/>
                <a:ea typeface="Calibri" panose="020F0502020204030204" pitchFamily="34" charset="0"/>
                <a:cs typeface="Times New Roman"/>
              </a:rPr>
              <a:t>Implementation of non-piped systems </a:t>
            </a:r>
            <a:br>
              <a:rPr lang="en-GB" sz="1800" kern="100" dirty="0">
                <a:effectLst/>
                <a:latin typeface="Quicksand"/>
                <a:ea typeface="Calibri" panose="020F0502020204030204" pitchFamily="34" charset="0"/>
                <a:cs typeface="Times New Roman"/>
              </a:rPr>
            </a:br>
            <a:r>
              <a:rPr lang="en-GB" sz="1800" kern="100" dirty="0">
                <a:effectLst/>
                <a:latin typeface="Quicksand"/>
                <a:ea typeface="Calibri" panose="020F0502020204030204" pitchFamily="34" charset="0"/>
                <a:cs typeface="Times New Roman"/>
              </a:rPr>
              <a:t>providing safe water at end-user premises</a:t>
            </a:r>
          </a:p>
          <a:p>
            <a:pPr marL="265113" indent="-265113">
              <a:lnSpc>
                <a:spcPct val="100000"/>
              </a:lnSpc>
              <a:buClr>
                <a:schemeClr val="tx2"/>
              </a:buClr>
              <a:buFont typeface="Arial" pitchFamily="2" charset="2"/>
              <a:buChar char="•"/>
              <a:tabLst>
                <a:tab pos="185738" algn="l"/>
              </a:tabLst>
            </a:pPr>
            <a:r>
              <a:rPr lang="en-GB" sz="1800" kern="100" dirty="0">
                <a:latin typeface="Quicksand"/>
                <a:ea typeface="Calibri" panose="020F0502020204030204" pitchFamily="34" charset="0"/>
                <a:cs typeface="Times New Roman"/>
              </a:rPr>
              <a:t>Reaching at least 20,000 households</a:t>
            </a:r>
            <a:endParaRPr lang="en-GB" sz="1800" kern="100" dirty="0">
              <a:effectLst/>
              <a:latin typeface="Quicksand"/>
              <a:ea typeface="Calibri" panose="020F0502020204030204" pitchFamily="34" charset="0"/>
              <a:cs typeface="Times New Roman"/>
            </a:endParaRPr>
          </a:p>
          <a:p>
            <a:pPr marL="265113" lvl="0" indent="-265113">
              <a:lnSpc>
                <a:spcPct val="100000"/>
              </a:lnSpc>
              <a:buClr>
                <a:schemeClr val="tx2"/>
              </a:buClr>
              <a:buFont typeface="Arial" pitchFamily="2" charset="2"/>
              <a:buChar char="•"/>
              <a:tabLst>
                <a:tab pos="185738" algn="l"/>
              </a:tabLst>
            </a:pPr>
            <a:r>
              <a:rPr lang="en-GB" sz="1800" kern="100" dirty="0">
                <a:effectLst/>
                <a:latin typeface="Quicksand"/>
                <a:ea typeface="Calibri" panose="020F0502020204030204" pitchFamily="34" charset="0"/>
                <a:cs typeface="Times New Roman"/>
              </a:rPr>
              <a:t>Where boiling (with </a:t>
            </a:r>
            <a:r>
              <a:rPr lang="en-GB" sz="1800" kern="100" dirty="0">
                <a:latin typeface="Quicksand"/>
                <a:ea typeface="Calibri" panose="020F0502020204030204" pitchFamily="34" charset="0"/>
                <a:cs typeface="Times New Roman"/>
              </a:rPr>
              <a:t>solid fuels</a:t>
            </a:r>
            <a:r>
              <a:rPr lang="en-GB" sz="1800" kern="100" dirty="0">
                <a:effectLst/>
                <a:latin typeface="Quicksand"/>
                <a:ea typeface="Calibri" panose="020F0502020204030204" pitchFamily="34" charset="0"/>
                <a:cs typeface="Times New Roman"/>
              </a:rPr>
              <a:t>) is the </a:t>
            </a:r>
            <a:br>
              <a:rPr lang="en-GB" sz="1800" kern="100" dirty="0">
                <a:effectLst/>
                <a:latin typeface="Quicksand"/>
                <a:ea typeface="Calibri" panose="020F0502020204030204" pitchFamily="34" charset="0"/>
                <a:cs typeface="Times New Roman"/>
              </a:rPr>
            </a:br>
            <a:r>
              <a:rPr lang="en-GB" sz="1800" kern="100" dirty="0">
                <a:effectLst/>
                <a:latin typeface="Quicksand"/>
                <a:ea typeface="Calibri" panose="020F0502020204030204" pitchFamily="34" charset="0"/>
                <a:cs typeface="Times New Roman"/>
              </a:rPr>
              <a:t>most common household water </a:t>
            </a:r>
            <a:br>
              <a:rPr lang="en-GB" sz="1800" kern="100" dirty="0">
                <a:effectLst/>
                <a:latin typeface="Quicksand"/>
                <a:ea typeface="Calibri" panose="020F0502020204030204" pitchFamily="34" charset="0"/>
                <a:cs typeface="Times New Roman"/>
              </a:rPr>
            </a:br>
            <a:r>
              <a:rPr lang="en-GB" sz="1800" kern="100" dirty="0">
                <a:effectLst/>
                <a:latin typeface="Quicksand"/>
                <a:ea typeface="Calibri" panose="020F0502020204030204" pitchFamily="34" charset="0"/>
                <a:cs typeface="Times New Roman"/>
              </a:rPr>
              <a:t>treatment method</a:t>
            </a:r>
          </a:p>
          <a:p>
            <a:pPr marL="265113" lvl="0" indent="-265113">
              <a:lnSpc>
                <a:spcPct val="100000"/>
              </a:lnSpc>
              <a:buClr>
                <a:schemeClr val="tx2"/>
              </a:buClr>
              <a:buFont typeface="Arial" pitchFamily="2" charset="2"/>
              <a:buChar char="•"/>
              <a:tabLst>
                <a:tab pos="185738" algn="l"/>
              </a:tabLst>
            </a:pPr>
            <a:r>
              <a:rPr lang="en-GB" sz="1800" kern="100" dirty="0">
                <a:effectLst/>
                <a:latin typeface="Quicksand"/>
                <a:ea typeface="Calibri" panose="020F0502020204030204" pitchFamily="34" charset="0"/>
                <a:cs typeface="Times New Roman"/>
              </a:rPr>
              <a:t>Robust monitoring system in place</a:t>
            </a:r>
            <a:endParaRPr lang="en-GB" sz="2000" kern="100" dirty="0">
              <a:effectLst/>
              <a:latin typeface="Quicksand"/>
              <a:ea typeface="Calibri" panose="020F0502020204030204" pitchFamily="34" charset="0"/>
              <a:cs typeface="Times New Roman"/>
            </a:endParaRP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A9A6B7A-51C8-F1D6-73DB-73AED4506C99}"/>
              </a:ext>
            </a:extLst>
          </p:cNvPr>
          <p:cNvPicPr>
            <a:picLocks noGrp="1" noChangeAspect="1"/>
          </p:cNvPicPr>
          <p:nvPr>
            <p:ph type="pic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32" r="16432"/>
          <a:stretch/>
        </p:blipFill>
        <p:spPr/>
      </p:pic>
    </p:spTree>
    <p:extLst>
      <p:ext uri="{BB962C8B-B14F-4D97-AF65-F5344CB8AC3E}">
        <p14:creationId xmlns:p14="http://schemas.microsoft.com/office/powerpoint/2010/main" val="253843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52383B8-4B4E-E00C-9E87-3E6C8565062B}"/>
              </a:ext>
            </a:extLst>
          </p:cNvPr>
          <p:cNvSpPr/>
          <p:nvPr/>
        </p:nvSpPr>
        <p:spPr>
          <a:xfrm>
            <a:off x="-9525" y="4094469"/>
            <a:ext cx="12192000" cy="15727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463963E-44AD-4EE0-F913-88F13BD33BE1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en-GB" dirty="0"/>
              <a:t>Aude Perrine</a:t>
            </a:r>
            <a:br>
              <a:rPr lang="en-GB" dirty="0"/>
            </a:br>
            <a:r>
              <a:rPr lang="en-GB" dirty="0"/>
              <a:t>South Pole</a:t>
            </a:r>
          </a:p>
          <a:p>
            <a:r>
              <a:rPr lang="it-IT" dirty="0">
                <a:hlinkClick r:id="rId3"/>
              </a:rPr>
              <a:t>a.perrine@southpole.com</a:t>
            </a:r>
            <a:endParaRPr lang="it-IT" dirty="0"/>
          </a:p>
          <a:p>
            <a:r>
              <a:rPr lang="it-IT" dirty="0">
                <a:hlinkClick r:id="rId4"/>
              </a:rPr>
              <a:t>www.southpole.com</a:t>
            </a:r>
            <a:r>
              <a:rPr lang="it-IT" dirty="0"/>
              <a:t>      </a:t>
            </a:r>
            <a:endParaRPr lang="en-GB" dirty="0"/>
          </a:p>
          <a:p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0EF6944-B7E0-9280-46C9-A00419CEA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pic>
        <p:nvPicPr>
          <p:cNvPr id="9" name="Picture 2" descr="Announcing a new look and logo: South Pole Group rebrands to South Pole">
            <a:extLst>
              <a:ext uri="{FF2B5EF4-FFF2-40B4-BE49-F238E27FC236}">
                <a16:creationId xmlns:a16="http://schemas.microsoft.com/office/drawing/2014/main" id="{1BD0AC25-DB19-6569-F69A-DB9BA4EEC3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4275" y="4805545"/>
            <a:ext cx="4743450" cy="96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6155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F7C5378-A18E-F132-33F8-2439582BED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6437" y="232471"/>
            <a:ext cx="9514841" cy="1004380"/>
          </a:xfrm>
          <a:prstGeom prst="rect">
            <a:avLst/>
          </a:prstGeom>
        </p:spPr>
      </p:pic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98ED0A5C-B1F0-A944-0555-E3E3B7CFA7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94" y="4717176"/>
            <a:ext cx="1537163" cy="10532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17910DA-9265-F335-841B-267430206F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7658" y="4847264"/>
            <a:ext cx="1540727" cy="61994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C67AC3B6-FF09-E86F-ACA5-85410D39AB4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7189" y="1953996"/>
            <a:ext cx="3094543" cy="1224649"/>
          </a:xfrm>
          <a:prstGeom prst="rect">
            <a:avLst/>
          </a:prstGeom>
        </p:spPr>
      </p:pic>
      <p:pic>
        <p:nvPicPr>
          <p:cNvPr id="8" name="Picture 7" descr="A picture containing shape&#10;&#10;Description automatically generated">
            <a:extLst>
              <a:ext uri="{FF2B5EF4-FFF2-40B4-BE49-F238E27FC236}">
                <a16:creationId xmlns:a16="http://schemas.microsoft.com/office/drawing/2014/main" id="{BAA79A97-A744-4E5D-C725-95FB73CE6F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9308" y="2188590"/>
            <a:ext cx="938825" cy="1016719"/>
          </a:xfrm>
          <a:prstGeom prst="rect">
            <a:avLst/>
          </a:prstGeom>
        </p:spPr>
      </p:pic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CAD00AC7-923F-DAE9-D747-E35E1E17C83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770" y="5938983"/>
            <a:ext cx="1323897" cy="551624"/>
          </a:xfrm>
          <a:prstGeom prst="rect">
            <a:avLst/>
          </a:prstGeom>
        </p:spPr>
      </p:pic>
      <p:pic>
        <p:nvPicPr>
          <p:cNvPr id="10" name="Picture 9" descr="A picture containing logo&#10;&#10;Description automatically generated">
            <a:extLst>
              <a:ext uri="{FF2B5EF4-FFF2-40B4-BE49-F238E27FC236}">
                <a16:creationId xmlns:a16="http://schemas.microsoft.com/office/drawing/2014/main" id="{51CD7E15-555F-B552-7DD1-5A801B47DA9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555" y="4657539"/>
            <a:ext cx="1225550" cy="73776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32F1418-3BC5-51E6-E549-D427BA59DBF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4956" y="4743977"/>
            <a:ext cx="1701800" cy="553085"/>
          </a:xfrm>
          <a:prstGeom prst="rect">
            <a:avLst/>
          </a:prstGeom>
        </p:spPr>
      </p:pic>
      <p:pic>
        <p:nvPicPr>
          <p:cNvPr id="12" name="Picture 11" descr="A picture containing text&#10;&#10;Description automatically generated">
            <a:extLst>
              <a:ext uri="{FF2B5EF4-FFF2-40B4-BE49-F238E27FC236}">
                <a16:creationId xmlns:a16="http://schemas.microsoft.com/office/drawing/2014/main" id="{D6C665B7-2F7D-E704-7599-3EF86D714CF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3923" y="2183518"/>
            <a:ext cx="2336800" cy="700291"/>
          </a:xfrm>
          <a:prstGeom prst="rect">
            <a:avLst/>
          </a:prstGeom>
        </p:spPr>
      </p:pic>
      <p:pic>
        <p:nvPicPr>
          <p:cNvPr id="13" name="Picture 12" descr="Shape&#10;&#10;Description automatically generated with medium confidence">
            <a:extLst>
              <a:ext uri="{FF2B5EF4-FFF2-40B4-BE49-F238E27FC236}">
                <a16:creationId xmlns:a16="http://schemas.microsoft.com/office/drawing/2014/main" id="{5C30B21B-DDD6-3DAE-5601-ABC04D7AC4F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2800" y="2327388"/>
            <a:ext cx="2059167" cy="412551"/>
          </a:xfrm>
          <a:prstGeom prst="rect">
            <a:avLst/>
          </a:prstGeom>
        </p:spPr>
      </p:pic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6D8B330E-54DD-3AD5-AB77-DCB755D6E70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876" y="3341472"/>
            <a:ext cx="853529" cy="93980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43527BB-AA46-85EF-06D7-16F773948BA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144258" y="3452506"/>
            <a:ext cx="1852253" cy="848360"/>
          </a:xfrm>
          <a:prstGeom prst="rect">
            <a:avLst/>
          </a:prstGeom>
        </p:spPr>
      </p:pic>
      <p:pic>
        <p:nvPicPr>
          <p:cNvPr id="16" name="Picture 15" descr="Logo, company name&#10;&#10;Description automatically generated">
            <a:extLst>
              <a:ext uri="{FF2B5EF4-FFF2-40B4-BE49-F238E27FC236}">
                <a16:creationId xmlns:a16="http://schemas.microsoft.com/office/drawing/2014/main" id="{556A780C-2151-597D-2112-9B5764DFB4C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6946" y="3231527"/>
            <a:ext cx="1828800" cy="1137920"/>
          </a:xfrm>
          <a:prstGeom prst="rect">
            <a:avLst/>
          </a:prstGeom>
        </p:spPr>
      </p:pic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A6808CC2-7DDA-7D4C-69A1-C60BD4091A9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3623" y="3538322"/>
            <a:ext cx="2184400" cy="5461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47B59B8-AE8F-57E3-C16C-DD7ECFA62A6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0080" y="3596393"/>
            <a:ext cx="2285153" cy="429959"/>
          </a:xfrm>
          <a:prstGeom prst="rect">
            <a:avLst/>
          </a:prstGeom>
        </p:spPr>
      </p:pic>
      <p:pic>
        <p:nvPicPr>
          <p:cNvPr id="19" name="Picture 18" descr="A picture containing logo&#10;&#10;Description automatically generated">
            <a:extLst>
              <a:ext uri="{FF2B5EF4-FFF2-40B4-BE49-F238E27FC236}">
                <a16:creationId xmlns:a16="http://schemas.microsoft.com/office/drawing/2014/main" id="{3D985E9A-74CA-6E83-BBDE-47EE1D51661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650" y="4510215"/>
            <a:ext cx="1098550" cy="1098550"/>
          </a:xfrm>
          <a:prstGeom prst="rect">
            <a:avLst/>
          </a:prstGeom>
        </p:spPr>
      </p:pic>
      <p:pic>
        <p:nvPicPr>
          <p:cNvPr id="20" name="Picture 19" descr="Background pattern&#10;&#10;Description automatically generated">
            <a:extLst>
              <a:ext uri="{FF2B5EF4-FFF2-40B4-BE49-F238E27FC236}">
                <a16:creationId xmlns:a16="http://schemas.microsoft.com/office/drawing/2014/main" id="{BCE43ACB-3D5A-CEDA-5D81-5D3D08B8A92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5593" y="5902511"/>
            <a:ext cx="1633385" cy="744306"/>
          </a:xfrm>
          <a:prstGeom prst="rect">
            <a:avLst/>
          </a:prstGeom>
        </p:spPr>
      </p:pic>
      <p:pic>
        <p:nvPicPr>
          <p:cNvPr id="21" name="Picture 20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199D1E2-EBFF-5BD5-4628-CA605A186F4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1240" y="5867315"/>
            <a:ext cx="1424828" cy="716866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0F94E1B-97AB-7E8F-BF78-9DD4E2AD666A}"/>
              </a:ext>
            </a:extLst>
          </p:cNvPr>
          <p:cNvSpPr txBox="1"/>
          <p:nvPr/>
        </p:nvSpPr>
        <p:spPr>
          <a:xfrm>
            <a:off x="2335696" y="1105930"/>
            <a:ext cx="713629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Bryant Medium Italic" panose="020B0603040000020003" pitchFamily="34" charset="77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Bryant Medium Italic" panose="020B0603040000020003" pitchFamily="34" charset="77"/>
                <a:ea typeface="+mn-ea"/>
                <a:cs typeface="+mn-cs"/>
              </a:rPr>
              <a:t>All Systems Connect 2023 is made possible thanks to the generous support of our partners including the World Health Organization and 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Bryant Medium Italic" panose="020B06030400000200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80986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1E13DC-53CC-0899-FC56-005BBDB128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00968" y="2301688"/>
            <a:ext cx="5899483" cy="2887831"/>
          </a:xfrm>
        </p:spPr>
        <p:txBody>
          <a:bodyPr>
            <a:normAutofit/>
          </a:bodyPr>
          <a:lstStyle/>
          <a:p>
            <a:r>
              <a:rPr lang="en-GB" b="1" dirty="0">
                <a:solidFill>
                  <a:schemeClr val="bg2"/>
                </a:solidFill>
              </a:rPr>
              <a:t>Greenhouse gas (GHG) emissions related to </a:t>
            </a:r>
            <a:br>
              <a:rPr lang="en-GB" b="1" dirty="0">
                <a:solidFill>
                  <a:schemeClr val="bg2"/>
                </a:solidFill>
              </a:rPr>
            </a:br>
            <a:r>
              <a:rPr lang="en-GB" b="1" dirty="0">
                <a:solidFill>
                  <a:schemeClr val="bg2"/>
                </a:solidFill>
              </a:rPr>
              <a:t>water supply</a:t>
            </a:r>
          </a:p>
          <a:p>
            <a:pPr marL="185738" indent="-185738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Emissions from energy generation for water abstraction, treatment and distribution</a:t>
            </a:r>
          </a:p>
          <a:p>
            <a:pPr marL="185738" indent="-185738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Emissions from boiling drinking water </a:t>
            </a:r>
            <a:br>
              <a:rPr lang="en-GB" sz="2000" dirty="0"/>
            </a:br>
            <a:r>
              <a:rPr lang="en-GB" sz="2000" dirty="0"/>
              <a:t>for making it safe for consumption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GB" sz="2000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D6AE15DB-F2D4-79CF-D516-945E50DCBFF8}"/>
              </a:ext>
            </a:extLst>
          </p:cNvPr>
          <p:cNvPicPr>
            <a:picLocks noGrp="1" noChangeAspect="1"/>
          </p:cNvPicPr>
          <p:nvPr>
            <p:ph type="pic" idx="10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978" r="11978"/>
          <a:stretch/>
        </p:blipFill>
        <p:spPr>
          <a:xfrm>
            <a:off x="-1535368" y="-634551"/>
            <a:ext cx="7074775" cy="6979789"/>
          </a:xfrm>
        </p:spPr>
      </p:pic>
    </p:spTree>
    <p:extLst>
      <p:ext uri="{BB962C8B-B14F-4D97-AF65-F5344CB8AC3E}">
        <p14:creationId xmlns:p14="http://schemas.microsoft.com/office/powerpoint/2010/main" val="367805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8FB852C0-A614-CCC0-A1C5-8A4F117119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00968" y="2301688"/>
            <a:ext cx="5899483" cy="2887831"/>
          </a:xfrm>
        </p:spPr>
        <p:txBody>
          <a:bodyPr>
            <a:normAutofit/>
          </a:bodyPr>
          <a:lstStyle/>
          <a:p>
            <a:r>
              <a:rPr lang="en-GB" b="1" dirty="0">
                <a:solidFill>
                  <a:schemeClr val="bg2"/>
                </a:solidFill>
              </a:rPr>
              <a:t>Greenhouse gas (GHG) emissions related to </a:t>
            </a:r>
            <a:br>
              <a:rPr lang="en-GB" b="1" dirty="0">
                <a:solidFill>
                  <a:schemeClr val="bg2"/>
                </a:solidFill>
              </a:rPr>
            </a:br>
            <a:r>
              <a:rPr lang="en-GB" b="1" dirty="0">
                <a:solidFill>
                  <a:schemeClr val="bg2"/>
                </a:solidFill>
              </a:rPr>
              <a:t>water supply</a:t>
            </a:r>
          </a:p>
          <a:p>
            <a:pPr marL="185738" indent="-185738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Emissions from energy generation for water abstraction, treatment and distribution</a:t>
            </a:r>
          </a:p>
          <a:p>
            <a:pPr marL="185738" indent="-185738">
              <a:lnSpc>
                <a:spcPct val="100000"/>
              </a:lnSpc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2000" b="1" dirty="0"/>
              <a:t>Emissions from boiling drinking water </a:t>
            </a:r>
            <a:br>
              <a:rPr lang="en-GB" sz="2000" b="1" dirty="0"/>
            </a:br>
            <a:r>
              <a:rPr lang="en-GB" sz="2000" b="1" dirty="0"/>
              <a:t>for making it safe for consumption</a:t>
            </a:r>
          </a:p>
          <a:p>
            <a: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GB" sz="2000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D6AE15DB-F2D4-79CF-D516-945E50DCBFF8}"/>
              </a:ext>
            </a:extLst>
          </p:cNvPr>
          <p:cNvPicPr>
            <a:picLocks noGrp="1" noChangeAspect="1"/>
          </p:cNvPicPr>
          <p:nvPr>
            <p:ph type="pic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13" r="16213"/>
          <a:stretch/>
        </p:blipFill>
        <p:spPr>
          <a:xfrm>
            <a:off x="-1542935" y="-689113"/>
            <a:ext cx="7099185" cy="7003871"/>
          </a:xfrm>
        </p:spPr>
      </p:pic>
    </p:spTree>
    <p:extLst>
      <p:ext uri="{BB962C8B-B14F-4D97-AF65-F5344CB8AC3E}">
        <p14:creationId xmlns:p14="http://schemas.microsoft.com/office/powerpoint/2010/main" val="420315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55CC976-1571-0D17-946D-D813E83B3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oiling of drinking water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7535984-CAA7-5DE3-1A32-253F10786D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80242" y="1997903"/>
            <a:ext cx="4033773" cy="3772535"/>
          </a:xfrm>
        </p:spPr>
        <p:txBody>
          <a:bodyPr/>
          <a:lstStyle/>
          <a:p>
            <a:r>
              <a:rPr lang="en-US" dirty="0"/>
              <a:t>About 600 million people in low- and medium-income countries report boiling their drinking water.</a:t>
            </a:r>
          </a:p>
          <a:p>
            <a:endParaRPr lang="en-US" dirty="0"/>
          </a:p>
          <a:p>
            <a:r>
              <a:rPr lang="en-US" dirty="0"/>
              <a:t>Mainly in the Western Pacific and Southeast Asia.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24EFD3F4-0A14-4E73-9B8F-FEC49DBCE8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7399328"/>
              </p:ext>
            </p:extLst>
          </p:nvPr>
        </p:nvGraphicFramePr>
        <p:xfrm>
          <a:off x="839788" y="1456434"/>
          <a:ext cx="6170343" cy="39451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DA522E2-64C6-6760-F131-E0C5CB1FAF85}"/>
              </a:ext>
            </a:extLst>
          </p:cNvPr>
          <p:cNvSpPr txBox="1"/>
          <p:nvPr/>
        </p:nvSpPr>
        <p:spPr>
          <a:xfrm>
            <a:off x="747810" y="6078923"/>
            <a:ext cx="977590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000" b="1" i="0" u="none" strike="noStrike" baseline="0" dirty="0">
                <a:solidFill>
                  <a:schemeClr val="bg2"/>
                </a:solidFill>
                <a:latin typeface="Quicksand"/>
              </a:rPr>
              <a:t>Source: Rosa, G. and </a:t>
            </a:r>
            <a:r>
              <a:rPr lang="en-US" sz="1000" b="1" i="0" u="none" strike="noStrike" baseline="0" dirty="0" err="1">
                <a:solidFill>
                  <a:schemeClr val="bg2"/>
                </a:solidFill>
                <a:latin typeface="Quicksand"/>
              </a:rPr>
              <a:t>Clasen</a:t>
            </a:r>
            <a:r>
              <a:rPr lang="en-US" sz="1000" b="1" i="0" u="none" strike="noStrike" baseline="0" dirty="0">
                <a:solidFill>
                  <a:schemeClr val="bg2"/>
                </a:solidFill>
                <a:latin typeface="Quicksand"/>
              </a:rPr>
              <a:t>, T</a:t>
            </a:r>
            <a:r>
              <a:rPr lang="en-US" sz="1000" b="1" u="none" strike="noStrike" baseline="0" dirty="0">
                <a:solidFill>
                  <a:schemeClr val="bg2"/>
                </a:solidFill>
                <a:latin typeface="Quicksand"/>
              </a:rPr>
              <a:t>. (2010) </a:t>
            </a:r>
            <a:r>
              <a:rPr lang="en-US" sz="1000" b="0" u="none" strike="noStrike" baseline="0" dirty="0">
                <a:solidFill>
                  <a:schemeClr val="bg2"/>
                </a:solidFill>
                <a:latin typeface="Quicksand"/>
              </a:rPr>
              <a:t>‘Estimating the scope of household water treatment in low-and medium-income countries’, </a:t>
            </a:r>
            <a:br>
              <a:rPr lang="en-US" sz="1000" b="0" u="none" strike="noStrike" baseline="0" dirty="0">
                <a:solidFill>
                  <a:schemeClr val="bg2"/>
                </a:solidFill>
                <a:latin typeface="Quicksand"/>
              </a:rPr>
            </a:br>
            <a:r>
              <a:rPr lang="en-US" sz="1000" b="0" u="none" strike="noStrike" baseline="0" dirty="0">
                <a:solidFill>
                  <a:schemeClr val="bg2"/>
                </a:solidFill>
                <a:latin typeface="Quicksand"/>
              </a:rPr>
              <a:t>American Journal of Tropical Medicine and Hygiene 82(2): 289–300 &lt;http://dx.doi.org/10.4269/ ajtmh.2010.09-0382&gt;</a:t>
            </a:r>
            <a:endParaRPr lang="en-CH" sz="2000" dirty="0">
              <a:solidFill>
                <a:schemeClr val="bg2"/>
              </a:solidFill>
              <a:latin typeface="Quicksand"/>
            </a:endParaRPr>
          </a:p>
        </p:txBody>
      </p:sp>
    </p:spTree>
    <p:extLst>
      <p:ext uri="{BB962C8B-B14F-4D97-AF65-F5344CB8AC3E}">
        <p14:creationId xmlns:p14="http://schemas.microsoft.com/office/powerpoint/2010/main" val="21086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55CC976-1571-0D17-946D-D813E83B3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AFFF"/>
                </a:solidFill>
              </a:rPr>
              <a:t>Emission redu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BCC83D2-8BDE-0F1B-C013-88F43A470C5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04652" y="5349087"/>
            <a:ext cx="26141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Quicksand"/>
              </a:rPr>
              <a:t>GHG emissions </a:t>
            </a:r>
            <a:br>
              <a:rPr lang="en-US" dirty="0">
                <a:solidFill>
                  <a:srgbClr val="000000"/>
                </a:solidFill>
                <a:latin typeface="Quicksand"/>
              </a:rPr>
            </a:br>
            <a:r>
              <a:rPr lang="en-US" dirty="0">
                <a:solidFill>
                  <a:srgbClr val="000000"/>
                </a:solidFill>
                <a:latin typeface="Quicksand"/>
              </a:rPr>
              <a:t>before intervention</a:t>
            </a:r>
            <a:endParaRPr lang="de-CH" dirty="0">
              <a:solidFill>
                <a:srgbClr val="000000"/>
              </a:solidFill>
              <a:latin typeface="Quicksand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AE5AA9E-8CA4-1FBA-3DEB-62D57718776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039556" y="3834354"/>
            <a:ext cx="5151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400" b="1" dirty="0">
                <a:solidFill>
                  <a:srgbClr val="FFFFFF"/>
                </a:solidFill>
                <a:latin typeface="Quicksand"/>
              </a:rPr>
              <a:t>-CO</a:t>
            </a:r>
            <a:r>
              <a:rPr lang="de-CH" sz="1400" b="1" baseline="-25000" dirty="0">
                <a:solidFill>
                  <a:srgbClr val="FFFFFF"/>
                </a:solidFill>
                <a:latin typeface="Quicksand"/>
              </a:rPr>
              <a:t>2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2B9C3B8-E93D-7364-CB78-8D8B2FD3A0CC}"/>
              </a:ext>
            </a:extLst>
          </p:cNvPr>
          <p:cNvGrpSpPr/>
          <p:nvPr/>
        </p:nvGrpSpPr>
        <p:grpSpPr>
          <a:xfrm>
            <a:off x="8586324" y="3032231"/>
            <a:ext cx="3828517" cy="1710797"/>
            <a:chOff x="8586324" y="3032231"/>
            <a:chExt cx="3828517" cy="1710797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D3D18690-66F4-1E10-FC01-ADA716A3598A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>
            <a:xfrm>
              <a:off x="10829404" y="3296478"/>
              <a:ext cx="1585437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Quicksand"/>
                </a:rPr>
                <a:t>Carbon</a:t>
              </a:r>
              <a:r>
                <a:rPr lang="en-US" sz="1600" b="1" dirty="0">
                  <a:solidFill>
                    <a:srgbClr val="000000"/>
                  </a:solidFill>
                  <a:latin typeface="Quicksand"/>
                </a:rPr>
                <a:t> </a:t>
              </a:r>
              <a:r>
                <a:rPr lang="en-US" b="1" dirty="0">
                  <a:solidFill>
                    <a:srgbClr val="000000"/>
                  </a:solidFill>
                  <a:latin typeface="Quicksand"/>
                </a:rPr>
                <a:t>credits</a:t>
              </a:r>
              <a:endParaRPr lang="en-US" sz="1600" b="1" dirty="0">
                <a:solidFill>
                  <a:srgbClr val="000000"/>
                </a:solidFill>
                <a:latin typeface="Quicksand"/>
              </a:endParaRPr>
            </a:p>
            <a:p>
              <a:endParaRPr lang="en-US" sz="1400" dirty="0">
                <a:solidFill>
                  <a:srgbClr val="000000"/>
                </a:solidFill>
                <a:latin typeface="Quicksand"/>
              </a:endParaRPr>
            </a:p>
            <a:p>
              <a:endParaRPr lang="en-US" sz="1400" dirty="0">
                <a:solidFill>
                  <a:srgbClr val="000000"/>
                </a:solidFill>
                <a:latin typeface="Quicksand"/>
              </a:endParaRPr>
            </a:p>
            <a:p>
              <a:endParaRPr lang="en-US" sz="1400" dirty="0">
                <a:solidFill>
                  <a:srgbClr val="000000"/>
                </a:solidFill>
                <a:latin typeface="Quicksand"/>
              </a:endParaRPr>
            </a:p>
            <a:p>
              <a:endParaRPr lang="en-US" sz="1400" dirty="0">
                <a:solidFill>
                  <a:srgbClr val="000000"/>
                </a:solidFill>
                <a:latin typeface="Quicksand"/>
              </a:endParaRPr>
            </a:p>
            <a:p>
              <a:endParaRPr lang="en-US" sz="1400" dirty="0">
                <a:solidFill>
                  <a:srgbClr val="000000"/>
                </a:solidFill>
                <a:latin typeface="Quicksand"/>
              </a:endParaRPr>
            </a:p>
          </p:txBody>
        </p:sp>
        <p:pic>
          <p:nvPicPr>
            <p:cNvPr id="15" name="Picture 20" descr="icon-certificates.png">
              <a:extLst>
                <a:ext uri="{FF2B5EF4-FFF2-40B4-BE49-F238E27FC236}">
                  <a16:creationId xmlns:a16="http://schemas.microsoft.com/office/drawing/2014/main" id="{D8C3E3EE-90AC-3F9A-D894-2CD89B58EBA0}"/>
                </a:ext>
              </a:extLst>
            </p:cNvPr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79185" y="3032231"/>
              <a:ext cx="981581" cy="1279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AutoShape 14">
              <a:extLst>
                <a:ext uri="{FF2B5EF4-FFF2-40B4-BE49-F238E27FC236}">
                  <a16:creationId xmlns:a16="http://schemas.microsoft.com/office/drawing/2014/main" id="{9E24FFCA-BC06-55F1-99F8-FE841F44FA54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 rot="16200000">
              <a:off x="8603786" y="3239069"/>
              <a:ext cx="835025" cy="869950"/>
            </a:xfrm>
            <a:prstGeom prst="downArrow">
              <a:avLst>
                <a:gd name="adj1" fmla="val 50000"/>
                <a:gd name="adj2" fmla="val 51993"/>
              </a:avLst>
            </a:prstGeom>
            <a:solidFill>
              <a:schemeClr val="accent3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Quicksand"/>
              </a:endParaRPr>
            </a:p>
          </p:txBody>
        </p:sp>
      </p:grpSp>
      <p:sp>
        <p:nvSpPr>
          <p:cNvPr id="21" name="TextBox 35">
            <a:extLst>
              <a:ext uri="{FF2B5EF4-FFF2-40B4-BE49-F238E27FC236}">
                <a16:creationId xmlns:a16="http://schemas.microsoft.com/office/drawing/2014/main" id="{8FB4EA8C-CA81-8AE5-EB33-60A2B1A7BAF5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88272" y="1772349"/>
            <a:ext cx="2530817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de-CH" sz="2000" b="1" dirty="0">
                <a:solidFill>
                  <a:srgbClr val="22334A"/>
                </a:solidFill>
                <a:latin typeface="Quicksand"/>
              </a:rPr>
              <a:t>Baseline </a:t>
            </a:r>
            <a:r>
              <a:rPr lang="de-CH" sz="2000" b="1" dirty="0" err="1">
                <a:solidFill>
                  <a:srgbClr val="22334A"/>
                </a:solidFill>
                <a:latin typeface="Quicksand"/>
              </a:rPr>
              <a:t>scenario</a:t>
            </a:r>
            <a:r>
              <a:rPr lang="de-CH" sz="2000" b="1" dirty="0">
                <a:solidFill>
                  <a:srgbClr val="22334A"/>
                </a:solidFill>
                <a:latin typeface="Quicksand"/>
              </a:rPr>
              <a:t>:</a:t>
            </a:r>
            <a:br>
              <a:rPr lang="de-CH" sz="2000" b="1" dirty="0">
                <a:solidFill>
                  <a:srgbClr val="22334A"/>
                </a:solidFill>
                <a:latin typeface="Quicksand"/>
              </a:rPr>
            </a:br>
            <a:r>
              <a:rPr lang="de-CH" sz="2000" b="1" dirty="0" err="1">
                <a:solidFill>
                  <a:srgbClr val="22334A"/>
                </a:solidFill>
                <a:latin typeface="Quicksand"/>
              </a:rPr>
              <a:t>boiling</a:t>
            </a:r>
            <a:r>
              <a:rPr lang="de-CH" sz="2000" b="1" dirty="0">
                <a:solidFill>
                  <a:srgbClr val="22334A"/>
                </a:solidFill>
                <a:latin typeface="Quicksand"/>
              </a:rPr>
              <a:t> water</a:t>
            </a:r>
            <a:endParaRPr lang="en-US" sz="2000" b="1" dirty="0">
              <a:solidFill>
                <a:srgbClr val="22334A"/>
              </a:solidFill>
              <a:latin typeface="Quicksand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7637814-46CE-4331-A1AA-9B45C4433A20}"/>
              </a:ext>
            </a:extLst>
          </p:cNvPr>
          <p:cNvSpPr/>
          <p:nvPr/>
        </p:nvSpPr>
        <p:spPr>
          <a:xfrm>
            <a:off x="1364974" y="2849217"/>
            <a:ext cx="755374" cy="2340251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42F5CFE-1092-BBAF-5C75-BB1B51FA1502}"/>
              </a:ext>
            </a:extLst>
          </p:cNvPr>
          <p:cNvCxnSpPr/>
          <p:nvPr/>
        </p:nvCxnSpPr>
        <p:spPr>
          <a:xfrm>
            <a:off x="993913" y="5194853"/>
            <a:ext cx="1537252" cy="0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2EC395-DF73-F013-8025-D1CD037D1B97}"/>
              </a:ext>
            </a:extLst>
          </p:cNvPr>
          <p:cNvGrpSpPr/>
          <p:nvPr/>
        </p:nvGrpSpPr>
        <p:grpSpPr>
          <a:xfrm>
            <a:off x="2993805" y="1744213"/>
            <a:ext cx="3979562" cy="4251205"/>
            <a:chOff x="2993805" y="1744213"/>
            <a:chExt cx="3979562" cy="4251205"/>
          </a:xfrm>
        </p:grpSpPr>
        <p:sp>
          <p:nvSpPr>
            <p:cNvPr id="4" name="TextBox 35">
              <a:extLst>
                <a:ext uri="{FF2B5EF4-FFF2-40B4-BE49-F238E27FC236}">
                  <a16:creationId xmlns:a16="http://schemas.microsoft.com/office/drawing/2014/main" id="{924B6C85-1ED2-870B-75C2-DB4050FF52DE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025057" y="1744213"/>
              <a:ext cx="2948310" cy="707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de-CH" sz="2000" b="1" dirty="0">
                  <a:solidFill>
                    <a:srgbClr val="22334A"/>
                  </a:solidFill>
                  <a:latin typeface="Quicksand"/>
                </a:rPr>
                <a:t>Project </a:t>
              </a:r>
              <a:r>
                <a:rPr lang="de-CH" sz="2000" b="1" dirty="0" err="1">
                  <a:solidFill>
                    <a:srgbClr val="22334A"/>
                  </a:solidFill>
                  <a:latin typeface="Quicksand"/>
                </a:rPr>
                <a:t>scenario</a:t>
              </a:r>
              <a:r>
                <a:rPr lang="de-CH" sz="2000" b="1" dirty="0">
                  <a:solidFill>
                    <a:srgbClr val="22334A"/>
                  </a:solidFill>
                  <a:latin typeface="Quicksand"/>
                </a:rPr>
                <a:t>:</a:t>
              </a:r>
              <a:br>
                <a:rPr lang="de-CH" sz="2000" b="1" dirty="0">
                  <a:solidFill>
                    <a:srgbClr val="22334A"/>
                  </a:solidFill>
                  <a:latin typeface="Quicksand"/>
                </a:rPr>
              </a:br>
              <a:r>
                <a:rPr lang="de-CH" sz="2000" b="1" dirty="0">
                  <a:solidFill>
                    <a:srgbClr val="22334A"/>
                  </a:solidFill>
                  <a:latin typeface="Quicksand"/>
                </a:rPr>
                <a:t>e.g. </a:t>
              </a:r>
              <a:r>
                <a:rPr lang="de-CH" sz="2000" b="1" dirty="0" err="1">
                  <a:solidFill>
                    <a:srgbClr val="22334A"/>
                  </a:solidFill>
                  <a:latin typeface="Quicksand"/>
                </a:rPr>
                <a:t>use</a:t>
              </a:r>
              <a:r>
                <a:rPr lang="de-CH" sz="2000" b="1" dirty="0">
                  <a:solidFill>
                    <a:srgbClr val="22334A"/>
                  </a:solidFill>
                  <a:latin typeface="Quicksand"/>
                </a:rPr>
                <a:t> </a:t>
              </a:r>
              <a:r>
                <a:rPr lang="de-CH" sz="2000" b="1" dirty="0" err="1">
                  <a:solidFill>
                    <a:srgbClr val="22334A"/>
                  </a:solidFill>
                  <a:latin typeface="Quicksand"/>
                </a:rPr>
                <a:t>of</a:t>
              </a:r>
              <a:r>
                <a:rPr lang="de-CH" sz="2000" b="1" dirty="0">
                  <a:solidFill>
                    <a:srgbClr val="22334A"/>
                  </a:solidFill>
                  <a:latin typeface="Quicksand"/>
                </a:rPr>
                <a:t> </a:t>
              </a:r>
              <a:r>
                <a:rPr lang="de-CH" sz="2000" b="1" dirty="0" err="1">
                  <a:solidFill>
                    <a:srgbClr val="22334A"/>
                  </a:solidFill>
                  <a:latin typeface="Quicksand"/>
                </a:rPr>
                <a:t>water</a:t>
              </a:r>
              <a:r>
                <a:rPr lang="de-CH" sz="2000" b="1" dirty="0">
                  <a:solidFill>
                    <a:srgbClr val="22334A"/>
                  </a:solidFill>
                  <a:latin typeface="Quicksand"/>
                </a:rPr>
                <a:t> </a:t>
              </a:r>
              <a:r>
                <a:rPr lang="de-CH" sz="2000" b="1" dirty="0" err="1">
                  <a:solidFill>
                    <a:srgbClr val="22334A"/>
                  </a:solidFill>
                  <a:latin typeface="Quicksand"/>
                </a:rPr>
                <a:t>filter</a:t>
              </a:r>
              <a:endParaRPr lang="en-US" sz="2000" b="1" dirty="0">
                <a:solidFill>
                  <a:srgbClr val="22334A"/>
                </a:solidFill>
                <a:latin typeface="Quicksand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F27CC16-3A61-F7E7-F271-E8A95F20FFE5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>
            <a:xfrm>
              <a:off x="4170330" y="5349087"/>
              <a:ext cx="215159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000000"/>
                  </a:solidFill>
                  <a:latin typeface="Quicksand"/>
                </a:rPr>
                <a:t>GHG emissions after intervention</a:t>
              </a:r>
              <a:endParaRPr lang="de-CH" sz="2400" dirty="0">
                <a:solidFill>
                  <a:srgbClr val="000000"/>
                </a:solidFill>
                <a:latin typeface="Quicksand"/>
              </a:endParaRPr>
            </a:p>
          </p:txBody>
        </p:sp>
        <p:sp>
          <p:nvSpPr>
            <p:cNvPr id="16" name="AutoShape 14">
              <a:extLst>
                <a:ext uri="{FF2B5EF4-FFF2-40B4-BE49-F238E27FC236}">
                  <a16:creationId xmlns:a16="http://schemas.microsoft.com/office/drawing/2014/main" id="{0F592F34-1BCE-7717-B3B0-740005BF2940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 rot="16200000">
              <a:off x="3011267" y="3239069"/>
              <a:ext cx="835025" cy="869950"/>
            </a:xfrm>
            <a:prstGeom prst="downArrow">
              <a:avLst>
                <a:gd name="adj1" fmla="val 50000"/>
                <a:gd name="adj2" fmla="val 47232"/>
              </a:avLst>
            </a:prstGeom>
            <a:solidFill>
              <a:schemeClr val="accent3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Quicksand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8C7A134-DE2D-36BD-B84B-7092697E9398}"/>
                </a:ext>
              </a:extLst>
            </p:cNvPr>
            <p:cNvSpPr/>
            <p:nvPr/>
          </p:nvSpPr>
          <p:spPr>
            <a:xfrm>
              <a:off x="4861836" y="4753555"/>
              <a:ext cx="755374" cy="417444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C69E27BB-B19F-17A5-D618-4DBE6171672D}"/>
                </a:ext>
              </a:extLst>
            </p:cNvPr>
            <p:cNvCxnSpPr/>
            <p:nvPr/>
          </p:nvCxnSpPr>
          <p:spPr>
            <a:xfrm>
              <a:off x="4476199" y="5174975"/>
              <a:ext cx="1537252" cy="0"/>
            </a:xfrm>
            <a:prstGeom prst="line">
              <a:avLst/>
            </a:prstGeom>
            <a:ln w="28575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D248659-1B67-2327-0D71-42967E489086}"/>
              </a:ext>
            </a:extLst>
          </p:cNvPr>
          <p:cNvGrpSpPr/>
          <p:nvPr/>
        </p:nvGrpSpPr>
        <p:grpSpPr>
          <a:xfrm>
            <a:off x="2120348" y="2835966"/>
            <a:ext cx="6457399" cy="3159452"/>
            <a:chOff x="2120348" y="2835966"/>
            <a:chExt cx="6457399" cy="3159452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077FEE0-72EF-B5D4-5867-4CC21DD99A21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>
            <a:xfrm>
              <a:off x="7183163" y="5349087"/>
              <a:ext cx="136044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000000"/>
                  </a:solidFill>
                  <a:latin typeface="Quicksand"/>
                </a:rPr>
                <a:t>Emission </a:t>
              </a:r>
            </a:p>
            <a:p>
              <a:pPr algn="ctr"/>
              <a:r>
                <a:rPr lang="en-US" dirty="0">
                  <a:solidFill>
                    <a:srgbClr val="000000"/>
                  </a:solidFill>
                  <a:latin typeface="Quicksand"/>
                </a:rPr>
                <a:t>reductions</a:t>
              </a:r>
              <a:endParaRPr lang="de-CH" dirty="0">
                <a:solidFill>
                  <a:srgbClr val="000000"/>
                </a:solidFill>
                <a:latin typeface="Quicksand"/>
              </a:endParaRPr>
            </a:p>
          </p:txBody>
        </p:sp>
        <p:sp>
          <p:nvSpPr>
            <p:cNvPr id="14" name="AutoShape 14">
              <a:extLst>
                <a:ext uri="{FF2B5EF4-FFF2-40B4-BE49-F238E27FC236}">
                  <a16:creationId xmlns:a16="http://schemas.microsoft.com/office/drawing/2014/main" id="{3B43CBBF-B6FB-0EA0-9983-5B8DB09C4266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rot="16200000">
              <a:off x="6120879" y="3239069"/>
              <a:ext cx="835025" cy="869950"/>
            </a:xfrm>
            <a:prstGeom prst="downArrow">
              <a:avLst>
                <a:gd name="adj1" fmla="val 50000"/>
                <a:gd name="adj2" fmla="val 44057"/>
              </a:avLst>
            </a:prstGeom>
            <a:solidFill>
              <a:schemeClr val="accent3"/>
            </a:solidFill>
            <a:ln w="9525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Quicksand"/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5207E15F-1B28-424C-B432-A793BF117521}"/>
                </a:ext>
              </a:extLst>
            </p:cNvPr>
            <p:cNvCxnSpPr>
              <a:cxnSpLocks/>
            </p:cNvCxnSpPr>
            <p:nvPr/>
          </p:nvCxnSpPr>
          <p:spPr>
            <a:xfrm>
              <a:off x="2120348" y="2841380"/>
              <a:ext cx="5327374" cy="0"/>
            </a:xfrm>
            <a:prstGeom prst="line">
              <a:avLst/>
            </a:prstGeom>
            <a:ln w="28575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F1CB8E09-FB2B-F36B-C75D-761ABD4BA69D}"/>
                </a:ext>
              </a:extLst>
            </p:cNvPr>
            <p:cNvCxnSpPr>
              <a:cxnSpLocks/>
            </p:cNvCxnSpPr>
            <p:nvPr/>
          </p:nvCxnSpPr>
          <p:spPr>
            <a:xfrm>
              <a:off x="5632067" y="4745975"/>
              <a:ext cx="1961913" cy="0"/>
            </a:xfrm>
            <a:prstGeom prst="line">
              <a:avLst/>
            </a:prstGeom>
            <a:ln w="28575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F622391-3E21-D08F-C932-E99B0CFE712C}"/>
                </a:ext>
              </a:extLst>
            </p:cNvPr>
            <p:cNvSpPr/>
            <p:nvPr/>
          </p:nvSpPr>
          <p:spPr>
            <a:xfrm>
              <a:off x="7453626" y="2835966"/>
              <a:ext cx="755374" cy="1901084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>
                  <a:latin typeface="Quicksand" pitchFamily="2" charset="0"/>
                </a:rPr>
                <a:t>-</a:t>
              </a:r>
              <a:r>
                <a:rPr lang="en-US" b="1" dirty="0">
                  <a:latin typeface="Quicksand" pitchFamily="2" charset="0"/>
                </a:rPr>
                <a:t>CO</a:t>
              </a:r>
              <a:r>
                <a:rPr lang="en-US" b="1" baseline="-25000" dirty="0">
                  <a:latin typeface="Quicksand" pitchFamily="2" charset="0"/>
                </a:rPr>
                <a:t>2</a:t>
              </a:r>
              <a:endParaRPr lang="en-GB" b="1" dirty="0">
                <a:latin typeface="Quicksand" pitchFamily="2" charset="0"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C0E4BC78-0855-3383-729E-2BE6841BA602}"/>
                </a:ext>
              </a:extLst>
            </p:cNvPr>
            <p:cNvCxnSpPr/>
            <p:nvPr/>
          </p:nvCxnSpPr>
          <p:spPr>
            <a:xfrm>
              <a:off x="7040495" y="4744280"/>
              <a:ext cx="1537252" cy="0"/>
            </a:xfrm>
            <a:prstGeom prst="line">
              <a:avLst/>
            </a:prstGeom>
            <a:ln w="28575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77731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55CC976-1571-0D17-946D-D813E83B3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AFFF"/>
                </a:solidFill>
              </a:rPr>
              <a:t>Carbon credit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7535984-CAA7-5DE3-1A32-253F10786D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840" y="1825625"/>
            <a:ext cx="5158630" cy="3772535"/>
          </a:xfrm>
        </p:spPr>
        <p:txBody>
          <a:bodyPr>
            <a:normAutofit/>
          </a:bodyPr>
          <a:lstStyle/>
          <a:p>
            <a:pPr marL="185738" indent="-185738">
              <a:lnSpc>
                <a:spcPct val="100000"/>
              </a:lnSpc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A carbon credit stands for </a:t>
            </a:r>
            <a:br>
              <a:rPr lang="en-US" sz="2000" dirty="0"/>
            </a:br>
            <a:r>
              <a:rPr lang="en-US" sz="2000" b="1" dirty="0"/>
              <a:t>1 </a:t>
            </a:r>
            <a:r>
              <a:rPr lang="en-US" sz="2000" b="1" dirty="0" err="1"/>
              <a:t>tonne</a:t>
            </a:r>
            <a:r>
              <a:rPr lang="en-US" sz="2000" b="1" dirty="0"/>
              <a:t> of carbon dioxide </a:t>
            </a:r>
            <a:br>
              <a:rPr lang="en-US" sz="2000" b="1" dirty="0"/>
            </a:br>
            <a:r>
              <a:rPr lang="en-US" sz="2000" b="1" dirty="0"/>
              <a:t>equivalent (tCO</a:t>
            </a:r>
            <a:r>
              <a:rPr lang="en-US" sz="2000" b="1" baseline="-25000" dirty="0"/>
              <a:t>2</a:t>
            </a:r>
            <a:r>
              <a:rPr lang="en-US" sz="2000" b="1" dirty="0"/>
              <a:t>e) </a:t>
            </a:r>
            <a:r>
              <a:rPr lang="en-US" sz="2000" dirty="0"/>
              <a:t>emissions reduced, </a:t>
            </a:r>
            <a:br>
              <a:rPr lang="en-US" sz="2000" dirty="0"/>
            </a:br>
            <a:r>
              <a:rPr lang="en-US" sz="2000" dirty="0"/>
              <a:t>removed or avoided</a:t>
            </a:r>
          </a:p>
          <a:p>
            <a:pPr marL="185738" indent="-185738">
              <a:lnSpc>
                <a:spcPct val="100000"/>
              </a:lnSpc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Carbon credits are </a:t>
            </a:r>
            <a:r>
              <a:rPr lang="en-GB" sz="2000" b="1" dirty="0"/>
              <a:t>issued by </a:t>
            </a:r>
            <a:br>
              <a:rPr lang="en-GB" sz="2000" b="1" dirty="0"/>
            </a:br>
            <a:r>
              <a:rPr lang="en-GB" sz="2000" b="1" dirty="0"/>
              <a:t>carbon standards </a:t>
            </a:r>
            <a:r>
              <a:rPr lang="en-GB" sz="2000" dirty="0"/>
              <a:t>against a </a:t>
            </a:r>
            <a:r>
              <a:rPr lang="en-US" sz="2000" dirty="0"/>
              <a:t>set of </a:t>
            </a:r>
            <a:br>
              <a:rPr lang="en-US" sz="2000" dirty="0"/>
            </a:br>
            <a:r>
              <a:rPr lang="en-US" sz="2000" dirty="0"/>
              <a:t>rules, procedures and carbon quantification methodologies</a:t>
            </a:r>
          </a:p>
          <a:p>
            <a:pPr marL="185738" indent="-185738">
              <a:lnSpc>
                <a:spcPct val="100000"/>
              </a:lnSpc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Carbon credits can be sold and </a:t>
            </a:r>
            <a:r>
              <a:rPr lang="en-US" sz="2000" b="1" dirty="0"/>
              <a:t>generate revenue </a:t>
            </a:r>
            <a:r>
              <a:rPr lang="en-US" sz="2000" dirty="0"/>
              <a:t>for an intervention</a:t>
            </a:r>
            <a:endParaRPr lang="en-GB" sz="2000" dirty="0"/>
          </a:p>
          <a:p>
            <a:endParaRPr lang="en-GB" sz="2400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8488035-5BDE-28E4-ED50-442965F24F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373" t="12845" r="1161" b="14634"/>
          <a:stretch/>
        </p:blipFill>
        <p:spPr>
          <a:xfrm>
            <a:off x="5730191" y="1986954"/>
            <a:ext cx="6312934" cy="288409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Google Shape;526;p10">
            <a:extLst>
              <a:ext uri="{FF2B5EF4-FFF2-40B4-BE49-F238E27FC236}">
                <a16:creationId xmlns:a16="http://schemas.microsoft.com/office/drawing/2014/main" id="{EC09EA0B-A4DC-9CED-2FAE-3A14FEB204C4}"/>
              </a:ext>
            </a:extLst>
          </p:cNvPr>
          <p:cNvSpPr txBox="1">
            <a:spLocks/>
          </p:cNvSpPr>
          <p:nvPr/>
        </p:nvSpPr>
        <p:spPr>
          <a:xfrm>
            <a:off x="5711687" y="1196975"/>
            <a:ext cx="5605669" cy="111613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200" b="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1pPr>
            <a:lvl2pPr marL="1825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2pPr>
            <a:lvl3pPr marL="684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8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3pPr>
            <a:lvl4pPr marL="1368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4pPr>
            <a:lvl5pPr marL="20520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-"/>
              <a:defRPr sz="1400" kern="1200">
                <a:solidFill>
                  <a:schemeClr val="tx1"/>
                </a:solidFill>
                <a:latin typeface="Quicksand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spcBef>
                <a:spcPts val="0"/>
              </a:spcBef>
              <a:buSzPts val="1600"/>
              <a:buNone/>
            </a:pPr>
            <a:r>
              <a:rPr lang="en-US" b="1" dirty="0">
                <a:solidFill>
                  <a:srgbClr val="17AFA6"/>
                </a:solidFill>
              </a:rPr>
              <a:t>Example of a project in the project registry of the Gold Standard</a:t>
            </a:r>
          </a:p>
          <a:p>
            <a:pPr marL="0" lvl="1" indent="0">
              <a:lnSpc>
                <a:spcPct val="100000"/>
              </a:lnSpc>
              <a:spcBef>
                <a:spcPts val="0"/>
              </a:spcBef>
              <a:buSzPts val="1600"/>
              <a:buFont typeface="Arial" panose="020B0604020202020204" pitchFamily="34" charset="0"/>
              <a:buNone/>
            </a:pPr>
            <a:endParaRPr lang="en-US" sz="1800" b="1" dirty="0">
              <a:solidFill>
                <a:srgbClr val="17AFA6"/>
              </a:solidFill>
            </a:endParaRPr>
          </a:p>
          <a:p>
            <a:pPr marL="914400" lvl="1" indent="-228600">
              <a:lnSpc>
                <a:spcPct val="100000"/>
              </a:lnSpc>
              <a:spcBef>
                <a:spcPts val="0"/>
              </a:spcBef>
              <a:buSzPts val="1600"/>
              <a:buFont typeface="Arial" panose="020B0604020202020204" pitchFamily="34" charset="0"/>
              <a:buNone/>
            </a:pPr>
            <a:endParaRPr lang="en-US" sz="1800" dirty="0">
              <a:solidFill>
                <a:srgbClr val="17AF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346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55CC976-1571-0D17-946D-D813E83B3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AFFF"/>
                </a:solidFill>
              </a:rPr>
              <a:t>Claims related to carbon credit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7535984-CAA7-5DE3-1A32-253F10786D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676" y="4414589"/>
            <a:ext cx="10954647" cy="1081670"/>
          </a:xfrm>
          <a:solidFill>
            <a:srgbClr val="00AFFF"/>
          </a:solidFill>
        </p:spPr>
        <p:txBody>
          <a:bodyPr>
            <a:normAutofit/>
          </a:bodyPr>
          <a:lstStyle/>
          <a:p>
            <a:endParaRPr lang="en-GB" sz="1800" b="1" i="1" dirty="0">
              <a:solidFill>
                <a:schemeClr val="bg1"/>
              </a:solidFill>
            </a:endParaRPr>
          </a:p>
          <a:p>
            <a:r>
              <a:rPr lang="en-GB" sz="2000" b="1" dirty="0">
                <a:solidFill>
                  <a:schemeClr val="bg1"/>
                </a:solidFill>
              </a:rPr>
              <a:t>Move from “offsetting emissions” to “paying for your verified climate contributions”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3EB719-34A9-4AAD-E51A-FE4CD864F7E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619" t="30244" r="12568" b="32846"/>
          <a:stretch/>
        </p:blipFill>
        <p:spPr>
          <a:xfrm>
            <a:off x="1931873" y="1597210"/>
            <a:ext cx="8660169" cy="2635200"/>
          </a:xfrm>
          <a:prstGeom prst="rect">
            <a:avLst/>
          </a:prstGeom>
          <a:ln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1652525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55CC976-1571-0D17-946D-D813E83B3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AFFF"/>
                </a:solidFill>
              </a:rPr>
              <a:t>Overview of carbon market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7535984-CAA7-5DE3-1A32-253F10786D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0661" y="6344733"/>
            <a:ext cx="10459498" cy="413876"/>
          </a:xfrm>
        </p:spPr>
        <p:txBody>
          <a:bodyPr>
            <a:normAutofit/>
          </a:bodyPr>
          <a:lstStyle/>
          <a:p>
            <a:pPr algn="l"/>
            <a:r>
              <a:rPr lang="en-US" sz="1100" b="1" i="0" u="none" strike="noStrike" baseline="0" dirty="0">
                <a:solidFill>
                  <a:schemeClr val="bg2"/>
                </a:solidFill>
                <a:latin typeface="Quicksand"/>
              </a:rPr>
              <a:t>Source: </a:t>
            </a:r>
            <a:r>
              <a:rPr lang="en-US" sz="1100" i="0" u="none" strike="noStrike" baseline="0" dirty="0">
                <a:solidFill>
                  <a:schemeClr val="bg2"/>
                </a:solidFill>
                <a:latin typeface="Quicksand"/>
              </a:rPr>
              <a:t>South Pole (2023)</a:t>
            </a:r>
            <a:endParaRPr lang="en-CH" sz="2800" dirty="0">
              <a:solidFill>
                <a:schemeClr val="bg2"/>
              </a:solidFill>
              <a:latin typeface="Quicksand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91FFC0-FB67-69E7-EA79-CA576FB1143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233" t="26830" r="10129" b="6829"/>
          <a:stretch/>
        </p:blipFill>
        <p:spPr>
          <a:xfrm>
            <a:off x="1043389" y="1434537"/>
            <a:ext cx="9471862" cy="4695650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A7910C6-AF46-74FE-CC7C-4E1D0A416C37}"/>
              </a:ext>
            </a:extLst>
          </p:cNvPr>
          <p:cNvSpPr/>
          <p:nvPr/>
        </p:nvSpPr>
        <p:spPr>
          <a:xfrm>
            <a:off x="1113687" y="5472472"/>
            <a:ext cx="1863524" cy="60470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EF0918D-EEE7-7195-FF6F-C6BA8F66C5FC}"/>
              </a:ext>
            </a:extLst>
          </p:cNvPr>
          <p:cNvSpPr/>
          <p:nvPr/>
        </p:nvSpPr>
        <p:spPr>
          <a:xfrm>
            <a:off x="7607835" y="4600980"/>
            <a:ext cx="1777891" cy="843790"/>
          </a:xfrm>
          <a:prstGeom prst="ellipse">
            <a:avLst/>
          </a:prstGeom>
          <a:noFill/>
          <a:ln w="38100">
            <a:solidFill>
              <a:srgbClr val="17AF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82433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esyroHzEq9AoUZySuIQ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RRLO.SykGn_Ii8Oimk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wH1bmeBk.SQycD57In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BAzYxuZkuxkCFqM.R.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zy0T3O7kWK8rLucWTG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v20haXAUq4qRXgfKaZ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nNjxFz4kSYe2bIPAol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zy0T3O7kWK8rLucWTG3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sBwoP_J0OLguluHulZ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fnv8Ni2ES.aQN82mt5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9QJD2u3EGT56TB4GIfqQ"/>
</p:tagLst>
</file>

<file path=ppt/theme/theme1.xml><?xml version="1.0" encoding="utf-8"?>
<a:theme xmlns:a="http://schemas.openxmlformats.org/drawingml/2006/main" name="1_Office Theme">
  <a:themeElements>
    <a:clrScheme name="All Systems Connect">
      <a:dk1>
        <a:srgbClr val="0C0C0C"/>
      </a:dk1>
      <a:lt1>
        <a:sysClr val="window" lastClr="FFFFFF"/>
      </a:lt1>
      <a:dk2>
        <a:srgbClr val="CAF906"/>
      </a:dk2>
      <a:lt2>
        <a:srgbClr val="00B0E1"/>
      </a:lt2>
      <a:accent1>
        <a:srgbClr val="00A79D"/>
      </a:accent1>
      <a:accent2>
        <a:srgbClr val="9D63E3"/>
      </a:accent2>
      <a:accent3>
        <a:srgbClr val="0F5C78"/>
      </a:accent3>
      <a:accent4>
        <a:srgbClr val="0C0C0C"/>
      </a:accent4>
      <a:accent5>
        <a:srgbClr val="595959"/>
      </a:accent5>
      <a:accent6>
        <a:srgbClr val="92CDDC"/>
      </a:accent6>
      <a:hlink>
        <a:srgbClr val="92CDDC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ystems Connect v6">
  <a:themeElements>
    <a:clrScheme name="All Systems Connect">
      <a:dk1>
        <a:srgbClr val="0C0C0C"/>
      </a:dk1>
      <a:lt1>
        <a:sysClr val="window" lastClr="FFFFFF"/>
      </a:lt1>
      <a:dk2>
        <a:srgbClr val="CAF906"/>
      </a:dk2>
      <a:lt2>
        <a:srgbClr val="00B0E1"/>
      </a:lt2>
      <a:accent1>
        <a:srgbClr val="00A79D"/>
      </a:accent1>
      <a:accent2>
        <a:srgbClr val="9D63E3"/>
      </a:accent2>
      <a:accent3>
        <a:srgbClr val="0F5C78"/>
      </a:accent3>
      <a:accent4>
        <a:srgbClr val="0C0C0C"/>
      </a:accent4>
      <a:accent5>
        <a:srgbClr val="595959"/>
      </a:accent5>
      <a:accent6>
        <a:srgbClr val="92CDDC"/>
      </a:accent6>
      <a:hlink>
        <a:srgbClr val="92CDDC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ystems Connect v6" id="{44606DD1-5330-4E2D-AE2D-67E9A1E5599D}" vid="{310CA24F-BA97-4C90-94D7-BCB7F705D95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cf6d27a-a121-47a7-bb37-240d2e08ea91">
      <Terms xmlns="http://schemas.microsoft.com/office/infopath/2007/PartnerControls"/>
    </lcf76f155ced4ddcb4097134ff3c332f>
    <TaxCatchAll xmlns="bbc718c4-94a0-4501-a8e8-70f7c8e44e1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5E9FDEED1CF3F4B9DC0D7FB7D725DAF" ma:contentTypeVersion="17" ma:contentTypeDescription="Create a new document." ma:contentTypeScope="" ma:versionID="a00065f7382228d9d3730e1fe2adf852">
  <xsd:schema xmlns:xsd="http://www.w3.org/2001/XMLSchema" xmlns:xs="http://www.w3.org/2001/XMLSchema" xmlns:p="http://schemas.microsoft.com/office/2006/metadata/properties" xmlns:ns2="7cf6d27a-a121-47a7-bb37-240d2e08ea91" xmlns:ns3="bbc718c4-94a0-4501-a8e8-70f7c8e44e11" targetNamespace="http://schemas.microsoft.com/office/2006/metadata/properties" ma:root="true" ma:fieldsID="76c43f8a2367fa9bfe0536691432201d" ns2:_="" ns3:_="">
    <xsd:import namespace="7cf6d27a-a121-47a7-bb37-240d2e08ea91"/>
    <xsd:import namespace="bbc718c4-94a0-4501-a8e8-70f7c8e44e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f6d27a-a121-47a7-bb37-240d2e08e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fe83bbb5-db0d-49e0-93d3-6afa06249b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c718c4-94a0-4501-a8e8-70f7c8e44e1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72d0e25c-88f3-40b1-ba6b-c6b79027402b}" ma:internalName="TaxCatchAll" ma:showField="CatchAllData" ma:web="bbc718c4-94a0-4501-a8e8-70f7c8e44e1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8A35657-059F-4818-BB8D-34B27D4CC567}">
  <ds:schemaRefs>
    <ds:schemaRef ds:uri="7cf6d27a-a121-47a7-bb37-240d2e08ea91"/>
    <ds:schemaRef ds:uri="bbc718c4-94a0-4501-a8e8-70f7c8e44e11"/>
    <ds:schemaRef ds:uri="http://schemas.microsoft.com/office/2006/metadata/properties"/>
    <ds:schemaRef ds:uri="http://schemas.microsoft.com/office/infopath/2007/PartnerControls"/>
    <ds:schemaRef ds:uri="627a7053-1cc3-4371-8e31-ed9cf4fd18ea"/>
    <ds:schemaRef ds:uri="a4ff87ac-0ccd-41fb-b80d-85afe299a530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EFE00A8D-74F8-4883-BD6A-AD8EF63BFE4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761E58-522F-4804-B740-7DE0844CA445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</TotalTime>
  <Words>1385</Words>
  <Application>Microsoft Office PowerPoint</Application>
  <PresentationFormat>Widescreen</PresentationFormat>
  <Paragraphs>196</Paragraphs>
  <Slides>23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23</vt:i4>
      </vt:variant>
    </vt:vector>
  </HeadingPairs>
  <TitlesOfParts>
    <vt:vector size="35" baseType="lpstr">
      <vt:lpstr>Arial</vt:lpstr>
      <vt:lpstr>AvenirNext-DemiBold</vt:lpstr>
      <vt:lpstr>Bryant Medium Italic</vt:lpstr>
      <vt:lpstr>Calibri</vt:lpstr>
      <vt:lpstr>Calibri Light</vt:lpstr>
      <vt:lpstr>Montserrat</vt:lpstr>
      <vt:lpstr>Quicksand</vt:lpstr>
      <vt:lpstr>Segoe UI</vt:lpstr>
      <vt:lpstr>System Font Regular</vt:lpstr>
      <vt:lpstr>1_Office Theme</vt:lpstr>
      <vt:lpstr>Systems Connect v6</vt:lpstr>
      <vt:lpstr>2_Office Theme</vt:lpstr>
      <vt:lpstr>PowerPoint Presentation</vt:lpstr>
      <vt:lpstr>Carbon credits for water  projects When should it  be considered?</vt:lpstr>
      <vt:lpstr>PowerPoint Presentation</vt:lpstr>
      <vt:lpstr>PowerPoint Presentation</vt:lpstr>
      <vt:lpstr>Boiling of drinking water</vt:lpstr>
      <vt:lpstr>Emission reduction</vt:lpstr>
      <vt:lpstr>Carbon credits</vt:lpstr>
      <vt:lpstr>Claims related to carbon credits</vt:lpstr>
      <vt:lpstr>Overview of carbon market</vt:lpstr>
      <vt:lpstr>Who is involved in a carbon project?</vt:lpstr>
      <vt:lpstr>Project technologies</vt:lpstr>
      <vt:lpstr>Carbon standards &amp; methodologies</vt:lpstr>
      <vt:lpstr>Project technologies</vt:lpstr>
      <vt:lpstr>Process for generating carbon credits</vt:lpstr>
      <vt:lpstr>Monitoring</vt:lpstr>
      <vt:lpstr>Suppressed demand</vt:lpstr>
      <vt:lpstr>Suppressed demand</vt:lpstr>
      <vt:lpstr>Worth noting</vt:lpstr>
      <vt:lpstr>Financial model (I)</vt:lpstr>
      <vt:lpstr>Financial model (II)</vt:lpstr>
      <vt:lpstr>PowerPoint Presentation</vt:lpstr>
      <vt:lpstr>Thank you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chan Dalrymple</dc:creator>
  <cp:lastModifiedBy>USER</cp:lastModifiedBy>
  <cp:revision>41</cp:revision>
  <dcterms:created xsi:type="dcterms:W3CDTF">2023-03-14T09:11:07Z</dcterms:created>
  <dcterms:modified xsi:type="dcterms:W3CDTF">2023-05-03T07:3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5E9FDEED1CF3F4B9DC0D7FB7D725DAF</vt:lpwstr>
  </property>
  <property fmtid="{D5CDD505-2E9C-101B-9397-08002B2CF9AE}" pid="3" name="MediaServiceImageTags">
    <vt:lpwstr/>
  </property>
</Properties>
</file>